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autoCompressPictures="0">
  <p:sldMasterIdLst>
    <p:sldMasterId id="2147483693" r:id="rId1"/>
    <p:sldMasterId id="2147483717" r:id="rId2"/>
  </p:sldMasterIdLst>
  <p:notesMasterIdLst>
    <p:notesMasterId r:id="rId19"/>
  </p:notesMasterIdLst>
  <p:sldIdLst>
    <p:sldId id="256" r:id="rId3"/>
    <p:sldId id="549" r:id="rId4"/>
    <p:sldId id="325" r:id="rId5"/>
    <p:sldId id="541" r:id="rId6"/>
    <p:sldId id="542" r:id="rId7"/>
    <p:sldId id="547" r:id="rId8"/>
    <p:sldId id="548" r:id="rId9"/>
    <p:sldId id="550" r:id="rId10"/>
    <p:sldId id="546" r:id="rId11"/>
    <p:sldId id="558" r:id="rId12"/>
    <p:sldId id="554" r:id="rId13"/>
    <p:sldId id="562" r:id="rId14"/>
    <p:sldId id="561" r:id="rId15"/>
    <p:sldId id="555" r:id="rId16"/>
    <p:sldId id="560" r:id="rId17"/>
    <p:sldId id="559" r:id="rId18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7" autoAdjust="0"/>
    <p:restoredTop sz="94660"/>
  </p:normalViewPr>
  <p:slideViewPr>
    <p:cSldViewPr snapToGrid="0">
      <p:cViewPr varScale="1">
        <p:scale>
          <a:sx n="80" d="100"/>
          <a:sy n="80" d="100"/>
        </p:scale>
        <p:origin x="259" y="6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lineMarker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GNI PPP per capita (International US$)</c:v>
                </c:pt>
              </c:strCache>
            </c:strRef>
          </c:tx>
          <c:spPr>
            <a:ln w="38100" cap="rnd">
              <a:noFill/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1"/>
            <c:dispEq val="0"/>
            <c:trendlineLbl>
              <c:layout>
                <c:manualLayout>
                  <c:x val="1.7466595084705321E-2"/>
                  <c:y val="0.10904712949634048"/>
                </c:manualLayout>
              </c:layout>
              <c:numFmt formatCode="General" sourceLinked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16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</c:trendlineLbl>
          </c:trendline>
          <c:xVal>
            <c:numRef>
              <c:f>Sheet1!$A$2:$A$50</c:f>
              <c:numCache>
                <c:formatCode>_("$"* #,##0.00_);_("$"* \(#,##0.00\);_("$"* "-"??_);_(@_)</c:formatCode>
                <c:ptCount val="49"/>
                <c:pt idx="0">
                  <c:v>105.87262200165426</c:v>
                </c:pt>
                <c:pt idx="1">
                  <c:v>94</c:v>
                </c:pt>
                <c:pt idx="2">
                  <c:v>86.606243705941594</c:v>
                </c:pt>
                <c:pt idx="3">
                  <c:v>13.37</c:v>
                </c:pt>
                <c:pt idx="4">
                  <c:v>6.72</c:v>
                </c:pt>
                <c:pt idx="5">
                  <c:v>73.083116561377437</c:v>
                </c:pt>
                <c:pt idx="6">
                  <c:v>69.666666666666671</c:v>
                </c:pt>
                <c:pt idx="7">
                  <c:v>6.36</c:v>
                </c:pt>
                <c:pt idx="8">
                  <c:v>7.8533333333333335</c:v>
                </c:pt>
                <c:pt idx="9">
                  <c:v>15.835583199957048</c:v>
                </c:pt>
                <c:pt idx="10">
                  <c:v>182</c:v>
                </c:pt>
                <c:pt idx="11">
                  <c:v>30.120658241850819</c:v>
                </c:pt>
                <c:pt idx="12">
                  <c:v>6.6797215272961852</c:v>
                </c:pt>
                <c:pt idx="13">
                  <c:v>97</c:v>
                </c:pt>
                <c:pt idx="14">
                  <c:v>100.89399744572158</c:v>
                </c:pt>
                <c:pt idx="15">
                  <c:v>107</c:v>
                </c:pt>
                <c:pt idx="16">
                  <c:v>30.62</c:v>
                </c:pt>
                <c:pt idx="17">
                  <c:v>91.06</c:v>
                </c:pt>
                <c:pt idx="18">
                  <c:v>24.323529411764707</c:v>
                </c:pt>
                <c:pt idx="19">
                  <c:v>335</c:v>
                </c:pt>
                <c:pt idx="20">
                  <c:v>15.4</c:v>
                </c:pt>
                <c:pt idx="21">
                  <c:v>34.029568540001925</c:v>
                </c:pt>
                <c:pt idx="22">
                  <c:v>70</c:v>
                </c:pt>
                <c:pt idx="23">
                  <c:v>103</c:v>
                </c:pt>
                <c:pt idx="24">
                  <c:v>27</c:v>
                </c:pt>
                <c:pt idx="25">
                  <c:v>61.73</c:v>
                </c:pt>
                <c:pt idx="26">
                  <c:v>273</c:v>
                </c:pt>
                <c:pt idx="27">
                  <c:v>4.8143423107859213</c:v>
                </c:pt>
                <c:pt idx="28">
                  <c:v>39.64</c:v>
                </c:pt>
                <c:pt idx="29">
                  <c:v>78.30271216097988</c:v>
                </c:pt>
                <c:pt idx="30">
                  <c:v>154.41</c:v>
                </c:pt>
                <c:pt idx="31">
                  <c:v>77.5</c:v>
                </c:pt>
                <c:pt idx="32">
                  <c:v>32.6</c:v>
                </c:pt>
                <c:pt idx="33">
                  <c:v>10.955323369649317</c:v>
                </c:pt>
                <c:pt idx="34">
                  <c:v>39.716542381062816</c:v>
                </c:pt>
                <c:pt idx="35">
                  <c:v>57.683982683982684</c:v>
                </c:pt>
                <c:pt idx="36">
                  <c:v>343</c:v>
                </c:pt>
                <c:pt idx="37">
                  <c:v>61.73</c:v>
                </c:pt>
                <c:pt idx="38">
                  <c:v>295.82733812949641</c:v>
                </c:pt>
                <c:pt idx="39">
                  <c:v>286.49413039857967</c:v>
                </c:pt>
                <c:pt idx="40">
                  <c:v>45.418055365322864</c:v>
                </c:pt>
                <c:pt idx="41">
                  <c:v>2.65</c:v>
                </c:pt>
                <c:pt idx="42">
                  <c:v>9.48</c:v>
                </c:pt>
                <c:pt idx="43">
                  <c:v>86</c:v>
                </c:pt>
                <c:pt idx="44">
                  <c:v>43</c:v>
                </c:pt>
                <c:pt idx="45">
                  <c:v>52.9</c:v>
                </c:pt>
                <c:pt idx="46">
                  <c:v>57.52</c:v>
                </c:pt>
                <c:pt idx="47">
                  <c:v>35</c:v>
                </c:pt>
                <c:pt idx="48">
                  <c:v>7.6</c:v>
                </c:pt>
              </c:numCache>
            </c:numRef>
          </c:xVal>
          <c:yVal>
            <c:numRef>
              <c:f>Sheet1!$B$2:$B$50</c:f>
              <c:numCache>
                <c:formatCode>_("$"* #,##0_);_("$"* \(#,##0\);_("$"* "-"??_);_(@_)</c:formatCode>
                <c:ptCount val="49"/>
                <c:pt idx="0">
                  <c:v>10060</c:v>
                </c:pt>
                <c:pt idx="1">
                  <c:v>4040</c:v>
                </c:pt>
                <c:pt idx="2">
                  <c:v>18140</c:v>
                </c:pt>
                <c:pt idx="3">
                  <c:v>7330</c:v>
                </c:pt>
                <c:pt idx="4">
                  <c:v>15160</c:v>
                </c:pt>
                <c:pt idx="5">
                  <c:v>20500</c:v>
                </c:pt>
                <c:pt idx="6">
                  <c:v>1810</c:v>
                </c:pt>
                <c:pt idx="7">
                  <c:v>3760</c:v>
                </c:pt>
                <c:pt idx="8">
                  <c:v>3640</c:v>
                </c:pt>
                <c:pt idx="9">
                  <c:v>16760</c:v>
                </c:pt>
                <c:pt idx="10">
                  <c:v>4880</c:v>
                </c:pt>
                <c:pt idx="11">
                  <c:v>3820</c:v>
                </c:pt>
                <c:pt idx="12">
                  <c:v>870</c:v>
                </c:pt>
                <c:pt idx="13">
                  <c:v>1890</c:v>
                </c:pt>
                <c:pt idx="14">
                  <c:v>10120</c:v>
                </c:pt>
                <c:pt idx="15">
                  <c:v>4490</c:v>
                </c:pt>
                <c:pt idx="16">
                  <c:v>8000</c:v>
                </c:pt>
                <c:pt idx="17">
                  <c:v>1830</c:v>
                </c:pt>
                <c:pt idx="18">
                  <c:v>7060</c:v>
                </c:pt>
                <c:pt idx="19">
                  <c:v>11900</c:v>
                </c:pt>
                <c:pt idx="20">
                  <c:v>21010</c:v>
                </c:pt>
                <c:pt idx="21">
                  <c:v>23440</c:v>
                </c:pt>
                <c:pt idx="22">
                  <c:v>3250</c:v>
                </c:pt>
                <c:pt idx="23">
                  <c:v>3620</c:v>
                </c:pt>
                <c:pt idx="24">
                  <c:v>3510</c:v>
                </c:pt>
                <c:pt idx="25">
                  <c:v>1180</c:v>
                </c:pt>
                <c:pt idx="26">
                  <c:v>22570</c:v>
                </c:pt>
                <c:pt idx="27">
                  <c:v>17740</c:v>
                </c:pt>
                <c:pt idx="28">
                  <c:v>1200</c:v>
                </c:pt>
                <c:pt idx="29">
                  <c:v>5830</c:v>
                </c:pt>
                <c:pt idx="30">
                  <c:v>10320</c:v>
                </c:pt>
                <c:pt idx="31">
                  <c:v>2710</c:v>
                </c:pt>
                <c:pt idx="32">
                  <c:v>5680</c:v>
                </c:pt>
                <c:pt idx="33">
                  <c:v>5680</c:v>
                </c:pt>
                <c:pt idx="34">
                  <c:v>4040</c:v>
                </c:pt>
                <c:pt idx="35">
                  <c:v>2620</c:v>
                </c:pt>
                <c:pt idx="36">
                  <c:v>13090</c:v>
                </c:pt>
                <c:pt idx="37">
                  <c:v>8520</c:v>
                </c:pt>
                <c:pt idx="38">
                  <c:v>3670</c:v>
                </c:pt>
                <c:pt idx="39">
                  <c:v>14590</c:v>
                </c:pt>
                <c:pt idx="40">
                  <c:v>17090</c:v>
                </c:pt>
                <c:pt idx="41">
                  <c:v>1620</c:v>
                </c:pt>
                <c:pt idx="42">
                  <c:v>1820</c:v>
                </c:pt>
                <c:pt idx="43">
                  <c:v>8900</c:v>
                </c:pt>
                <c:pt idx="44">
                  <c:v>2916</c:v>
                </c:pt>
                <c:pt idx="45">
                  <c:v>7130</c:v>
                </c:pt>
                <c:pt idx="46">
                  <c:v>6450</c:v>
                </c:pt>
                <c:pt idx="47">
                  <c:v>3920</c:v>
                </c:pt>
                <c:pt idx="48">
                  <c:v>1850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AF4C-4686-8B70-50E82485C3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583834928"/>
        <c:axId val="583829680"/>
      </c:scatterChart>
      <c:valAx>
        <c:axId val="583834928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dirty="0">
                    <a:solidFill>
                      <a:schemeClr val="tx1"/>
                    </a:solidFill>
                  </a:rPr>
                  <a:t>Cost per Sex Worker Reached (US$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3829680"/>
        <c:crosses val="autoZero"/>
        <c:crossBetween val="midCat"/>
      </c:valAx>
      <c:valAx>
        <c:axId val="58382968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dirty="0"/>
                  <a:t>GNI PPP per capita (International Dollars)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83834928"/>
        <c:crosses val="autoZero"/>
        <c:crossBetween val="midCat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Best 20%</c:v>
                </c:pt>
                <c:pt idx="2">
                  <c:v>Best 30%</c:v>
                </c:pt>
                <c:pt idx="3">
                  <c:v>Best 40%</c:v>
                </c:pt>
                <c:pt idx="4">
                  <c:v>Best 50%</c:v>
                </c:pt>
                <c:pt idx="5">
                  <c:v>Best 60%</c:v>
                </c:pt>
                <c:pt idx="6">
                  <c:v>Best 70%</c:v>
                </c:pt>
                <c:pt idx="7">
                  <c:v>Best 80%</c:v>
                </c:pt>
                <c:pt idx="8">
                  <c:v>Best 90%</c:v>
                </c:pt>
                <c:pt idx="9">
                  <c:v>All</c:v>
                </c:pt>
              </c:strCache>
            </c:strRef>
          </c:cat>
          <c:val>
            <c:numRef>
              <c:f>Sheet1!$B$2:$B$11</c:f>
              <c:numCache>
                <c:formatCode>_("$"* #,##0_);_("$"* \(#,##0\);_("$"* "-"??_);_(@_)</c:formatCode>
                <c:ptCount val="10"/>
                <c:pt idx="0">
                  <c:v>0</c:v>
                </c:pt>
                <c:pt idx="1">
                  <c:v>2633360.7287121089</c:v>
                </c:pt>
                <c:pt idx="2">
                  <c:v>662182188.26572132</c:v>
                </c:pt>
                <c:pt idx="3">
                  <c:v>2011088233.7708659</c:v>
                </c:pt>
                <c:pt idx="4">
                  <c:v>3456462017.733911</c:v>
                </c:pt>
                <c:pt idx="5">
                  <c:v>6259097758.1484432</c:v>
                </c:pt>
                <c:pt idx="6">
                  <c:v>7039188172.611701</c:v>
                </c:pt>
                <c:pt idx="7">
                  <c:v>7099016352.6091585</c:v>
                </c:pt>
                <c:pt idx="8">
                  <c:v>7206042345.8276005</c:v>
                </c:pt>
                <c:pt idx="9">
                  <c:v>7206042345.8276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4F-4A26-AE67-EE2728747C5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CC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Best 20%</c:v>
                </c:pt>
                <c:pt idx="2">
                  <c:v>Best 30%</c:v>
                </c:pt>
                <c:pt idx="3">
                  <c:v>Best 40%</c:v>
                </c:pt>
                <c:pt idx="4">
                  <c:v>Best 50%</c:v>
                </c:pt>
                <c:pt idx="5">
                  <c:v>Best 60%</c:v>
                </c:pt>
                <c:pt idx="6">
                  <c:v>Best 70%</c:v>
                </c:pt>
                <c:pt idx="7">
                  <c:v>Best 80%</c:v>
                </c:pt>
                <c:pt idx="8">
                  <c:v>Best 90%</c:v>
                </c:pt>
                <c:pt idx="9">
                  <c:v>All</c:v>
                </c:pt>
              </c:strCache>
            </c:strRef>
          </c:cat>
          <c:val>
            <c:numRef>
              <c:f>Sheet1!$C$2:$C$11</c:f>
              <c:numCache>
                <c:formatCode>_("$"* #,##0_);_("$"* \(#,##0\);_("$"* "-"??_);_(@_)</c:formatCode>
                <c:ptCount val="10"/>
                <c:pt idx="0">
                  <c:v>4546606.4000000004</c:v>
                </c:pt>
                <c:pt idx="1">
                  <c:v>147399198.45167002</c:v>
                </c:pt>
                <c:pt idx="2">
                  <c:v>210565854.31931242</c:v>
                </c:pt>
                <c:pt idx="3">
                  <c:v>245083174.34393242</c:v>
                </c:pt>
                <c:pt idx="4">
                  <c:v>278985657.57960683</c:v>
                </c:pt>
                <c:pt idx="5">
                  <c:v>410342479.49736065</c:v>
                </c:pt>
                <c:pt idx="6">
                  <c:v>613660814.01966679</c:v>
                </c:pt>
                <c:pt idx="7">
                  <c:v>661828978.45935678</c:v>
                </c:pt>
                <c:pt idx="8">
                  <c:v>729939817.45282567</c:v>
                </c:pt>
                <c:pt idx="9">
                  <c:v>729939817.452825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4F-4A26-AE67-EE2728747C5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ndom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Best 20%</c:v>
                </c:pt>
                <c:pt idx="2">
                  <c:v>Best 30%</c:v>
                </c:pt>
                <c:pt idx="3">
                  <c:v>Best 40%</c:v>
                </c:pt>
                <c:pt idx="4">
                  <c:v>Best 50%</c:v>
                </c:pt>
                <c:pt idx="5">
                  <c:v>Best 60%</c:v>
                </c:pt>
                <c:pt idx="6">
                  <c:v>Best 70%</c:v>
                </c:pt>
                <c:pt idx="7">
                  <c:v>Best 80%</c:v>
                </c:pt>
                <c:pt idx="8">
                  <c:v>Best 90%</c:v>
                </c:pt>
                <c:pt idx="9">
                  <c:v>All</c:v>
                </c:pt>
              </c:strCache>
            </c:strRef>
          </c:cat>
          <c:val>
            <c:numRef>
              <c:f>Sheet1!$D$2:$D$11</c:f>
              <c:numCache>
                <c:formatCode>_("$"* #,##0_);_("$"* \(#,##0\);_("$"* "-"??_);_(@_)</c:formatCode>
                <c:ptCount val="10"/>
                <c:pt idx="0">
                  <c:v>193738965.40183258</c:v>
                </c:pt>
                <c:pt idx="1">
                  <c:v>495783250.89676976</c:v>
                </c:pt>
                <c:pt idx="2">
                  <c:v>714295480.08713734</c:v>
                </c:pt>
                <c:pt idx="3">
                  <c:v>778217571.08976424</c:v>
                </c:pt>
                <c:pt idx="4">
                  <c:v>830879874.95896316</c:v>
                </c:pt>
                <c:pt idx="5">
                  <c:v>915702661.64801896</c:v>
                </c:pt>
                <c:pt idx="6">
                  <c:v>1085054674.7154992</c:v>
                </c:pt>
                <c:pt idx="7">
                  <c:v>1097784695.1106336</c:v>
                </c:pt>
                <c:pt idx="8">
                  <c:v>1097784695.1106336</c:v>
                </c:pt>
                <c:pt idx="9">
                  <c:v>1097784695.11063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4F-4A26-AE67-EE2728747C5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FSW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Best 20%</c:v>
                </c:pt>
                <c:pt idx="2">
                  <c:v>Best 30%</c:v>
                </c:pt>
                <c:pt idx="3">
                  <c:v>Best 40%</c:v>
                </c:pt>
                <c:pt idx="4">
                  <c:v>Best 50%</c:v>
                </c:pt>
                <c:pt idx="5">
                  <c:v>Best 60%</c:v>
                </c:pt>
                <c:pt idx="6">
                  <c:v>Best 70%</c:v>
                </c:pt>
                <c:pt idx="7">
                  <c:v>Best 80%</c:v>
                </c:pt>
                <c:pt idx="8">
                  <c:v>Best 90%</c:v>
                </c:pt>
                <c:pt idx="9">
                  <c:v>All</c:v>
                </c:pt>
              </c:strCache>
            </c:strRef>
          </c:cat>
          <c:val>
            <c:numRef>
              <c:f>Sheet1!$E$2:$E$11</c:f>
              <c:numCache>
                <c:formatCode>_("$"* #,##0_);_("$"* \(#,##0\);_("$"* "-"??_);_(@_)</c:formatCode>
                <c:ptCount val="10"/>
                <c:pt idx="0">
                  <c:v>12270261.938907878</c:v>
                </c:pt>
                <c:pt idx="1">
                  <c:v>50793620.988543302</c:v>
                </c:pt>
                <c:pt idx="2">
                  <c:v>178940001.00681335</c:v>
                </c:pt>
                <c:pt idx="3">
                  <c:v>209028476.41829324</c:v>
                </c:pt>
                <c:pt idx="4">
                  <c:v>275314397.35031813</c:v>
                </c:pt>
                <c:pt idx="5">
                  <c:v>288869879.14250565</c:v>
                </c:pt>
                <c:pt idx="6">
                  <c:v>294091885.55283248</c:v>
                </c:pt>
                <c:pt idx="7">
                  <c:v>296553185.91320056</c:v>
                </c:pt>
                <c:pt idx="8">
                  <c:v>302630032.35041666</c:v>
                </c:pt>
                <c:pt idx="9">
                  <c:v>302630032.350416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E4F-4A26-AE67-EE2728747C5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SM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Best 20%</c:v>
                </c:pt>
                <c:pt idx="2">
                  <c:v>Best 30%</c:v>
                </c:pt>
                <c:pt idx="3">
                  <c:v>Best 40%</c:v>
                </c:pt>
                <c:pt idx="4">
                  <c:v>Best 50%</c:v>
                </c:pt>
                <c:pt idx="5">
                  <c:v>Best 60%</c:v>
                </c:pt>
                <c:pt idx="6">
                  <c:v>Best 70%</c:v>
                </c:pt>
                <c:pt idx="7">
                  <c:v>Best 80%</c:v>
                </c:pt>
                <c:pt idx="8">
                  <c:v>Best 90%</c:v>
                </c:pt>
                <c:pt idx="9">
                  <c:v>All</c:v>
                </c:pt>
              </c:strCache>
            </c:strRef>
          </c:cat>
          <c:val>
            <c:numRef>
              <c:f>Sheet1!$F$2:$F$11</c:f>
              <c:numCache>
                <c:formatCode>_("$"* #,##0_);_("$"* \(#,##0\);_("$"* "-"??_);_(@_)</c:formatCode>
                <c:ptCount val="10"/>
                <c:pt idx="0">
                  <c:v>8468182.2169661839</c:v>
                </c:pt>
                <c:pt idx="1">
                  <c:v>11562275.302890504</c:v>
                </c:pt>
                <c:pt idx="2">
                  <c:v>18104567.162282445</c:v>
                </c:pt>
                <c:pt idx="3">
                  <c:v>47855642.25362917</c:v>
                </c:pt>
                <c:pt idx="4">
                  <c:v>284686447.05877888</c:v>
                </c:pt>
                <c:pt idx="5">
                  <c:v>284686447.05877888</c:v>
                </c:pt>
                <c:pt idx="6">
                  <c:v>311772822.31289548</c:v>
                </c:pt>
                <c:pt idx="7">
                  <c:v>347848891.04119557</c:v>
                </c:pt>
                <c:pt idx="8">
                  <c:v>354496137.74721259</c:v>
                </c:pt>
                <c:pt idx="9">
                  <c:v>365857456.383079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E4F-4A26-AE67-EE2728747C5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OST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Best 20%</c:v>
                </c:pt>
                <c:pt idx="2">
                  <c:v>Best 30%</c:v>
                </c:pt>
                <c:pt idx="3">
                  <c:v>Best 40%</c:v>
                </c:pt>
                <c:pt idx="4">
                  <c:v>Best 50%</c:v>
                </c:pt>
                <c:pt idx="5">
                  <c:v>Best 60%</c:v>
                </c:pt>
                <c:pt idx="6">
                  <c:v>Best 70%</c:v>
                </c:pt>
                <c:pt idx="7">
                  <c:v>Best 80%</c:v>
                </c:pt>
                <c:pt idx="8">
                  <c:v>Best 90%</c:v>
                </c:pt>
                <c:pt idx="9">
                  <c:v>All</c:v>
                </c:pt>
              </c:strCache>
            </c:strRef>
          </c:cat>
          <c:val>
            <c:numRef>
              <c:f>Sheet1!$G$2:$G$11</c:f>
              <c:numCache>
                <c:formatCode>_("$"* #,##0_);_("$"* \(#,##0\);_("$"* "-"??_);_(@_)</c:formatCode>
                <c:ptCount val="10"/>
                <c:pt idx="0">
                  <c:v>92105677.572169542</c:v>
                </c:pt>
                <c:pt idx="1">
                  <c:v>252761191.5644311</c:v>
                </c:pt>
                <c:pt idx="2">
                  <c:v>254296308.8784464</c:v>
                </c:pt>
                <c:pt idx="3">
                  <c:v>254296308.8784464</c:v>
                </c:pt>
                <c:pt idx="4">
                  <c:v>254296308.8784464</c:v>
                </c:pt>
                <c:pt idx="5">
                  <c:v>254296308.8784464</c:v>
                </c:pt>
                <c:pt idx="6">
                  <c:v>254296308.8784464</c:v>
                </c:pt>
                <c:pt idx="7">
                  <c:v>254296308.8784464</c:v>
                </c:pt>
                <c:pt idx="8">
                  <c:v>254296308.8784464</c:v>
                </c:pt>
                <c:pt idx="9">
                  <c:v>254296308.878446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E4F-4A26-AE67-EE2728747C5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PWID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Best 20%</c:v>
                </c:pt>
                <c:pt idx="2">
                  <c:v>Best 30%</c:v>
                </c:pt>
                <c:pt idx="3">
                  <c:v>Best 40%</c:v>
                </c:pt>
                <c:pt idx="4">
                  <c:v>Best 50%</c:v>
                </c:pt>
                <c:pt idx="5">
                  <c:v>Best 60%</c:v>
                </c:pt>
                <c:pt idx="6">
                  <c:v>Best 70%</c:v>
                </c:pt>
                <c:pt idx="7">
                  <c:v>Best 80%</c:v>
                </c:pt>
                <c:pt idx="8">
                  <c:v>Best 90%</c:v>
                </c:pt>
                <c:pt idx="9">
                  <c:v>All</c:v>
                </c:pt>
              </c:strCache>
            </c:strRef>
          </c:cat>
          <c:val>
            <c:numRef>
              <c:f>Sheet1!$H$2:$H$11</c:f>
              <c:numCache>
                <c:formatCode>_("$"* #,##0_);_("$"* \(#,##0\);_("$"* "-"??_);_(@_)</c:formatCode>
                <c:ptCount val="10"/>
                <c:pt idx="0">
                  <c:v>55810300.769517101</c:v>
                </c:pt>
                <c:pt idx="1">
                  <c:v>75823044.813172176</c:v>
                </c:pt>
                <c:pt idx="2">
                  <c:v>298182307.13249564</c:v>
                </c:pt>
                <c:pt idx="3">
                  <c:v>324887764.89563555</c:v>
                </c:pt>
                <c:pt idx="4">
                  <c:v>340161637.70487672</c:v>
                </c:pt>
                <c:pt idx="5">
                  <c:v>355322092.77675819</c:v>
                </c:pt>
                <c:pt idx="6">
                  <c:v>368112211.85632688</c:v>
                </c:pt>
                <c:pt idx="7">
                  <c:v>369794407.77424932</c:v>
                </c:pt>
                <c:pt idx="8">
                  <c:v>369794407.77424932</c:v>
                </c:pt>
                <c:pt idx="9">
                  <c:v>369794407.774249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E4F-4A26-AE67-EE2728747C51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PrEP_Adol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Best 20%</c:v>
                </c:pt>
                <c:pt idx="2">
                  <c:v>Best 30%</c:v>
                </c:pt>
                <c:pt idx="3">
                  <c:v>Best 40%</c:v>
                </c:pt>
                <c:pt idx="4">
                  <c:v>Best 50%</c:v>
                </c:pt>
                <c:pt idx="5">
                  <c:v>Best 60%</c:v>
                </c:pt>
                <c:pt idx="6">
                  <c:v>Best 70%</c:v>
                </c:pt>
                <c:pt idx="7">
                  <c:v>Best 80%</c:v>
                </c:pt>
                <c:pt idx="8">
                  <c:v>Best 90%</c:v>
                </c:pt>
                <c:pt idx="9">
                  <c:v>All</c:v>
                </c:pt>
              </c:strCache>
            </c:strRef>
          </c:cat>
          <c:val>
            <c:numRef>
              <c:f>Sheet1!$I$2:$I$11</c:f>
              <c:numCache>
                <c:formatCode>_("$"* #,##0_);_("$"* \(#,##0\);_("$"* "-"??_);_(@_)</c:formatCode>
                <c:ptCount val="10"/>
                <c:pt idx="0">
                  <c:v>0</c:v>
                </c:pt>
                <c:pt idx="1">
                  <c:v>2320691.8998785964</c:v>
                </c:pt>
                <c:pt idx="2">
                  <c:v>2320691.8998785964</c:v>
                </c:pt>
                <c:pt idx="3">
                  <c:v>2365099.3195911013</c:v>
                </c:pt>
                <c:pt idx="4">
                  <c:v>2497511.3070289982</c:v>
                </c:pt>
                <c:pt idx="5">
                  <c:v>2762172.7567646601</c:v>
                </c:pt>
                <c:pt idx="6">
                  <c:v>3632260.5297693177</c:v>
                </c:pt>
                <c:pt idx="7">
                  <c:v>10076830.829884054</c:v>
                </c:pt>
                <c:pt idx="8">
                  <c:v>44806875.754281938</c:v>
                </c:pt>
                <c:pt idx="9">
                  <c:v>99874258.587612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E4F-4A26-AE67-EE2728747C51}"/>
            </c:ext>
          </c:extLst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PrEP_KP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Best 20%</c:v>
                </c:pt>
                <c:pt idx="2">
                  <c:v>Best 30%</c:v>
                </c:pt>
                <c:pt idx="3">
                  <c:v>Best 40%</c:v>
                </c:pt>
                <c:pt idx="4">
                  <c:v>Best 50%</c:v>
                </c:pt>
                <c:pt idx="5">
                  <c:v>Best 60%</c:v>
                </c:pt>
                <c:pt idx="6">
                  <c:v>Best 70%</c:v>
                </c:pt>
                <c:pt idx="7">
                  <c:v>Best 80%</c:v>
                </c:pt>
                <c:pt idx="8">
                  <c:v>Best 90%</c:v>
                </c:pt>
                <c:pt idx="9">
                  <c:v>All</c:v>
                </c:pt>
              </c:strCache>
            </c:strRef>
          </c:cat>
          <c:val>
            <c:numRef>
              <c:f>Sheet1!$J$2:$J$11</c:f>
              <c:numCache>
                <c:formatCode>_("$"* #,##0_);_("$"* \(#,##0\);_("$"* "-"??_);_(@_)</c:formatCode>
                <c:ptCount val="10"/>
                <c:pt idx="0">
                  <c:v>1095963.6708709938</c:v>
                </c:pt>
                <c:pt idx="1">
                  <c:v>10607302.37106302</c:v>
                </c:pt>
                <c:pt idx="2">
                  <c:v>24100802.98865002</c:v>
                </c:pt>
                <c:pt idx="3">
                  <c:v>43939018.853728093</c:v>
                </c:pt>
                <c:pt idx="4">
                  <c:v>59164523.269090936</c:v>
                </c:pt>
                <c:pt idx="5">
                  <c:v>82256160.975265801</c:v>
                </c:pt>
                <c:pt idx="6">
                  <c:v>109876064.52200553</c:v>
                </c:pt>
                <c:pt idx="7">
                  <c:v>183573332.24363855</c:v>
                </c:pt>
                <c:pt idx="8">
                  <c:v>202587439.43933883</c:v>
                </c:pt>
                <c:pt idx="9">
                  <c:v>285066782.4053929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E4F-4A26-AE67-EE2728747C51}"/>
            </c:ext>
          </c:extLst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VMMC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Best 20%</c:v>
                </c:pt>
                <c:pt idx="2">
                  <c:v>Best 30%</c:v>
                </c:pt>
                <c:pt idx="3">
                  <c:v>Best 40%</c:v>
                </c:pt>
                <c:pt idx="4">
                  <c:v>Best 50%</c:v>
                </c:pt>
                <c:pt idx="5">
                  <c:v>Best 60%</c:v>
                </c:pt>
                <c:pt idx="6">
                  <c:v>Best 70%</c:v>
                </c:pt>
                <c:pt idx="7">
                  <c:v>Best 80%</c:v>
                </c:pt>
                <c:pt idx="8">
                  <c:v>Best 90%</c:v>
                </c:pt>
                <c:pt idx="9">
                  <c:v>All</c:v>
                </c:pt>
              </c:strCache>
            </c:strRef>
          </c:cat>
          <c:val>
            <c:numRef>
              <c:f>Sheet1!$K$2:$K$11</c:f>
              <c:numCache>
                <c:formatCode>_("$"* #,##0_);_("$"* \(#,##0\);_("$"* "-"??_);_(@_)</c:formatCode>
                <c:ptCount val="10"/>
                <c:pt idx="0">
                  <c:v>130641396.25560811</c:v>
                </c:pt>
                <c:pt idx="1">
                  <c:v>299973331.43400437</c:v>
                </c:pt>
                <c:pt idx="2">
                  <c:v>430924471.34905589</c:v>
                </c:pt>
                <c:pt idx="3">
                  <c:v>461447734.78134018</c:v>
                </c:pt>
                <c:pt idx="4">
                  <c:v>461506844.5699929</c:v>
                </c:pt>
                <c:pt idx="5">
                  <c:v>461506844.5699929</c:v>
                </c:pt>
                <c:pt idx="6">
                  <c:v>461506844.5699929</c:v>
                </c:pt>
                <c:pt idx="7">
                  <c:v>461506844.5699929</c:v>
                </c:pt>
                <c:pt idx="8">
                  <c:v>461506844.5699929</c:v>
                </c:pt>
                <c:pt idx="9">
                  <c:v>461506844.56999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E4F-4A26-AE67-EE2728747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23043992"/>
        <c:axId val="491545024"/>
      </c:barChart>
      <c:catAx>
        <c:axId val="223043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545024"/>
        <c:crosses val="autoZero"/>
        <c:auto val="1"/>
        <c:lblAlgn val="ctr"/>
        <c:lblOffset val="100"/>
        <c:noMultiLvlLbl val="0"/>
      </c:catAx>
      <c:valAx>
        <c:axId val="49154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dirty="0">
                    <a:solidFill>
                      <a:schemeClr val="tx1"/>
                    </a:solidFill>
                  </a:rPr>
                  <a:t>Annual Cos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3043992"/>
        <c:crosses val="autoZero"/>
        <c:crossBetween val="between"/>
        <c:dispUnits>
          <c:builtInUnit val="b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170447613432949E-2"/>
          <c:y val="4.1928417073287282E-2"/>
          <c:w val="0.78502261085173519"/>
          <c:h val="0.8758689823246133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B$2:$B$11</c:f>
              <c:numCache>
                <c:formatCode>_("$"* #,##0_);_("$"* \(#,##0\);_("$"* "-"??_);_(@_)</c:formatCode>
                <c:ptCount val="10"/>
                <c:pt idx="0">
                  <c:v>0</c:v>
                </c:pt>
                <c:pt idx="1">
                  <c:v>2633360.7287121089</c:v>
                </c:pt>
                <c:pt idx="2">
                  <c:v>659548827.53700924</c:v>
                </c:pt>
                <c:pt idx="3">
                  <c:v>1348906045.5051446</c:v>
                </c:pt>
                <c:pt idx="4">
                  <c:v>1445373783.9630444</c:v>
                </c:pt>
                <c:pt idx="5">
                  <c:v>2802635740.4145341</c:v>
                </c:pt>
                <c:pt idx="6">
                  <c:v>780090414.46325839</c:v>
                </c:pt>
                <c:pt idx="7">
                  <c:v>59828179.997457929</c:v>
                </c:pt>
                <c:pt idx="8">
                  <c:v>107025993.21844181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4F-4A26-AE67-EE2728747C5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CC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C$2:$C$11</c:f>
              <c:numCache>
                <c:formatCode>_("$"* #,##0_);_("$"* \(#,##0\);_("$"* "-"??_);_(@_)</c:formatCode>
                <c:ptCount val="10"/>
                <c:pt idx="0">
                  <c:v>4546606.4000000004</c:v>
                </c:pt>
                <c:pt idx="1">
                  <c:v>142852592.05167001</c:v>
                </c:pt>
                <c:pt idx="2">
                  <c:v>63166655.867642395</c:v>
                </c:pt>
                <c:pt idx="3">
                  <c:v>34517320.024620004</c:v>
                </c:pt>
                <c:pt idx="4">
                  <c:v>33902483.235674411</c:v>
                </c:pt>
                <c:pt idx="5">
                  <c:v>131356821.91775383</c:v>
                </c:pt>
                <c:pt idx="6">
                  <c:v>203318334.52230608</c:v>
                </c:pt>
                <c:pt idx="7">
                  <c:v>48168164.439690001</c:v>
                </c:pt>
                <c:pt idx="8">
                  <c:v>68110838.993468925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4F-4A26-AE67-EE2728747C5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ndom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D$2:$D$11</c:f>
              <c:numCache>
                <c:formatCode>_("$"* #,##0_);_("$"* \(#,##0\);_("$"* "-"??_);_(@_)</c:formatCode>
                <c:ptCount val="10"/>
                <c:pt idx="0">
                  <c:v>193738965.40183258</c:v>
                </c:pt>
                <c:pt idx="1">
                  <c:v>302044285.49493718</c:v>
                </c:pt>
                <c:pt idx="2">
                  <c:v>218512229.19036764</c:v>
                </c:pt>
                <c:pt idx="3">
                  <c:v>63922091.002626911</c:v>
                </c:pt>
                <c:pt idx="4">
                  <c:v>52662303.869198918</c:v>
                </c:pt>
                <c:pt idx="5">
                  <c:v>84822786.6890558</c:v>
                </c:pt>
                <c:pt idx="6">
                  <c:v>169352013.06748018</c:v>
                </c:pt>
                <c:pt idx="7">
                  <c:v>12730020.395134492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4F-4A26-AE67-EE2728747C5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FSW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E$2:$E$11</c:f>
              <c:numCache>
                <c:formatCode>_("$"* #,##0_);_("$"* \(#,##0\);_("$"* "-"??_);_(@_)</c:formatCode>
                <c:ptCount val="10"/>
                <c:pt idx="0">
                  <c:v>12270261.938907878</c:v>
                </c:pt>
                <c:pt idx="1">
                  <c:v>38523359.049635425</c:v>
                </c:pt>
                <c:pt idx="2">
                  <c:v>128146380.01827</c:v>
                </c:pt>
                <c:pt idx="3">
                  <c:v>30088475.411479872</c:v>
                </c:pt>
                <c:pt idx="4">
                  <c:v>66285920.932024874</c:v>
                </c:pt>
                <c:pt idx="5">
                  <c:v>13555481.792187529</c:v>
                </c:pt>
                <c:pt idx="6">
                  <c:v>5222006.410326845</c:v>
                </c:pt>
                <c:pt idx="7">
                  <c:v>2461300.3603681019</c:v>
                </c:pt>
                <c:pt idx="8">
                  <c:v>6076846.4372160882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E4F-4A26-AE67-EE2728747C5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SM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F$2:$F$11</c:f>
              <c:numCache>
                <c:formatCode>_("$"* #,##0_);_("$"* \(#,##0\);_("$"* "-"??_);_(@_)</c:formatCode>
                <c:ptCount val="10"/>
                <c:pt idx="0">
                  <c:v>8468182.2169661839</c:v>
                </c:pt>
                <c:pt idx="1">
                  <c:v>3094093.0859243209</c:v>
                </c:pt>
                <c:pt idx="2">
                  <c:v>6542291.8593919417</c:v>
                </c:pt>
                <c:pt idx="3">
                  <c:v>29751075.091346718</c:v>
                </c:pt>
                <c:pt idx="4">
                  <c:v>236830804.8051497</c:v>
                </c:pt>
                <c:pt idx="5">
                  <c:v>0</c:v>
                </c:pt>
                <c:pt idx="6">
                  <c:v>27086375.254116561</c:v>
                </c:pt>
                <c:pt idx="7">
                  <c:v>36076068.728300147</c:v>
                </c:pt>
                <c:pt idx="8">
                  <c:v>6647246.7060170425</c:v>
                </c:pt>
                <c:pt idx="9">
                  <c:v>11361318.6358671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E4F-4A26-AE67-EE2728747C5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OST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G$2:$G$11</c:f>
              <c:numCache>
                <c:formatCode>_("$"* #,##0_);_("$"* \(#,##0\);_("$"* "-"??_);_(@_)</c:formatCode>
                <c:ptCount val="10"/>
                <c:pt idx="0">
                  <c:v>92105677.572169542</c:v>
                </c:pt>
                <c:pt idx="1">
                  <c:v>160655513.99226156</c:v>
                </c:pt>
                <c:pt idx="2">
                  <c:v>1535117.3140153077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E4F-4A26-AE67-EE2728747C5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PWID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H$2:$H$11</c:f>
              <c:numCache>
                <c:formatCode>_("$"* #,##0_);_("$"* \(#,##0\);_("$"* "-"??_);_(@_)</c:formatCode>
                <c:ptCount val="10"/>
                <c:pt idx="0">
                  <c:v>55810300.769517101</c:v>
                </c:pt>
                <c:pt idx="1">
                  <c:v>20012744.043655068</c:v>
                </c:pt>
                <c:pt idx="2">
                  <c:v>222359262.31932351</c:v>
                </c:pt>
                <c:pt idx="3">
                  <c:v>26705457.763139956</c:v>
                </c:pt>
                <c:pt idx="4">
                  <c:v>15273872.809241142</c:v>
                </c:pt>
                <c:pt idx="5">
                  <c:v>15160455.071881447</c:v>
                </c:pt>
                <c:pt idx="6">
                  <c:v>12790119.079568699</c:v>
                </c:pt>
                <c:pt idx="7">
                  <c:v>1682195.9179224572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E4F-4A26-AE67-EE2728747C51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PrEP_Adol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I$2:$I$11</c:f>
              <c:numCache>
                <c:formatCode>_("$"* #,##0_);_("$"* \(#,##0\);_("$"* "-"??_);_(@_)</c:formatCode>
                <c:ptCount val="10"/>
                <c:pt idx="0">
                  <c:v>0</c:v>
                </c:pt>
                <c:pt idx="1">
                  <c:v>2320691.8998785964</c:v>
                </c:pt>
                <c:pt idx="2">
                  <c:v>0</c:v>
                </c:pt>
                <c:pt idx="3">
                  <c:v>44407.41971250507</c:v>
                </c:pt>
                <c:pt idx="4">
                  <c:v>132411.98743789678</c:v>
                </c:pt>
                <c:pt idx="5">
                  <c:v>264661.4497356622</c:v>
                </c:pt>
                <c:pt idx="6">
                  <c:v>870087.77300465736</c:v>
                </c:pt>
                <c:pt idx="7">
                  <c:v>6444570.300114735</c:v>
                </c:pt>
                <c:pt idx="8">
                  <c:v>34730044.924397886</c:v>
                </c:pt>
                <c:pt idx="9">
                  <c:v>55067382.8333305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E4F-4A26-AE67-EE2728747C51}"/>
            </c:ext>
          </c:extLst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PrEP_KP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J$2:$J$11</c:f>
              <c:numCache>
                <c:formatCode>_("$"* #,##0_);_("$"* \(#,##0\);_("$"* "-"??_);_(@_)</c:formatCode>
                <c:ptCount val="10"/>
                <c:pt idx="0">
                  <c:v>1095963.6708709938</c:v>
                </c:pt>
                <c:pt idx="1">
                  <c:v>9511338.7001920268</c:v>
                </c:pt>
                <c:pt idx="2">
                  <c:v>13493500.617586998</c:v>
                </c:pt>
                <c:pt idx="3">
                  <c:v>19838215.865078073</c:v>
                </c:pt>
                <c:pt idx="4">
                  <c:v>15225504.415362839</c:v>
                </c:pt>
                <c:pt idx="5">
                  <c:v>23091637.706174865</c:v>
                </c:pt>
                <c:pt idx="6">
                  <c:v>27619903.546739683</c:v>
                </c:pt>
                <c:pt idx="7">
                  <c:v>73697267.721633092</c:v>
                </c:pt>
                <c:pt idx="8">
                  <c:v>19014107.195700318</c:v>
                </c:pt>
                <c:pt idx="9">
                  <c:v>82479342.966054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E4F-4A26-AE67-EE2728747C51}"/>
            </c:ext>
          </c:extLst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VMMC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K$2:$K$11</c:f>
              <c:numCache>
                <c:formatCode>_("$"* #,##0_);_("$"* \(#,##0\);_("$"* "-"??_);_(@_)</c:formatCode>
                <c:ptCount val="10"/>
                <c:pt idx="0">
                  <c:v>130641396.25560811</c:v>
                </c:pt>
                <c:pt idx="1">
                  <c:v>169331935.17839631</c:v>
                </c:pt>
                <c:pt idx="2">
                  <c:v>130951139.91505155</c:v>
                </c:pt>
                <c:pt idx="3">
                  <c:v>30523263.432284281</c:v>
                </c:pt>
                <c:pt idx="4">
                  <c:v>59109.788652730138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E4F-4A26-AE67-EE2728747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23043992"/>
        <c:axId val="491545024"/>
      </c:barChart>
      <c:catAx>
        <c:axId val="223043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545024"/>
        <c:crosses val="autoZero"/>
        <c:auto val="1"/>
        <c:lblAlgn val="ctr"/>
        <c:lblOffset val="100"/>
        <c:noMultiLvlLbl val="0"/>
      </c:catAx>
      <c:valAx>
        <c:axId val="49154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dirty="0">
                    <a:solidFill>
                      <a:schemeClr val="tx1"/>
                    </a:solidFill>
                  </a:rPr>
                  <a:t>Percentage of Annual Cos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3043992"/>
        <c:crosses val="autoZero"/>
        <c:crossBetween val="between"/>
        <c:dispUnits>
          <c:builtInUnit val="b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170447613432949E-2"/>
          <c:y val="4.1928417073287282E-2"/>
          <c:w val="0.78502261085173519"/>
          <c:h val="0.8758689823246133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B$2:$B$11</c:f>
              <c:numCache>
                <c:formatCode>_("$"* #,##0_);_("$"* \(#,##0\);_("$"* "-"??_);_(@_)</c:formatCode>
                <c:ptCount val="10"/>
                <c:pt idx="0">
                  <c:v>0</c:v>
                </c:pt>
                <c:pt idx="1">
                  <c:v>2633360.7287121089</c:v>
                </c:pt>
                <c:pt idx="2">
                  <c:v>659548827.53700924</c:v>
                </c:pt>
                <c:pt idx="3">
                  <c:v>1348906045.5051446</c:v>
                </c:pt>
                <c:pt idx="4">
                  <c:v>1445373783.9630444</c:v>
                </c:pt>
                <c:pt idx="5">
                  <c:v>2802635740.4145341</c:v>
                </c:pt>
                <c:pt idx="6">
                  <c:v>780090414.46325839</c:v>
                </c:pt>
                <c:pt idx="7">
                  <c:v>59828179.997457929</c:v>
                </c:pt>
                <c:pt idx="8">
                  <c:v>107025993.21844181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4F-4A26-AE67-EE2728747C5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CC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C$2:$C$11</c:f>
              <c:numCache>
                <c:formatCode>_("$"* #,##0_);_("$"* \(#,##0\);_("$"* "-"??_);_(@_)</c:formatCode>
                <c:ptCount val="10"/>
                <c:pt idx="0">
                  <c:v>4546606.4000000004</c:v>
                </c:pt>
                <c:pt idx="1">
                  <c:v>142852592.05167001</c:v>
                </c:pt>
                <c:pt idx="2">
                  <c:v>63166655.867642395</c:v>
                </c:pt>
                <c:pt idx="3">
                  <c:v>34517320.024620004</c:v>
                </c:pt>
                <c:pt idx="4">
                  <c:v>33902483.235674411</c:v>
                </c:pt>
                <c:pt idx="5">
                  <c:v>131356821.91775383</c:v>
                </c:pt>
                <c:pt idx="6">
                  <c:v>203318334.52230608</c:v>
                </c:pt>
                <c:pt idx="7">
                  <c:v>48168164.439690001</c:v>
                </c:pt>
                <c:pt idx="8">
                  <c:v>68110838.993468925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4F-4A26-AE67-EE2728747C5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ndom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D$2:$D$11</c:f>
              <c:numCache>
                <c:formatCode>_("$"* #,##0_);_("$"* \(#,##0\);_("$"* "-"??_);_(@_)</c:formatCode>
                <c:ptCount val="10"/>
                <c:pt idx="0">
                  <c:v>193738965.40183258</c:v>
                </c:pt>
                <c:pt idx="1">
                  <c:v>302044285.49493718</c:v>
                </c:pt>
                <c:pt idx="2">
                  <c:v>218512229.19036764</c:v>
                </c:pt>
                <c:pt idx="3">
                  <c:v>63922091.002626911</c:v>
                </c:pt>
                <c:pt idx="4">
                  <c:v>52662303.869198918</c:v>
                </c:pt>
                <c:pt idx="5">
                  <c:v>84822786.6890558</c:v>
                </c:pt>
                <c:pt idx="6">
                  <c:v>169352013.06748018</c:v>
                </c:pt>
                <c:pt idx="7">
                  <c:v>12730020.395134492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4F-4A26-AE67-EE2728747C5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FSW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E$2:$E$11</c:f>
              <c:numCache>
                <c:formatCode>_("$"* #,##0_);_("$"* \(#,##0\);_("$"* "-"??_);_(@_)</c:formatCode>
                <c:ptCount val="10"/>
                <c:pt idx="0">
                  <c:v>12270261.938907878</c:v>
                </c:pt>
                <c:pt idx="1">
                  <c:v>38523359.049635425</c:v>
                </c:pt>
                <c:pt idx="2">
                  <c:v>128146380.01827</c:v>
                </c:pt>
                <c:pt idx="3">
                  <c:v>30088475.411479872</c:v>
                </c:pt>
                <c:pt idx="4">
                  <c:v>66285920.932024874</c:v>
                </c:pt>
                <c:pt idx="5">
                  <c:v>13555481.792187529</c:v>
                </c:pt>
                <c:pt idx="6">
                  <c:v>5222006.410326845</c:v>
                </c:pt>
                <c:pt idx="7">
                  <c:v>2461300.3603681019</c:v>
                </c:pt>
                <c:pt idx="8">
                  <c:v>6076846.4372160882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E4F-4A26-AE67-EE2728747C5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SM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F$2:$F$11</c:f>
              <c:numCache>
                <c:formatCode>_("$"* #,##0_);_("$"* \(#,##0\);_("$"* "-"??_);_(@_)</c:formatCode>
                <c:ptCount val="10"/>
                <c:pt idx="0">
                  <c:v>8468182.2169661839</c:v>
                </c:pt>
                <c:pt idx="1">
                  <c:v>3094093.0859243209</c:v>
                </c:pt>
                <c:pt idx="2">
                  <c:v>6542291.8593919417</c:v>
                </c:pt>
                <c:pt idx="3">
                  <c:v>29751075.091346718</c:v>
                </c:pt>
                <c:pt idx="4">
                  <c:v>236830804.8051497</c:v>
                </c:pt>
                <c:pt idx="5">
                  <c:v>0</c:v>
                </c:pt>
                <c:pt idx="6">
                  <c:v>27086375.254116561</c:v>
                </c:pt>
                <c:pt idx="7">
                  <c:v>36076068.728300147</c:v>
                </c:pt>
                <c:pt idx="8">
                  <c:v>6647246.7060170425</c:v>
                </c:pt>
                <c:pt idx="9">
                  <c:v>11361318.6358671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E4F-4A26-AE67-EE2728747C5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OST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G$2:$G$11</c:f>
              <c:numCache>
                <c:formatCode>_("$"* #,##0_);_("$"* \(#,##0\);_("$"* "-"??_);_(@_)</c:formatCode>
                <c:ptCount val="10"/>
                <c:pt idx="0">
                  <c:v>92105677.572169542</c:v>
                </c:pt>
                <c:pt idx="1">
                  <c:v>160655513.99226156</c:v>
                </c:pt>
                <c:pt idx="2">
                  <c:v>1535117.3140153077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E4F-4A26-AE67-EE2728747C5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PWID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H$2:$H$11</c:f>
              <c:numCache>
                <c:formatCode>_("$"* #,##0_);_("$"* \(#,##0\);_("$"* "-"??_);_(@_)</c:formatCode>
                <c:ptCount val="10"/>
                <c:pt idx="0">
                  <c:v>55810300.769517101</c:v>
                </c:pt>
                <c:pt idx="1">
                  <c:v>20012744.043655068</c:v>
                </c:pt>
                <c:pt idx="2">
                  <c:v>222359262.31932351</c:v>
                </c:pt>
                <c:pt idx="3">
                  <c:v>26705457.763139956</c:v>
                </c:pt>
                <c:pt idx="4">
                  <c:v>15273872.809241142</c:v>
                </c:pt>
                <c:pt idx="5">
                  <c:v>15160455.071881447</c:v>
                </c:pt>
                <c:pt idx="6">
                  <c:v>12790119.079568699</c:v>
                </c:pt>
                <c:pt idx="7">
                  <c:v>1682195.9179224572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E4F-4A26-AE67-EE2728747C51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PrEP_Adol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I$2:$I$11</c:f>
              <c:numCache>
                <c:formatCode>_("$"* #,##0_);_("$"* \(#,##0\);_("$"* "-"??_);_(@_)</c:formatCode>
                <c:ptCount val="10"/>
                <c:pt idx="0">
                  <c:v>0</c:v>
                </c:pt>
                <c:pt idx="1">
                  <c:v>2320691.8998785964</c:v>
                </c:pt>
                <c:pt idx="2">
                  <c:v>0</c:v>
                </c:pt>
                <c:pt idx="3">
                  <c:v>44407.41971250507</c:v>
                </c:pt>
                <c:pt idx="4">
                  <c:v>132411.98743789678</c:v>
                </c:pt>
                <c:pt idx="5">
                  <c:v>264661.4497356622</c:v>
                </c:pt>
                <c:pt idx="6">
                  <c:v>870087.77300465736</c:v>
                </c:pt>
                <c:pt idx="7">
                  <c:v>6444570.300114735</c:v>
                </c:pt>
                <c:pt idx="8">
                  <c:v>34730044.924397886</c:v>
                </c:pt>
                <c:pt idx="9">
                  <c:v>55067382.8333305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E4F-4A26-AE67-EE2728747C51}"/>
            </c:ext>
          </c:extLst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PrEP_KP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J$2:$J$11</c:f>
              <c:numCache>
                <c:formatCode>_("$"* #,##0_);_("$"* \(#,##0\);_("$"* "-"??_);_(@_)</c:formatCode>
                <c:ptCount val="10"/>
                <c:pt idx="0">
                  <c:v>1095963.6708709938</c:v>
                </c:pt>
                <c:pt idx="1">
                  <c:v>9511338.7001920268</c:v>
                </c:pt>
                <c:pt idx="2">
                  <c:v>13493500.617586998</c:v>
                </c:pt>
                <c:pt idx="3">
                  <c:v>19838215.865078073</c:v>
                </c:pt>
                <c:pt idx="4">
                  <c:v>15225504.415362839</c:v>
                </c:pt>
                <c:pt idx="5">
                  <c:v>23091637.706174865</c:v>
                </c:pt>
                <c:pt idx="6">
                  <c:v>27619903.546739683</c:v>
                </c:pt>
                <c:pt idx="7">
                  <c:v>73697267.721633092</c:v>
                </c:pt>
                <c:pt idx="8">
                  <c:v>19014107.195700318</c:v>
                </c:pt>
                <c:pt idx="9">
                  <c:v>82479342.966054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E4F-4A26-AE67-EE2728747C51}"/>
            </c:ext>
          </c:extLst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VMMC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K$2:$K$11</c:f>
              <c:numCache>
                <c:formatCode>_("$"* #,##0_);_("$"* \(#,##0\);_("$"* "-"??_);_(@_)</c:formatCode>
                <c:ptCount val="10"/>
                <c:pt idx="0">
                  <c:v>130641396.25560811</c:v>
                </c:pt>
                <c:pt idx="1">
                  <c:v>169331935.17839631</c:v>
                </c:pt>
                <c:pt idx="2">
                  <c:v>130951139.91505155</c:v>
                </c:pt>
                <c:pt idx="3">
                  <c:v>30523263.432284281</c:v>
                </c:pt>
                <c:pt idx="4">
                  <c:v>59109.788652730138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E4F-4A26-AE67-EE2728747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23043992"/>
        <c:axId val="491545024"/>
      </c:barChart>
      <c:catAx>
        <c:axId val="223043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545024"/>
        <c:crosses val="autoZero"/>
        <c:auto val="1"/>
        <c:lblAlgn val="ctr"/>
        <c:lblOffset val="100"/>
        <c:noMultiLvlLbl val="0"/>
      </c:catAx>
      <c:valAx>
        <c:axId val="49154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dirty="0">
                    <a:solidFill>
                      <a:schemeClr val="tx1"/>
                    </a:solidFill>
                  </a:rPr>
                  <a:t>Percentage of Annual Cos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3043992"/>
        <c:crosses val="autoZero"/>
        <c:crossBetween val="between"/>
        <c:dispUnits>
          <c:builtInUnit val="b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170447613432949E-2"/>
          <c:y val="4.1928417073287282E-2"/>
          <c:w val="0.74399694909931124"/>
          <c:h val="0.8758689823246133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R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B$2:$B$11</c:f>
              <c:numCache>
                <c:formatCode>_("$"* #,##0_);_("$"* \(#,##0\);_("$"* "-"??_);_(@_)</c:formatCode>
                <c:ptCount val="10"/>
                <c:pt idx="0">
                  <c:v>0</c:v>
                </c:pt>
                <c:pt idx="1">
                  <c:v>2633360.7287121089</c:v>
                </c:pt>
                <c:pt idx="2">
                  <c:v>659548827.53700924</c:v>
                </c:pt>
                <c:pt idx="3">
                  <c:v>1348906045.5051446</c:v>
                </c:pt>
                <c:pt idx="4">
                  <c:v>1445373783.9630444</c:v>
                </c:pt>
                <c:pt idx="5">
                  <c:v>2802635740.4145341</c:v>
                </c:pt>
                <c:pt idx="6">
                  <c:v>780090414.46325839</c:v>
                </c:pt>
                <c:pt idx="7">
                  <c:v>59828179.997457929</c:v>
                </c:pt>
                <c:pt idx="8">
                  <c:v>107025993.21844181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4F-4A26-AE67-EE2728747C5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CC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C$2:$C$11</c:f>
              <c:numCache>
                <c:formatCode>_("$"* #,##0_);_("$"* \(#,##0\);_("$"* "-"??_);_(@_)</c:formatCode>
                <c:ptCount val="10"/>
                <c:pt idx="0">
                  <c:v>4546606.4000000004</c:v>
                </c:pt>
                <c:pt idx="1">
                  <c:v>142852592.05167001</c:v>
                </c:pt>
                <c:pt idx="2">
                  <c:v>63166655.867642395</c:v>
                </c:pt>
                <c:pt idx="3">
                  <c:v>34517320.024620004</c:v>
                </c:pt>
                <c:pt idx="4">
                  <c:v>33902483.235674411</c:v>
                </c:pt>
                <c:pt idx="5">
                  <c:v>131356821.91775383</c:v>
                </c:pt>
                <c:pt idx="6">
                  <c:v>203318334.52230608</c:v>
                </c:pt>
                <c:pt idx="7">
                  <c:v>48168164.439690001</c:v>
                </c:pt>
                <c:pt idx="8">
                  <c:v>68110838.993468925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4F-4A26-AE67-EE2728747C5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ondom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D$2:$D$11</c:f>
              <c:numCache>
                <c:formatCode>_("$"* #,##0_);_("$"* \(#,##0\);_("$"* "-"??_);_(@_)</c:formatCode>
                <c:ptCount val="10"/>
                <c:pt idx="0">
                  <c:v>193738965.40183258</c:v>
                </c:pt>
                <c:pt idx="1">
                  <c:v>302044285.49493718</c:v>
                </c:pt>
                <c:pt idx="2">
                  <c:v>218512229.19036764</c:v>
                </c:pt>
                <c:pt idx="3">
                  <c:v>63922091.002626911</c:v>
                </c:pt>
                <c:pt idx="4">
                  <c:v>52662303.869198918</c:v>
                </c:pt>
                <c:pt idx="5">
                  <c:v>84822786.6890558</c:v>
                </c:pt>
                <c:pt idx="6">
                  <c:v>169352013.06748018</c:v>
                </c:pt>
                <c:pt idx="7">
                  <c:v>12730020.395134492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4F-4A26-AE67-EE2728747C5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FSW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E$2:$E$11</c:f>
              <c:numCache>
                <c:formatCode>_("$"* #,##0_);_("$"* \(#,##0\);_("$"* "-"??_);_(@_)</c:formatCode>
                <c:ptCount val="10"/>
                <c:pt idx="0">
                  <c:v>12270261.938907878</c:v>
                </c:pt>
                <c:pt idx="1">
                  <c:v>38523359.049635425</c:v>
                </c:pt>
                <c:pt idx="2">
                  <c:v>128146380.01827</c:v>
                </c:pt>
                <c:pt idx="3">
                  <c:v>30088475.411479872</c:v>
                </c:pt>
                <c:pt idx="4">
                  <c:v>66285920.932024874</c:v>
                </c:pt>
                <c:pt idx="5">
                  <c:v>13555481.792187529</c:v>
                </c:pt>
                <c:pt idx="6">
                  <c:v>5222006.410326845</c:v>
                </c:pt>
                <c:pt idx="7">
                  <c:v>2461300.3603681019</c:v>
                </c:pt>
                <c:pt idx="8">
                  <c:v>6076846.4372160882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E4F-4A26-AE67-EE2728747C5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SM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F$2:$F$11</c:f>
              <c:numCache>
                <c:formatCode>_("$"* #,##0_);_("$"* \(#,##0\);_("$"* "-"??_);_(@_)</c:formatCode>
                <c:ptCount val="10"/>
                <c:pt idx="0">
                  <c:v>8468182.2169661839</c:v>
                </c:pt>
                <c:pt idx="1">
                  <c:v>3094093.0859243209</c:v>
                </c:pt>
                <c:pt idx="2">
                  <c:v>6542291.8593919417</c:v>
                </c:pt>
                <c:pt idx="3">
                  <c:v>29751075.091346718</c:v>
                </c:pt>
                <c:pt idx="4">
                  <c:v>236830804.8051497</c:v>
                </c:pt>
                <c:pt idx="5">
                  <c:v>0</c:v>
                </c:pt>
                <c:pt idx="6">
                  <c:v>27086375.254116561</c:v>
                </c:pt>
                <c:pt idx="7">
                  <c:v>36076068.728300147</c:v>
                </c:pt>
                <c:pt idx="8">
                  <c:v>6647246.7060170425</c:v>
                </c:pt>
                <c:pt idx="9">
                  <c:v>11361318.6358671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E4F-4A26-AE67-EE2728747C5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OST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G$2:$G$11</c:f>
              <c:numCache>
                <c:formatCode>_("$"* #,##0_);_("$"* \(#,##0\);_("$"* "-"??_);_(@_)</c:formatCode>
                <c:ptCount val="10"/>
                <c:pt idx="0">
                  <c:v>92105677.572169542</c:v>
                </c:pt>
                <c:pt idx="1">
                  <c:v>160655513.99226156</c:v>
                </c:pt>
                <c:pt idx="2">
                  <c:v>1535117.3140153077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E4F-4A26-AE67-EE2728747C51}"/>
            </c:ext>
          </c:extLst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PWID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H$2:$H$11</c:f>
              <c:numCache>
                <c:formatCode>_("$"* #,##0_);_("$"* \(#,##0\);_("$"* "-"??_);_(@_)</c:formatCode>
                <c:ptCount val="10"/>
                <c:pt idx="0">
                  <c:v>55810300.769517101</c:v>
                </c:pt>
                <c:pt idx="1">
                  <c:v>20012744.043655068</c:v>
                </c:pt>
                <c:pt idx="2">
                  <c:v>222359262.31932351</c:v>
                </c:pt>
                <c:pt idx="3">
                  <c:v>26705457.763139956</c:v>
                </c:pt>
                <c:pt idx="4">
                  <c:v>15273872.809241142</c:v>
                </c:pt>
                <c:pt idx="5">
                  <c:v>15160455.071881447</c:v>
                </c:pt>
                <c:pt idx="6">
                  <c:v>12790119.079568699</c:v>
                </c:pt>
                <c:pt idx="7">
                  <c:v>1682195.9179224572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AE4F-4A26-AE67-EE2728747C51}"/>
            </c:ext>
          </c:extLst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PrEP_Adol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I$2:$I$11</c:f>
              <c:numCache>
                <c:formatCode>_("$"* #,##0_);_("$"* \(#,##0\);_("$"* "-"??_);_(@_)</c:formatCode>
                <c:ptCount val="10"/>
                <c:pt idx="0">
                  <c:v>0</c:v>
                </c:pt>
                <c:pt idx="1">
                  <c:v>2320691.8998785964</c:v>
                </c:pt>
                <c:pt idx="2">
                  <c:v>0</c:v>
                </c:pt>
                <c:pt idx="3">
                  <c:v>44407.41971250507</c:v>
                </c:pt>
                <c:pt idx="4">
                  <c:v>132411.98743789678</c:v>
                </c:pt>
                <c:pt idx="5">
                  <c:v>264661.4497356622</c:v>
                </c:pt>
                <c:pt idx="6">
                  <c:v>870087.77300465736</c:v>
                </c:pt>
                <c:pt idx="7">
                  <c:v>6444570.300114735</c:v>
                </c:pt>
                <c:pt idx="8">
                  <c:v>34730044.924397886</c:v>
                </c:pt>
                <c:pt idx="9">
                  <c:v>55067382.8333305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AE4F-4A26-AE67-EE2728747C51}"/>
            </c:ext>
          </c:extLst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PrEP_KP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J$2:$J$11</c:f>
              <c:numCache>
                <c:formatCode>_("$"* #,##0_);_("$"* \(#,##0\);_("$"* "-"??_);_(@_)</c:formatCode>
                <c:ptCount val="10"/>
                <c:pt idx="0">
                  <c:v>1095963.6708709938</c:v>
                </c:pt>
                <c:pt idx="1">
                  <c:v>9511338.7001920268</c:v>
                </c:pt>
                <c:pt idx="2">
                  <c:v>13493500.617586998</c:v>
                </c:pt>
                <c:pt idx="3">
                  <c:v>19838215.865078073</c:v>
                </c:pt>
                <c:pt idx="4">
                  <c:v>15225504.415362839</c:v>
                </c:pt>
                <c:pt idx="5">
                  <c:v>23091637.706174865</c:v>
                </c:pt>
                <c:pt idx="6">
                  <c:v>27619903.546739683</c:v>
                </c:pt>
                <c:pt idx="7">
                  <c:v>73697267.721633092</c:v>
                </c:pt>
                <c:pt idx="8">
                  <c:v>19014107.195700318</c:v>
                </c:pt>
                <c:pt idx="9">
                  <c:v>82479342.9660541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E4F-4A26-AE67-EE2728747C51}"/>
            </c:ext>
          </c:extLst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VMMC</c:v>
                </c:pt>
              </c:strCache>
            </c:strRef>
          </c:tx>
          <c:spPr>
            <a:solidFill>
              <a:schemeClr val="accent4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K$2:$K$11</c:f>
              <c:numCache>
                <c:formatCode>_("$"* #,##0_);_("$"* \(#,##0\);_("$"* "-"??_);_(@_)</c:formatCode>
                <c:ptCount val="10"/>
                <c:pt idx="0">
                  <c:v>130641396.25560811</c:v>
                </c:pt>
                <c:pt idx="1">
                  <c:v>169331935.17839631</c:v>
                </c:pt>
                <c:pt idx="2">
                  <c:v>130951139.91505155</c:v>
                </c:pt>
                <c:pt idx="3">
                  <c:v>30523263.432284281</c:v>
                </c:pt>
                <c:pt idx="4">
                  <c:v>59109.788652730138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AE4F-4A26-AE67-EE2728747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23043992"/>
        <c:axId val="491545024"/>
      </c:barChart>
      <c:lineChart>
        <c:grouping val="standard"/>
        <c:varyColors val="0"/>
        <c:ser>
          <c:idx val="10"/>
          <c:order val="10"/>
          <c:tx>
            <c:strRef>
              <c:f>Sheet1!$L$1</c:f>
              <c:strCache>
                <c:ptCount val="1"/>
                <c:pt idx="0">
                  <c:v>%IA</c:v>
                </c:pt>
              </c:strCache>
            </c:strRef>
          </c:tx>
          <c:spPr>
            <a:ln w="50800" cap="rnd">
              <a:solidFill>
                <a:schemeClr val="tx1"/>
              </a:solidFill>
              <a:prstDash val="dash"/>
              <a:round/>
            </a:ln>
            <a:effectLst/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Best 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L$2:$L$11</c:f>
              <c:numCache>
                <c:formatCode>0%</c:formatCode>
                <c:ptCount val="10"/>
                <c:pt idx="0">
                  <c:v>0.11851143934450444</c:v>
                </c:pt>
                <c:pt idx="1">
                  <c:v>0.16800858504221752</c:v>
                </c:pt>
                <c:pt idx="2">
                  <c:v>0.23172163965772569</c:v>
                </c:pt>
                <c:pt idx="3">
                  <c:v>0.10031880025888995</c:v>
                </c:pt>
                <c:pt idx="4">
                  <c:v>9.1494171346474154E-2</c:v>
                </c:pt>
                <c:pt idx="5">
                  <c:v>0.18853230383532629</c:v>
                </c:pt>
                <c:pt idx="6">
                  <c:v>5.1466187075221395E-2</c:v>
                </c:pt>
                <c:pt idx="7">
                  <c:v>2.1422765309632403E-2</c:v>
                </c:pt>
                <c:pt idx="8">
                  <c:v>1.9741875497598219E-2</c:v>
                </c:pt>
                <c:pt idx="9">
                  <c:v>0.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0FE-4CC6-BA56-18F6996E09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0707704"/>
        <c:axId val="480707048"/>
      </c:lineChart>
      <c:catAx>
        <c:axId val="223043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545024"/>
        <c:crosses val="autoZero"/>
        <c:auto val="1"/>
        <c:lblAlgn val="ctr"/>
        <c:lblOffset val="100"/>
        <c:noMultiLvlLbl val="0"/>
      </c:catAx>
      <c:valAx>
        <c:axId val="49154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dirty="0">
                    <a:solidFill>
                      <a:schemeClr val="tx1"/>
                    </a:solidFill>
                  </a:rPr>
                  <a:t>Percentage of Annual Cos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3043992"/>
        <c:crosses val="autoZero"/>
        <c:crossBetween val="between"/>
        <c:dispUnits>
          <c:builtInUnit val="b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valAx>
        <c:axId val="480707048"/>
        <c:scaling>
          <c:orientation val="minMax"/>
        </c:scaling>
        <c:delete val="0"/>
        <c:axPos val="r"/>
        <c:numFmt formatCode="0%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0707704"/>
        <c:crosses val="max"/>
        <c:crossBetween val="between"/>
      </c:valAx>
      <c:catAx>
        <c:axId val="4807077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480707048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9.5170447613432949E-2"/>
          <c:y val="4.1928417073287282E-2"/>
          <c:w val="0.78502261085173519"/>
          <c:h val="0.8758689823246133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P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0-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B$2:$B$11</c:f>
              <c:numCache>
                <c:formatCode>"$"#,##0</c:formatCode>
                <c:ptCount val="10"/>
                <c:pt idx="0">
                  <c:v>47024072.08581955</c:v>
                </c:pt>
                <c:pt idx="1">
                  <c:v>173488325.4610247</c:v>
                </c:pt>
                <c:pt idx="2">
                  <c:v>369961732.56179607</c:v>
                </c:pt>
                <c:pt idx="3">
                  <c:v>102843512.86727831</c:v>
                </c:pt>
                <c:pt idx="4">
                  <c:v>360987008.02792388</c:v>
                </c:pt>
                <c:pt idx="5">
                  <c:v>601266040.60568297</c:v>
                </c:pt>
                <c:pt idx="6">
                  <c:v>293392785.30449569</c:v>
                </c:pt>
                <c:pt idx="7">
                  <c:v>106931623.30250713</c:v>
                </c:pt>
                <c:pt idx="8">
                  <c:v>74747455.538549259</c:v>
                </c:pt>
                <c:pt idx="9">
                  <c:v>21748560.82918079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E4F-4A26-AE67-EE2728747C5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ECA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0-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C$2:$C$11</c:f>
              <c:numCache>
                <c:formatCode>"$"#,##0</c:formatCode>
                <c:ptCount val="10"/>
                <c:pt idx="0">
                  <c:v>93252144.170638546</c:v>
                </c:pt>
                <c:pt idx="1">
                  <c:v>11718800.341641439</c:v>
                </c:pt>
                <c:pt idx="2">
                  <c:v>3084771.1391056404</c:v>
                </c:pt>
                <c:pt idx="3">
                  <c:v>39151157.565885849</c:v>
                </c:pt>
                <c:pt idx="4">
                  <c:v>13716772.738767684</c:v>
                </c:pt>
                <c:pt idx="5">
                  <c:v>94995619.789657339</c:v>
                </c:pt>
                <c:pt idx="6">
                  <c:v>280717080.61615843</c:v>
                </c:pt>
                <c:pt idx="7">
                  <c:v>20964497.089790531</c:v>
                </c:pt>
                <c:pt idx="8">
                  <c:v>5417898.7261942439</c:v>
                </c:pt>
                <c:pt idx="9">
                  <c:v>3551413.21369935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E4F-4A26-AE67-EE2728747C51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S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0-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D$2:$D$11</c:f>
              <c:numCache>
                <c:formatCode>"$"#,##0</c:formatCode>
                <c:ptCount val="10"/>
                <c:pt idx="0">
                  <c:v>196811620.84224859</c:v>
                </c:pt>
                <c:pt idx="1">
                  <c:v>447790635.67495084</c:v>
                </c:pt>
                <c:pt idx="2">
                  <c:v>894016975.73186028</c:v>
                </c:pt>
                <c:pt idx="3">
                  <c:v>1139631706.598527</c:v>
                </c:pt>
                <c:pt idx="4">
                  <c:v>1146204044.0582325</c:v>
                </c:pt>
                <c:pt idx="5">
                  <c:v>1363262866.8641284</c:v>
                </c:pt>
                <c:pt idx="6">
                  <c:v>248657501.94882295</c:v>
                </c:pt>
                <c:pt idx="7">
                  <c:v>26418511.831272099</c:v>
                </c:pt>
                <c:pt idx="8">
                  <c:v>21909453.786079776</c:v>
                </c:pt>
                <c:pt idx="9">
                  <c:v>10088186.1559022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AE4F-4A26-AE67-EE2728747C5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LAC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0-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E$2:$E$11</c:f>
              <c:numCache>
                <c:formatCode>"$"#,##0</c:formatCode>
                <c:ptCount val="10"/>
                <c:pt idx="0">
                  <c:v>88139166.541851059</c:v>
                </c:pt>
                <c:pt idx="1">
                  <c:v>14631185.678752162</c:v>
                </c:pt>
                <c:pt idx="2">
                  <c:v>29058799.036725745</c:v>
                </c:pt>
                <c:pt idx="3">
                  <c:v>65600974.180367872</c:v>
                </c:pt>
                <c:pt idx="4">
                  <c:v>133904328.54026766</c:v>
                </c:pt>
                <c:pt idx="5">
                  <c:v>66129180.491995305</c:v>
                </c:pt>
                <c:pt idx="6">
                  <c:v>54038765.521090135</c:v>
                </c:pt>
                <c:pt idx="7">
                  <c:v>6430324.3478947394</c:v>
                </c:pt>
                <c:pt idx="8">
                  <c:v>66035430.429744244</c:v>
                </c:pt>
                <c:pt idx="9">
                  <c:v>3864305.18535005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E4F-4A26-AE67-EE2728747C51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MENA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0-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F$2:$F$11</c:f>
              <c:numCache>
                <c:formatCode>"$"#,##0</c:formatCode>
                <c:ptCount val="10"/>
                <c:pt idx="0">
                  <c:v>51371488.132168286</c:v>
                </c:pt>
                <c:pt idx="1">
                  <c:v>561135.94446939509</c:v>
                </c:pt>
                <c:pt idx="2">
                  <c:v>6135800.2223543907</c:v>
                </c:pt>
                <c:pt idx="3">
                  <c:v>5875257.659260259</c:v>
                </c:pt>
                <c:pt idx="4">
                  <c:v>561135.94446939509</c:v>
                </c:pt>
                <c:pt idx="5">
                  <c:v>24414717.767329033</c:v>
                </c:pt>
                <c:pt idx="6">
                  <c:v>0</c:v>
                </c:pt>
                <c:pt idx="7">
                  <c:v>0</c:v>
                </c:pt>
                <c:pt idx="8">
                  <c:v>821678.50756352709</c:v>
                </c:pt>
                <c:pt idx="9">
                  <c:v>1382814.45203292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E4F-4A26-AE67-EE2728747C51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WCA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11</c:f>
              <c:strCache>
                <c:ptCount val="10"/>
                <c:pt idx="0">
                  <c:v>0-10%</c:v>
                </c:pt>
                <c:pt idx="1">
                  <c:v>11-20%</c:v>
                </c:pt>
                <c:pt idx="2">
                  <c:v>21-30%</c:v>
                </c:pt>
                <c:pt idx="3">
                  <c:v>31-40%</c:v>
                </c:pt>
                <c:pt idx="4">
                  <c:v>41-50%</c:v>
                </c:pt>
                <c:pt idx="5">
                  <c:v>51-60%</c:v>
                </c:pt>
                <c:pt idx="6">
                  <c:v>61-70%</c:v>
                </c:pt>
                <c:pt idx="7">
                  <c:v>71-80%</c:v>
                </c:pt>
                <c:pt idx="8">
                  <c:v>81-90%</c:v>
                </c:pt>
                <c:pt idx="9">
                  <c:v>91-100%</c:v>
                </c:pt>
              </c:strCache>
            </c:strRef>
          </c:cat>
          <c:val>
            <c:numRef>
              <c:f>Sheet1!$G$2:$G$11</c:f>
              <c:numCache>
                <c:formatCode>"$"#,##0</c:formatCode>
                <c:ptCount val="10"/>
                <c:pt idx="0">
                  <c:v>22078862.453146324</c:v>
                </c:pt>
                <c:pt idx="1">
                  <c:v>202789831.12442398</c:v>
                </c:pt>
                <c:pt idx="2">
                  <c:v>141997325.94681662</c:v>
                </c:pt>
                <c:pt idx="3">
                  <c:v>231193742.64411333</c:v>
                </c:pt>
                <c:pt idx="4">
                  <c:v>210372906.49612552</c:v>
                </c:pt>
                <c:pt idx="5">
                  <c:v>920819159.5225302</c:v>
                </c:pt>
                <c:pt idx="6">
                  <c:v>349543120.72623408</c:v>
                </c:pt>
                <c:pt idx="7">
                  <c:v>80342811.289156437</c:v>
                </c:pt>
                <c:pt idx="8">
                  <c:v>72673160.487111062</c:v>
                </c:pt>
                <c:pt idx="9">
                  <c:v>108272764.599086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AE4F-4A26-AE67-EE2728747C5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23043992"/>
        <c:axId val="491545024"/>
      </c:barChart>
      <c:catAx>
        <c:axId val="223043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545024"/>
        <c:crosses val="autoZero"/>
        <c:auto val="1"/>
        <c:lblAlgn val="ctr"/>
        <c:lblOffset val="100"/>
        <c:noMultiLvlLbl val="0"/>
      </c:catAx>
      <c:valAx>
        <c:axId val="4915450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33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 dirty="0">
                    <a:solidFill>
                      <a:schemeClr val="tx1"/>
                    </a:solidFill>
                  </a:rPr>
                  <a:t>Percentage of Annual Cost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33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23043992"/>
        <c:crosses val="autoZero"/>
        <c:crossBetween val="between"/>
        <c:dispUnits>
          <c:builtInUnit val="billions"/>
          <c:dispUnitsLbl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FD8D6F7-53B7-4A20-A830-2C2ED2BF1467}" type="doc">
      <dgm:prSet loTypeId="urn:microsoft.com/office/officeart/2005/8/layout/hProcess9" loCatId="process" qsTypeId="urn:microsoft.com/office/officeart/2005/8/quickstyle/simple1" qsCatId="simple" csTypeId="urn:microsoft.com/office/officeart/2005/8/colors/accent1_2" csCatId="accent1" phldr="1"/>
      <dgm:spPr/>
    </dgm:pt>
    <dgm:pt modelId="{B7EBB2D3-6AD7-4A06-9EC5-AF7E806BD71B}">
      <dgm:prSet phldrT="[Text]" custT="1"/>
      <dgm:spPr/>
      <dgm:t>
        <a:bodyPr/>
        <a:lstStyle/>
        <a:p>
          <a:r>
            <a:rPr lang="en-US" sz="1800" u="sng" dirty="0"/>
            <a:t>Population</a:t>
          </a:r>
        </a:p>
        <a:p>
          <a:r>
            <a:rPr lang="en-US" sz="1400" u="none" dirty="0"/>
            <a:t>Stable couples</a:t>
          </a:r>
        </a:p>
        <a:p>
          <a:r>
            <a:rPr lang="en-US" sz="1400" u="none" dirty="0"/>
            <a:t>Multiple partners</a:t>
          </a:r>
        </a:p>
        <a:p>
          <a:r>
            <a:rPr lang="en-US" sz="1400" u="none" dirty="0"/>
            <a:t>FSW and clients</a:t>
          </a:r>
        </a:p>
        <a:p>
          <a:r>
            <a:rPr lang="en-US" sz="1400" u="none" dirty="0"/>
            <a:t>MSM</a:t>
          </a:r>
        </a:p>
        <a:p>
          <a:r>
            <a:rPr lang="en-US" sz="1400" u="none" dirty="0"/>
            <a:t>PWID</a:t>
          </a:r>
        </a:p>
      </dgm:t>
    </dgm:pt>
    <dgm:pt modelId="{6A35959B-658F-4E08-9604-7005DC7967A0}" type="parTrans" cxnId="{859B222E-363C-452E-84DF-7EAE76BEFC24}">
      <dgm:prSet/>
      <dgm:spPr/>
      <dgm:t>
        <a:bodyPr/>
        <a:lstStyle/>
        <a:p>
          <a:endParaRPr lang="en-US"/>
        </a:p>
      </dgm:t>
    </dgm:pt>
    <dgm:pt modelId="{FE64F54A-B504-441F-8B88-63001325FE9B}" type="sibTrans" cxnId="{859B222E-363C-452E-84DF-7EAE76BEFC24}">
      <dgm:prSet/>
      <dgm:spPr/>
      <dgm:t>
        <a:bodyPr/>
        <a:lstStyle/>
        <a:p>
          <a:endParaRPr lang="en-US"/>
        </a:p>
      </dgm:t>
    </dgm:pt>
    <dgm:pt modelId="{1B7AAF4F-B543-4335-8159-78E1B44E173D}">
      <dgm:prSet phldrT="[Text]" custT="1"/>
      <dgm:spPr/>
      <dgm:t>
        <a:bodyPr/>
        <a:lstStyle/>
        <a:p>
          <a:r>
            <a:rPr lang="en-US" sz="1800" u="sng" dirty="0"/>
            <a:t>Behaviors</a:t>
          </a:r>
        </a:p>
        <a:p>
          <a:r>
            <a:rPr lang="en-US" sz="1400" dirty="0"/>
            <a:t># of partners</a:t>
          </a:r>
        </a:p>
        <a:p>
          <a:r>
            <a:rPr lang="en-US" sz="1400" dirty="0"/>
            <a:t>Acts per partner</a:t>
          </a:r>
        </a:p>
        <a:p>
          <a:r>
            <a:rPr lang="en-US" sz="1400" dirty="0"/>
            <a:t>Condom use</a:t>
          </a:r>
        </a:p>
        <a:p>
          <a:r>
            <a:rPr lang="en-US" sz="1400" dirty="0"/>
            <a:t>Age at 1</a:t>
          </a:r>
          <a:r>
            <a:rPr lang="en-US" sz="1400" baseline="30000" dirty="0"/>
            <a:t>st</a:t>
          </a:r>
          <a:r>
            <a:rPr lang="en-US" sz="1400" dirty="0"/>
            <a:t> sex</a:t>
          </a:r>
        </a:p>
        <a:p>
          <a:r>
            <a:rPr lang="en-US" sz="1400" dirty="0"/>
            <a:t>Needle sharing</a:t>
          </a:r>
        </a:p>
      </dgm:t>
    </dgm:pt>
    <dgm:pt modelId="{61A237E2-4A63-4D5C-A135-457921C0DEC3}" type="parTrans" cxnId="{EB0A58F6-E787-40A9-8DDA-A6D2B5630350}">
      <dgm:prSet/>
      <dgm:spPr/>
      <dgm:t>
        <a:bodyPr/>
        <a:lstStyle/>
        <a:p>
          <a:endParaRPr lang="en-US"/>
        </a:p>
      </dgm:t>
    </dgm:pt>
    <dgm:pt modelId="{C35D73CC-CDF1-4501-AA64-A9CD151DFFA0}" type="sibTrans" cxnId="{EB0A58F6-E787-40A9-8DDA-A6D2B5630350}">
      <dgm:prSet/>
      <dgm:spPr/>
      <dgm:t>
        <a:bodyPr/>
        <a:lstStyle/>
        <a:p>
          <a:endParaRPr lang="en-US"/>
        </a:p>
      </dgm:t>
    </dgm:pt>
    <dgm:pt modelId="{C5FFB26C-5C20-4BC0-9BD6-8C4EC1713FA0}">
      <dgm:prSet phldrT="[Text]" custT="1"/>
      <dgm:spPr/>
      <dgm:t>
        <a:bodyPr/>
        <a:lstStyle/>
        <a:p>
          <a:r>
            <a:rPr lang="en-US" sz="1800" u="sng" dirty="0"/>
            <a:t>Epi Factors</a:t>
          </a:r>
        </a:p>
        <a:p>
          <a:r>
            <a:rPr lang="en-US" sz="1400" dirty="0"/>
            <a:t>Stage of infection</a:t>
          </a:r>
        </a:p>
        <a:p>
          <a:r>
            <a:rPr lang="en-US" sz="1400" dirty="0"/>
            <a:t>Infectiousness by stage</a:t>
          </a:r>
        </a:p>
        <a:p>
          <a:r>
            <a:rPr lang="en-US" sz="1400" dirty="0"/>
            <a:t>Effects of other STIs</a:t>
          </a:r>
        </a:p>
        <a:p>
          <a:r>
            <a:rPr lang="en-US" sz="1400" dirty="0"/>
            <a:t>Viral suppression</a:t>
          </a:r>
        </a:p>
        <a:p>
          <a:endParaRPr lang="en-US" sz="1400" dirty="0"/>
        </a:p>
      </dgm:t>
    </dgm:pt>
    <dgm:pt modelId="{2F3E1F14-FAF3-4D89-85DE-333938927D50}" type="parTrans" cxnId="{A2676803-423E-40F1-8E5C-7A9281658D82}">
      <dgm:prSet/>
      <dgm:spPr/>
      <dgm:t>
        <a:bodyPr/>
        <a:lstStyle/>
        <a:p>
          <a:endParaRPr lang="en-US"/>
        </a:p>
      </dgm:t>
    </dgm:pt>
    <dgm:pt modelId="{FE5ECD83-AE4F-4B10-83C8-0F3558EA8883}" type="sibTrans" cxnId="{A2676803-423E-40F1-8E5C-7A9281658D82}">
      <dgm:prSet/>
      <dgm:spPr/>
      <dgm:t>
        <a:bodyPr/>
        <a:lstStyle/>
        <a:p>
          <a:endParaRPr lang="en-US"/>
        </a:p>
      </dgm:t>
    </dgm:pt>
    <dgm:pt modelId="{8BC74E18-951C-407C-9DC7-C808AD218B11}">
      <dgm:prSet/>
      <dgm:spPr/>
      <dgm:t>
        <a:bodyPr/>
        <a:lstStyle/>
        <a:p>
          <a:r>
            <a:rPr lang="en-US" u="sng" dirty="0"/>
            <a:t>Probability of Transmission</a:t>
          </a:r>
        </a:p>
        <a:p>
          <a:r>
            <a:rPr lang="en-US" u="none" dirty="0"/>
            <a:t>Male -&gt; Female</a:t>
          </a:r>
        </a:p>
        <a:p>
          <a:r>
            <a:rPr lang="en-US" u="none" dirty="0"/>
            <a:t>Female -&gt; Male</a:t>
          </a:r>
        </a:p>
        <a:p>
          <a:r>
            <a:rPr lang="en-US" u="none" dirty="0"/>
            <a:t>MSM</a:t>
          </a:r>
        </a:p>
        <a:p>
          <a:r>
            <a:rPr lang="en-US" u="none" dirty="0"/>
            <a:t>Needle sharing</a:t>
          </a:r>
        </a:p>
      </dgm:t>
    </dgm:pt>
    <dgm:pt modelId="{8D56F837-88B5-417A-8B29-E441BF2F9D99}" type="parTrans" cxnId="{125CE38A-5C4F-4CEC-852B-275E17F091A1}">
      <dgm:prSet/>
      <dgm:spPr/>
      <dgm:t>
        <a:bodyPr/>
        <a:lstStyle/>
        <a:p>
          <a:endParaRPr lang="en-US"/>
        </a:p>
      </dgm:t>
    </dgm:pt>
    <dgm:pt modelId="{A546A75E-FAC0-4C74-912B-46BE0BCFE260}" type="sibTrans" cxnId="{125CE38A-5C4F-4CEC-852B-275E17F091A1}">
      <dgm:prSet/>
      <dgm:spPr/>
      <dgm:t>
        <a:bodyPr/>
        <a:lstStyle/>
        <a:p>
          <a:endParaRPr lang="en-US"/>
        </a:p>
      </dgm:t>
    </dgm:pt>
    <dgm:pt modelId="{E6B90370-6B1C-465D-9F7B-AB8A79509703}">
      <dgm:prSet/>
      <dgm:spPr/>
      <dgm:t>
        <a:bodyPr/>
        <a:lstStyle/>
        <a:p>
          <a:r>
            <a:rPr lang="en-US" u="sng" dirty="0"/>
            <a:t>New HIV Infections</a:t>
          </a:r>
        </a:p>
        <a:p>
          <a:r>
            <a:rPr lang="en-US" u="none" dirty="0"/>
            <a:t>By age, sex and population group</a:t>
          </a:r>
        </a:p>
      </dgm:t>
    </dgm:pt>
    <dgm:pt modelId="{03D38034-C91A-4527-8DB2-294419D4CD0F}" type="parTrans" cxnId="{8B4F26F5-230D-4794-9C61-9FB6C294B0C1}">
      <dgm:prSet/>
      <dgm:spPr/>
      <dgm:t>
        <a:bodyPr/>
        <a:lstStyle/>
        <a:p>
          <a:endParaRPr lang="en-US"/>
        </a:p>
      </dgm:t>
    </dgm:pt>
    <dgm:pt modelId="{D1676BE9-0003-4196-94DE-0C4BE63A5268}" type="sibTrans" cxnId="{8B4F26F5-230D-4794-9C61-9FB6C294B0C1}">
      <dgm:prSet/>
      <dgm:spPr/>
      <dgm:t>
        <a:bodyPr/>
        <a:lstStyle/>
        <a:p>
          <a:endParaRPr lang="en-US"/>
        </a:p>
      </dgm:t>
    </dgm:pt>
    <dgm:pt modelId="{B6D248DF-8E2F-4844-AA93-B6F3742BAA0B}" type="pres">
      <dgm:prSet presAssocID="{0FD8D6F7-53B7-4A20-A830-2C2ED2BF1467}" presName="CompostProcess" presStyleCnt="0">
        <dgm:presLayoutVars>
          <dgm:dir/>
          <dgm:resizeHandles val="exact"/>
        </dgm:presLayoutVars>
      </dgm:prSet>
      <dgm:spPr/>
    </dgm:pt>
    <dgm:pt modelId="{F82EBF53-F8F2-4634-823C-65C9788FC62B}" type="pres">
      <dgm:prSet presAssocID="{0FD8D6F7-53B7-4A20-A830-2C2ED2BF1467}" presName="arrow" presStyleLbl="bgShp" presStyleIdx="0" presStyleCnt="1"/>
      <dgm:spPr/>
    </dgm:pt>
    <dgm:pt modelId="{CF0A03FB-A202-496C-9E76-90362DAA9E64}" type="pres">
      <dgm:prSet presAssocID="{0FD8D6F7-53B7-4A20-A830-2C2ED2BF1467}" presName="linearProcess" presStyleCnt="0"/>
      <dgm:spPr/>
    </dgm:pt>
    <dgm:pt modelId="{A2B9C79C-6759-46ED-AE61-6044149E067F}" type="pres">
      <dgm:prSet presAssocID="{B7EBB2D3-6AD7-4A06-9EC5-AF7E806BD71B}" presName="textNode" presStyleLbl="node1" presStyleIdx="0" presStyleCnt="5" custLinFactNeighborX="-5032">
        <dgm:presLayoutVars>
          <dgm:bulletEnabled val="1"/>
        </dgm:presLayoutVars>
      </dgm:prSet>
      <dgm:spPr/>
    </dgm:pt>
    <dgm:pt modelId="{BDDD66AB-DCE3-45ED-B679-9EAB50178A40}" type="pres">
      <dgm:prSet presAssocID="{FE64F54A-B504-441F-8B88-63001325FE9B}" presName="sibTrans" presStyleCnt="0"/>
      <dgm:spPr/>
    </dgm:pt>
    <dgm:pt modelId="{467E8B9E-40D8-4670-B1B1-43BB10F292CF}" type="pres">
      <dgm:prSet presAssocID="{1B7AAF4F-B543-4335-8159-78E1B44E173D}" presName="textNode" presStyleLbl="node1" presStyleIdx="1" presStyleCnt="5">
        <dgm:presLayoutVars>
          <dgm:bulletEnabled val="1"/>
        </dgm:presLayoutVars>
      </dgm:prSet>
      <dgm:spPr/>
    </dgm:pt>
    <dgm:pt modelId="{98F04259-DF65-4747-B444-FF74DC57FC2B}" type="pres">
      <dgm:prSet presAssocID="{C35D73CC-CDF1-4501-AA64-A9CD151DFFA0}" presName="sibTrans" presStyleCnt="0"/>
      <dgm:spPr/>
    </dgm:pt>
    <dgm:pt modelId="{3A36F38A-C159-4295-908D-E504B7C02157}" type="pres">
      <dgm:prSet presAssocID="{C5FFB26C-5C20-4BC0-9BD6-8C4EC1713FA0}" presName="textNode" presStyleLbl="node1" presStyleIdx="2" presStyleCnt="5">
        <dgm:presLayoutVars>
          <dgm:bulletEnabled val="1"/>
        </dgm:presLayoutVars>
      </dgm:prSet>
      <dgm:spPr/>
    </dgm:pt>
    <dgm:pt modelId="{48210B55-DC13-4DB1-B7E4-B7A33C010E1E}" type="pres">
      <dgm:prSet presAssocID="{FE5ECD83-AE4F-4B10-83C8-0F3558EA8883}" presName="sibTrans" presStyleCnt="0"/>
      <dgm:spPr/>
    </dgm:pt>
    <dgm:pt modelId="{5C718F04-3662-4C94-AF4E-1BC0FDA392CB}" type="pres">
      <dgm:prSet presAssocID="{8BC74E18-951C-407C-9DC7-C808AD218B11}" presName="textNode" presStyleLbl="node1" presStyleIdx="3" presStyleCnt="5">
        <dgm:presLayoutVars>
          <dgm:bulletEnabled val="1"/>
        </dgm:presLayoutVars>
      </dgm:prSet>
      <dgm:spPr/>
    </dgm:pt>
    <dgm:pt modelId="{C175F705-2CB3-4A5A-B2EC-2790C23FC09F}" type="pres">
      <dgm:prSet presAssocID="{A546A75E-FAC0-4C74-912B-46BE0BCFE260}" presName="sibTrans" presStyleCnt="0"/>
      <dgm:spPr/>
    </dgm:pt>
    <dgm:pt modelId="{F32A2A09-F806-4EB5-BB40-01B419EF6920}" type="pres">
      <dgm:prSet presAssocID="{E6B90370-6B1C-465D-9F7B-AB8A79509703}" presName="textNode" presStyleLbl="node1" presStyleIdx="4" presStyleCnt="5">
        <dgm:presLayoutVars>
          <dgm:bulletEnabled val="1"/>
        </dgm:presLayoutVars>
      </dgm:prSet>
      <dgm:spPr/>
    </dgm:pt>
  </dgm:ptLst>
  <dgm:cxnLst>
    <dgm:cxn modelId="{A2676803-423E-40F1-8E5C-7A9281658D82}" srcId="{0FD8D6F7-53B7-4A20-A830-2C2ED2BF1467}" destId="{C5FFB26C-5C20-4BC0-9BD6-8C4EC1713FA0}" srcOrd="2" destOrd="0" parTransId="{2F3E1F14-FAF3-4D89-85DE-333938927D50}" sibTransId="{FE5ECD83-AE4F-4B10-83C8-0F3558EA8883}"/>
    <dgm:cxn modelId="{0FED651A-E089-4D45-989A-E79856B877AE}" type="presOf" srcId="{C5FFB26C-5C20-4BC0-9BD6-8C4EC1713FA0}" destId="{3A36F38A-C159-4295-908D-E504B7C02157}" srcOrd="0" destOrd="0" presId="urn:microsoft.com/office/officeart/2005/8/layout/hProcess9"/>
    <dgm:cxn modelId="{636E7C24-BFD8-4250-A9A1-46972B6898DD}" type="presOf" srcId="{0FD8D6F7-53B7-4A20-A830-2C2ED2BF1467}" destId="{B6D248DF-8E2F-4844-AA93-B6F3742BAA0B}" srcOrd="0" destOrd="0" presId="urn:microsoft.com/office/officeart/2005/8/layout/hProcess9"/>
    <dgm:cxn modelId="{859B222E-363C-452E-84DF-7EAE76BEFC24}" srcId="{0FD8D6F7-53B7-4A20-A830-2C2ED2BF1467}" destId="{B7EBB2D3-6AD7-4A06-9EC5-AF7E806BD71B}" srcOrd="0" destOrd="0" parTransId="{6A35959B-658F-4E08-9604-7005DC7967A0}" sibTransId="{FE64F54A-B504-441F-8B88-63001325FE9B}"/>
    <dgm:cxn modelId="{622A945A-E7A9-498E-B50E-79A791228B52}" type="presOf" srcId="{E6B90370-6B1C-465D-9F7B-AB8A79509703}" destId="{F32A2A09-F806-4EB5-BB40-01B419EF6920}" srcOrd="0" destOrd="0" presId="urn:microsoft.com/office/officeart/2005/8/layout/hProcess9"/>
    <dgm:cxn modelId="{125CE38A-5C4F-4CEC-852B-275E17F091A1}" srcId="{0FD8D6F7-53B7-4A20-A830-2C2ED2BF1467}" destId="{8BC74E18-951C-407C-9DC7-C808AD218B11}" srcOrd="3" destOrd="0" parTransId="{8D56F837-88B5-417A-8B29-E441BF2F9D99}" sibTransId="{A546A75E-FAC0-4C74-912B-46BE0BCFE260}"/>
    <dgm:cxn modelId="{C182238F-4B9A-4679-88FF-E1E1B411B54E}" type="presOf" srcId="{1B7AAF4F-B543-4335-8159-78E1B44E173D}" destId="{467E8B9E-40D8-4670-B1B1-43BB10F292CF}" srcOrd="0" destOrd="0" presId="urn:microsoft.com/office/officeart/2005/8/layout/hProcess9"/>
    <dgm:cxn modelId="{742B2395-63E6-4CF4-91D2-E145E94926F7}" type="presOf" srcId="{B7EBB2D3-6AD7-4A06-9EC5-AF7E806BD71B}" destId="{A2B9C79C-6759-46ED-AE61-6044149E067F}" srcOrd="0" destOrd="0" presId="urn:microsoft.com/office/officeart/2005/8/layout/hProcess9"/>
    <dgm:cxn modelId="{8B5BD8F2-DF7E-458B-83BC-04888F6A503B}" type="presOf" srcId="{8BC74E18-951C-407C-9DC7-C808AD218B11}" destId="{5C718F04-3662-4C94-AF4E-1BC0FDA392CB}" srcOrd="0" destOrd="0" presId="urn:microsoft.com/office/officeart/2005/8/layout/hProcess9"/>
    <dgm:cxn modelId="{8B4F26F5-230D-4794-9C61-9FB6C294B0C1}" srcId="{0FD8D6F7-53B7-4A20-A830-2C2ED2BF1467}" destId="{E6B90370-6B1C-465D-9F7B-AB8A79509703}" srcOrd="4" destOrd="0" parTransId="{03D38034-C91A-4527-8DB2-294419D4CD0F}" sibTransId="{D1676BE9-0003-4196-94DE-0C4BE63A5268}"/>
    <dgm:cxn modelId="{EB0A58F6-E787-40A9-8DDA-A6D2B5630350}" srcId="{0FD8D6F7-53B7-4A20-A830-2C2ED2BF1467}" destId="{1B7AAF4F-B543-4335-8159-78E1B44E173D}" srcOrd="1" destOrd="0" parTransId="{61A237E2-4A63-4D5C-A135-457921C0DEC3}" sibTransId="{C35D73CC-CDF1-4501-AA64-A9CD151DFFA0}"/>
    <dgm:cxn modelId="{E9A39E68-61B2-4B0D-BAC9-F61DC3CA61E7}" type="presParOf" srcId="{B6D248DF-8E2F-4844-AA93-B6F3742BAA0B}" destId="{F82EBF53-F8F2-4634-823C-65C9788FC62B}" srcOrd="0" destOrd="0" presId="urn:microsoft.com/office/officeart/2005/8/layout/hProcess9"/>
    <dgm:cxn modelId="{81E5FE6A-9CAC-490A-9085-2DFF7E52222A}" type="presParOf" srcId="{B6D248DF-8E2F-4844-AA93-B6F3742BAA0B}" destId="{CF0A03FB-A202-496C-9E76-90362DAA9E64}" srcOrd="1" destOrd="0" presId="urn:microsoft.com/office/officeart/2005/8/layout/hProcess9"/>
    <dgm:cxn modelId="{6525AC62-A412-4E64-853B-B353C6B8C464}" type="presParOf" srcId="{CF0A03FB-A202-496C-9E76-90362DAA9E64}" destId="{A2B9C79C-6759-46ED-AE61-6044149E067F}" srcOrd="0" destOrd="0" presId="urn:microsoft.com/office/officeart/2005/8/layout/hProcess9"/>
    <dgm:cxn modelId="{F174A117-EAB0-4F42-B315-D93F652F3FFA}" type="presParOf" srcId="{CF0A03FB-A202-496C-9E76-90362DAA9E64}" destId="{BDDD66AB-DCE3-45ED-B679-9EAB50178A40}" srcOrd="1" destOrd="0" presId="urn:microsoft.com/office/officeart/2005/8/layout/hProcess9"/>
    <dgm:cxn modelId="{EBFEBF78-A958-4109-8FD0-A1BE613FD4F0}" type="presParOf" srcId="{CF0A03FB-A202-496C-9E76-90362DAA9E64}" destId="{467E8B9E-40D8-4670-B1B1-43BB10F292CF}" srcOrd="2" destOrd="0" presId="urn:microsoft.com/office/officeart/2005/8/layout/hProcess9"/>
    <dgm:cxn modelId="{AE3619A0-DF0D-46C3-92C6-7EEFCC0EFA63}" type="presParOf" srcId="{CF0A03FB-A202-496C-9E76-90362DAA9E64}" destId="{98F04259-DF65-4747-B444-FF74DC57FC2B}" srcOrd="3" destOrd="0" presId="urn:microsoft.com/office/officeart/2005/8/layout/hProcess9"/>
    <dgm:cxn modelId="{F9658265-1AC9-436A-A6A0-F698C3082797}" type="presParOf" srcId="{CF0A03FB-A202-496C-9E76-90362DAA9E64}" destId="{3A36F38A-C159-4295-908D-E504B7C02157}" srcOrd="4" destOrd="0" presId="urn:microsoft.com/office/officeart/2005/8/layout/hProcess9"/>
    <dgm:cxn modelId="{189F268C-0496-4B5F-A492-6DDEC017010D}" type="presParOf" srcId="{CF0A03FB-A202-496C-9E76-90362DAA9E64}" destId="{48210B55-DC13-4DB1-B7E4-B7A33C010E1E}" srcOrd="5" destOrd="0" presId="urn:microsoft.com/office/officeart/2005/8/layout/hProcess9"/>
    <dgm:cxn modelId="{80B97D41-639D-45D3-BEA4-8A8850058AF5}" type="presParOf" srcId="{CF0A03FB-A202-496C-9E76-90362DAA9E64}" destId="{5C718F04-3662-4C94-AF4E-1BC0FDA392CB}" srcOrd="6" destOrd="0" presId="urn:microsoft.com/office/officeart/2005/8/layout/hProcess9"/>
    <dgm:cxn modelId="{4284598C-3EA1-48D1-BF5A-D17159F90E77}" type="presParOf" srcId="{CF0A03FB-A202-496C-9E76-90362DAA9E64}" destId="{C175F705-2CB3-4A5A-B2EC-2790C23FC09F}" srcOrd="7" destOrd="0" presId="urn:microsoft.com/office/officeart/2005/8/layout/hProcess9"/>
    <dgm:cxn modelId="{794DFE65-EBA6-4CC9-A083-B1028F78EDBB}" type="presParOf" srcId="{CF0A03FB-A202-496C-9E76-90362DAA9E64}" destId="{F32A2A09-F806-4EB5-BB40-01B419EF6920}" srcOrd="8" destOrd="0" presId="urn:microsoft.com/office/officeart/2005/8/layout/hProcess9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93B11DE7-33B4-4F7D-89B5-8A64ADECF8B9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5977DCE-E5B8-4F8B-9AF4-E5D9C06F6B93}">
      <dgm:prSet phldrT="[Text]" custT="1"/>
      <dgm:spPr/>
      <dgm:t>
        <a:bodyPr/>
        <a:lstStyle/>
        <a:p>
          <a:r>
            <a:rPr lang="en-US" sz="1400" dirty="0"/>
            <a:t>Biomedical</a:t>
          </a:r>
          <a:endParaRPr lang="en-US" sz="1000" dirty="0"/>
        </a:p>
      </dgm:t>
    </dgm:pt>
    <dgm:pt modelId="{784DD6F2-ADC6-455F-8E68-0F9963A18B77}" type="parTrans" cxnId="{09211964-50FA-42E9-944E-82E1D1191B7C}">
      <dgm:prSet/>
      <dgm:spPr/>
      <dgm:t>
        <a:bodyPr/>
        <a:lstStyle/>
        <a:p>
          <a:endParaRPr lang="en-US"/>
        </a:p>
      </dgm:t>
    </dgm:pt>
    <dgm:pt modelId="{2241AA57-CBA1-418A-B91C-670EA2266D8E}" type="sibTrans" cxnId="{09211964-50FA-42E9-944E-82E1D1191B7C}">
      <dgm:prSet/>
      <dgm:spPr/>
      <dgm:t>
        <a:bodyPr/>
        <a:lstStyle/>
        <a:p>
          <a:endParaRPr lang="en-US"/>
        </a:p>
      </dgm:t>
    </dgm:pt>
    <dgm:pt modelId="{96703736-6277-4767-B511-2F6C7FBD65DA}">
      <dgm:prSet phldrT="[Text]" custT="1"/>
      <dgm:spPr/>
      <dgm:t>
        <a:bodyPr/>
        <a:lstStyle/>
        <a:p>
          <a:pPr algn="l"/>
          <a:r>
            <a:rPr lang="en-US" sz="1600" dirty="0"/>
            <a:t>Condoms</a:t>
          </a:r>
        </a:p>
      </dgm:t>
    </dgm:pt>
    <dgm:pt modelId="{FC099852-40AC-44BF-B543-F68E070FD0A6}" type="parTrans" cxnId="{A889015D-98FA-45CA-BFB0-D25119E0CFD3}">
      <dgm:prSet/>
      <dgm:spPr/>
      <dgm:t>
        <a:bodyPr/>
        <a:lstStyle/>
        <a:p>
          <a:endParaRPr lang="en-US"/>
        </a:p>
      </dgm:t>
    </dgm:pt>
    <dgm:pt modelId="{FD97E473-C238-45A6-BC97-E4AD4A50C224}" type="sibTrans" cxnId="{A889015D-98FA-45CA-BFB0-D25119E0CFD3}">
      <dgm:prSet/>
      <dgm:spPr/>
      <dgm:t>
        <a:bodyPr/>
        <a:lstStyle/>
        <a:p>
          <a:endParaRPr lang="en-US"/>
        </a:p>
      </dgm:t>
    </dgm:pt>
    <dgm:pt modelId="{DD5F39AF-1ECA-4A26-B80F-E30F5D435DED}">
      <dgm:prSet phldrT="[Text]" custT="1"/>
      <dgm:spPr/>
      <dgm:t>
        <a:bodyPr/>
        <a:lstStyle/>
        <a:p>
          <a:r>
            <a:rPr lang="en-US" sz="1400" dirty="0"/>
            <a:t>Behavior Change</a:t>
          </a:r>
          <a:endParaRPr lang="en-US" sz="1000" dirty="0"/>
        </a:p>
      </dgm:t>
    </dgm:pt>
    <dgm:pt modelId="{4384F4B6-E615-4049-972E-1C03D0A152F1}" type="sibTrans" cxnId="{58E80603-5F6E-43A7-ADCE-D24070C491F6}">
      <dgm:prSet/>
      <dgm:spPr/>
      <dgm:t>
        <a:bodyPr/>
        <a:lstStyle/>
        <a:p>
          <a:endParaRPr lang="en-US"/>
        </a:p>
      </dgm:t>
    </dgm:pt>
    <dgm:pt modelId="{999A3760-398E-4E00-9604-67A60DF6D929}" type="parTrans" cxnId="{58E80603-5F6E-43A7-ADCE-D24070C491F6}">
      <dgm:prSet/>
      <dgm:spPr/>
      <dgm:t>
        <a:bodyPr/>
        <a:lstStyle/>
        <a:p>
          <a:endParaRPr lang="en-US"/>
        </a:p>
      </dgm:t>
    </dgm:pt>
    <dgm:pt modelId="{093783D4-3DC9-4CD5-9E45-32C39C02309E}">
      <dgm:prSet phldrT="[Text]" custT="1"/>
      <dgm:spPr/>
      <dgm:t>
        <a:bodyPr/>
        <a:lstStyle/>
        <a:p>
          <a:r>
            <a:rPr lang="en-US" sz="1600" dirty="0"/>
            <a:t>Communication</a:t>
          </a:r>
        </a:p>
      </dgm:t>
    </dgm:pt>
    <dgm:pt modelId="{095BDFE7-49D2-4326-B277-05F5E6633D81}" type="sibTrans" cxnId="{7B420113-7301-4682-AF58-2605FA5EAF1E}">
      <dgm:prSet/>
      <dgm:spPr/>
      <dgm:t>
        <a:bodyPr/>
        <a:lstStyle/>
        <a:p>
          <a:endParaRPr lang="en-US"/>
        </a:p>
      </dgm:t>
    </dgm:pt>
    <dgm:pt modelId="{37453CDE-BCE3-47C5-AD03-68B43C12F09F}" type="parTrans" cxnId="{7B420113-7301-4682-AF58-2605FA5EAF1E}">
      <dgm:prSet/>
      <dgm:spPr/>
      <dgm:t>
        <a:bodyPr/>
        <a:lstStyle/>
        <a:p>
          <a:endParaRPr lang="en-US"/>
        </a:p>
      </dgm:t>
    </dgm:pt>
    <dgm:pt modelId="{CCADA2D4-8F15-4BAD-B74E-B08ADC0112F8}">
      <dgm:prSet phldrT="[Text]" custT="1"/>
      <dgm:spPr/>
      <dgm:t>
        <a:bodyPr/>
        <a:lstStyle/>
        <a:p>
          <a:r>
            <a:rPr lang="en-US" sz="1600" dirty="0"/>
            <a:t>Outreach, Education</a:t>
          </a:r>
        </a:p>
      </dgm:t>
    </dgm:pt>
    <dgm:pt modelId="{FCC4C462-9C47-4F69-A324-B93E42C5664E}" type="sibTrans" cxnId="{241CDC87-FB8E-458E-A11D-B6DC5D7D82CA}">
      <dgm:prSet/>
      <dgm:spPr/>
      <dgm:t>
        <a:bodyPr/>
        <a:lstStyle/>
        <a:p>
          <a:endParaRPr lang="en-US"/>
        </a:p>
      </dgm:t>
    </dgm:pt>
    <dgm:pt modelId="{09D7CAC0-AD8C-4CF6-987A-EEDE7AB6E179}" type="parTrans" cxnId="{241CDC87-FB8E-458E-A11D-B6DC5D7D82CA}">
      <dgm:prSet/>
      <dgm:spPr/>
      <dgm:t>
        <a:bodyPr/>
        <a:lstStyle/>
        <a:p>
          <a:endParaRPr lang="en-US"/>
        </a:p>
      </dgm:t>
    </dgm:pt>
    <dgm:pt modelId="{B0B1168F-9505-47BD-AA10-EBB0153696EC}">
      <dgm:prSet phldrT="[Text]" custT="1"/>
      <dgm:spPr/>
      <dgm:t>
        <a:bodyPr/>
        <a:lstStyle/>
        <a:p>
          <a:r>
            <a:rPr lang="en-US" sz="1600" dirty="0"/>
            <a:t>Community mobilization</a:t>
          </a:r>
        </a:p>
      </dgm:t>
    </dgm:pt>
    <dgm:pt modelId="{6A1BF68D-0E4F-41E7-89C1-31846C3887F5}" type="parTrans" cxnId="{3DFDB2CC-71D9-4E27-ACA3-606FD6F84FA2}">
      <dgm:prSet/>
      <dgm:spPr/>
      <dgm:t>
        <a:bodyPr/>
        <a:lstStyle/>
        <a:p>
          <a:endParaRPr lang="en-US"/>
        </a:p>
      </dgm:t>
    </dgm:pt>
    <dgm:pt modelId="{16E9CCEE-3C96-463A-A603-5DC30CAB6957}" type="sibTrans" cxnId="{3DFDB2CC-71D9-4E27-ACA3-606FD6F84FA2}">
      <dgm:prSet/>
      <dgm:spPr/>
      <dgm:t>
        <a:bodyPr/>
        <a:lstStyle/>
        <a:p>
          <a:endParaRPr lang="en-US"/>
        </a:p>
      </dgm:t>
    </dgm:pt>
    <dgm:pt modelId="{657BD476-53CC-429E-B59E-9FF8EF8F32B6}">
      <dgm:prSet phldrT="[Text]" custT="1"/>
      <dgm:spPr/>
      <dgm:t>
        <a:bodyPr/>
        <a:lstStyle/>
        <a:p>
          <a:r>
            <a:rPr lang="en-US" sz="1600" dirty="0"/>
            <a:t>Cash transfers</a:t>
          </a:r>
        </a:p>
      </dgm:t>
    </dgm:pt>
    <dgm:pt modelId="{7FA6BF01-0004-4711-9EA4-23882C6441A3}" type="parTrans" cxnId="{0DC6CD0A-0579-41AA-9688-F2D326CFDB51}">
      <dgm:prSet/>
      <dgm:spPr/>
      <dgm:t>
        <a:bodyPr/>
        <a:lstStyle/>
        <a:p>
          <a:endParaRPr lang="en-US"/>
        </a:p>
      </dgm:t>
    </dgm:pt>
    <dgm:pt modelId="{8C177686-6EAE-4C54-8F5D-3C1D236FACD7}" type="sibTrans" cxnId="{0DC6CD0A-0579-41AA-9688-F2D326CFDB51}">
      <dgm:prSet/>
      <dgm:spPr/>
      <dgm:t>
        <a:bodyPr/>
        <a:lstStyle/>
        <a:p>
          <a:endParaRPr lang="en-US"/>
        </a:p>
      </dgm:t>
    </dgm:pt>
    <dgm:pt modelId="{CDC6C20F-DBA1-4D5B-B8FE-433F2FC44E94}">
      <dgm:prSet phldrT="[Text]" custT="1"/>
      <dgm:spPr/>
      <dgm:t>
        <a:bodyPr/>
        <a:lstStyle/>
        <a:p>
          <a:pPr algn="l"/>
          <a:r>
            <a:rPr lang="en-US" sz="1600" dirty="0"/>
            <a:t>VMMC</a:t>
          </a:r>
        </a:p>
      </dgm:t>
    </dgm:pt>
    <dgm:pt modelId="{0D70AE19-026D-4AB7-8349-ED26261ECCFB}" type="parTrans" cxnId="{695DC4B0-81AD-4AA0-80A0-097E2C550716}">
      <dgm:prSet/>
      <dgm:spPr/>
      <dgm:t>
        <a:bodyPr/>
        <a:lstStyle/>
        <a:p>
          <a:endParaRPr lang="en-US"/>
        </a:p>
      </dgm:t>
    </dgm:pt>
    <dgm:pt modelId="{16E62BC0-F488-4393-9643-15D27C3EC9F3}" type="sibTrans" cxnId="{695DC4B0-81AD-4AA0-80A0-097E2C550716}">
      <dgm:prSet/>
      <dgm:spPr/>
      <dgm:t>
        <a:bodyPr/>
        <a:lstStyle/>
        <a:p>
          <a:endParaRPr lang="en-US"/>
        </a:p>
      </dgm:t>
    </dgm:pt>
    <dgm:pt modelId="{DA627E48-C331-4448-AF46-8128423A24EE}">
      <dgm:prSet phldrT="[Text]" custT="1"/>
      <dgm:spPr/>
      <dgm:t>
        <a:bodyPr/>
        <a:lstStyle/>
        <a:p>
          <a:pPr algn="l"/>
          <a:r>
            <a:rPr lang="en-US" sz="1600" dirty="0"/>
            <a:t>ART</a:t>
          </a:r>
        </a:p>
      </dgm:t>
    </dgm:pt>
    <dgm:pt modelId="{3B47C876-86CD-4DDA-8AA4-7BAC75837729}" type="parTrans" cxnId="{FC69F419-9761-4351-AC3F-F16C4B9A2AFB}">
      <dgm:prSet/>
      <dgm:spPr/>
      <dgm:t>
        <a:bodyPr/>
        <a:lstStyle/>
        <a:p>
          <a:endParaRPr lang="en-US"/>
        </a:p>
      </dgm:t>
    </dgm:pt>
    <dgm:pt modelId="{1BE8DBAF-ED2D-4271-BBD0-E11BAD329F77}" type="sibTrans" cxnId="{FC69F419-9761-4351-AC3F-F16C4B9A2AFB}">
      <dgm:prSet/>
      <dgm:spPr/>
      <dgm:t>
        <a:bodyPr/>
        <a:lstStyle/>
        <a:p>
          <a:endParaRPr lang="en-US"/>
        </a:p>
      </dgm:t>
    </dgm:pt>
    <dgm:pt modelId="{F4ED2E62-7F20-4A88-9563-0A1E736EEA96}">
      <dgm:prSet phldrT="[Text]" custT="1"/>
      <dgm:spPr/>
      <dgm:t>
        <a:bodyPr/>
        <a:lstStyle/>
        <a:p>
          <a:pPr algn="l"/>
          <a:r>
            <a:rPr lang="en-US" sz="1600" dirty="0"/>
            <a:t>PMTCT</a:t>
          </a:r>
        </a:p>
      </dgm:t>
    </dgm:pt>
    <dgm:pt modelId="{AB4A83F7-C841-4AB3-8B23-8D8C40FD8174}" type="parTrans" cxnId="{55377627-BB6E-46EB-9BE5-A9CB4F20ED07}">
      <dgm:prSet/>
      <dgm:spPr/>
      <dgm:t>
        <a:bodyPr/>
        <a:lstStyle/>
        <a:p>
          <a:endParaRPr lang="en-US"/>
        </a:p>
      </dgm:t>
    </dgm:pt>
    <dgm:pt modelId="{ECEB2FEC-399E-47AC-89D7-492C89073054}" type="sibTrans" cxnId="{55377627-BB6E-46EB-9BE5-A9CB4F20ED07}">
      <dgm:prSet/>
      <dgm:spPr/>
      <dgm:t>
        <a:bodyPr/>
        <a:lstStyle/>
        <a:p>
          <a:endParaRPr lang="en-US"/>
        </a:p>
      </dgm:t>
    </dgm:pt>
    <dgm:pt modelId="{868BDA3B-D076-4190-B6ED-8328129685C6}" type="pres">
      <dgm:prSet presAssocID="{93B11DE7-33B4-4F7D-89B5-8A64ADECF8B9}" presName="Name0" presStyleCnt="0">
        <dgm:presLayoutVars>
          <dgm:dir/>
          <dgm:animLvl val="lvl"/>
          <dgm:resizeHandles val="exact"/>
        </dgm:presLayoutVars>
      </dgm:prSet>
      <dgm:spPr/>
    </dgm:pt>
    <dgm:pt modelId="{A95043F9-0BA6-414D-B308-9BFF94BFB593}" type="pres">
      <dgm:prSet presAssocID="{DD5F39AF-1ECA-4A26-B80F-E30F5D435DED}" presName="composite" presStyleCnt="0"/>
      <dgm:spPr/>
    </dgm:pt>
    <dgm:pt modelId="{951C482B-9241-4E3B-8CAC-1D61C89EE112}" type="pres">
      <dgm:prSet presAssocID="{DD5F39AF-1ECA-4A26-B80F-E30F5D435DED}" presName="parTx" presStyleLbl="alignNode1" presStyleIdx="0" presStyleCnt="2">
        <dgm:presLayoutVars>
          <dgm:chMax val="0"/>
          <dgm:chPref val="0"/>
          <dgm:bulletEnabled val="1"/>
        </dgm:presLayoutVars>
      </dgm:prSet>
      <dgm:spPr/>
    </dgm:pt>
    <dgm:pt modelId="{DCC0850F-CB00-45AA-83EA-549EBE32D38B}" type="pres">
      <dgm:prSet presAssocID="{DD5F39AF-1ECA-4A26-B80F-E30F5D435DED}" presName="desTx" presStyleLbl="alignAccFollowNode1" presStyleIdx="0" presStyleCnt="2">
        <dgm:presLayoutVars>
          <dgm:bulletEnabled val="1"/>
        </dgm:presLayoutVars>
      </dgm:prSet>
      <dgm:spPr/>
    </dgm:pt>
    <dgm:pt modelId="{23B272E7-D60D-4078-BA3C-2AAB0CDA0633}" type="pres">
      <dgm:prSet presAssocID="{4384F4B6-E615-4049-972E-1C03D0A152F1}" presName="space" presStyleCnt="0"/>
      <dgm:spPr/>
    </dgm:pt>
    <dgm:pt modelId="{9E95BE31-559F-4DFA-A39D-1ACB10EEB214}" type="pres">
      <dgm:prSet presAssocID="{95977DCE-E5B8-4F8B-9AF4-E5D9C06F6B93}" presName="composite" presStyleCnt="0"/>
      <dgm:spPr/>
    </dgm:pt>
    <dgm:pt modelId="{B0DB1CB4-F96C-4185-AE58-5B7BFF6E8D06}" type="pres">
      <dgm:prSet presAssocID="{95977DCE-E5B8-4F8B-9AF4-E5D9C06F6B93}" presName="parTx" presStyleLbl="alignNode1" presStyleIdx="1" presStyleCnt="2" custLinFactNeighborX="49548" custLinFactNeighborY="-11890">
        <dgm:presLayoutVars>
          <dgm:chMax val="0"/>
          <dgm:chPref val="0"/>
          <dgm:bulletEnabled val="1"/>
        </dgm:presLayoutVars>
      </dgm:prSet>
      <dgm:spPr/>
    </dgm:pt>
    <dgm:pt modelId="{1DB27703-422F-431E-A122-2B4989BC183B}" type="pres">
      <dgm:prSet presAssocID="{95977DCE-E5B8-4F8B-9AF4-E5D9C06F6B93}" presName="desTx" presStyleLbl="alignAccFollowNode1" presStyleIdx="1" presStyleCnt="2" custScaleX="100541" custLinFactNeighborX="49277" custLinFactNeighborY="-6172">
        <dgm:presLayoutVars>
          <dgm:bulletEnabled val="1"/>
        </dgm:presLayoutVars>
      </dgm:prSet>
      <dgm:spPr/>
    </dgm:pt>
  </dgm:ptLst>
  <dgm:cxnLst>
    <dgm:cxn modelId="{58E80603-5F6E-43A7-ADCE-D24070C491F6}" srcId="{93B11DE7-33B4-4F7D-89B5-8A64ADECF8B9}" destId="{DD5F39AF-1ECA-4A26-B80F-E30F5D435DED}" srcOrd="0" destOrd="0" parTransId="{999A3760-398E-4E00-9604-67A60DF6D929}" sibTransId="{4384F4B6-E615-4049-972E-1C03D0A152F1}"/>
    <dgm:cxn modelId="{0DC6CD0A-0579-41AA-9688-F2D326CFDB51}" srcId="{DD5F39AF-1ECA-4A26-B80F-E30F5D435DED}" destId="{657BD476-53CC-429E-B59E-9FF8EF8F32B6}" srcOrd="3" destOrd="0" parTransId="{7FA6BF01-0004-4711-9EA4-23882C6441A3}" sibTransId="{8C177686-6EAE-4C54-8F5D-3C1D236FACD7}"/>
    <dgm:cxn modelId="{7B420113-7301-4682-AF58-2605FA5EAF1E}" srcId="{DD5F39AF-1ECA-4A26-B80F-E30F5D435DED}" destId="{093783D4-3DC9-4CD5-9E45-32C39C02309E}" srcOrd="1" destOrd="0" parTransId="{37453CDE-BCE3-47C5-AD03-68B43C12F09F}" sibTransId="{095BDFE7-49D2-4326-B277-05F5E6633D81}"/>
    <dgm:cxn modelId="{FC69F419-9761-4351-AC3F-F16C4B9A2AFB}" srcId="{95977DCE-E5B8-4F8B-9AF4-E5D9C06F6B93}" destId="{DA627E48-C331-4448-AF46-8128423A24EE}" srcOrd="2" destOrd="0" parTransId="{3B47C876-86CD-4DDA-8AA4-7BAC75837729}" sibTransId="{1BE8DBAF-ED2D-4271-BBD0-E11BAD329F77}"/>
    <dgm:cxn modelId="{0D43711D-5E3D-4FE1-92DA-1E2C33FD3226}" type="presOf" srcId="{96703736-6277-4767-B511-2F6C7FBD65DA}" destId="{1DB27703-422F-431E-A122-2B4989BC183B}" srcOrd="0" destOrd="0" presId="urn:microsoft.com/office/officeart/2005/8/layout/hList1"/>
    <dgm:cxn modelId="{593B9024-D878-4BEF-847A-A65CB7E92DD9}" type="presOf" srcId="{93B11DE7-33B4-4F7D-89B5-8A64ADECF8B9}" destId="{868BDA3B-D076-4190-B6ED-8328129685C6}" srcOrd="0" destOrd="0" presId="urn:microsoft.com/office/officeart/2005/8/layout/hList1"/>
    <dgm:cxn modelId="{55377627-BB6E-46EB-9BE5-A9CB4F20ED07}" srcId="{95977DCE-E5B8-4F8B-9AF4-E5D9C06F6B93}" destId="{F4ED2E62-7F20-4A88-9563-0A1E736EEA96}" srcOrd="3" destOrd="0" parTransId="{AB4A83F7-C841-4AB3-8B23-8D8C40FD8174}" sibTransId="{ECEB2FEC-399E-47AC-89D7-492C89073054}"/>
    <dgm:cxn modelId="{CD243933-5FF6-4EA6-B91C-C967232594BB}" type="presOf" srcId="{95977DCE-E5B8-4F8B-9AF4-E5D9C06F6B93}" destId="{B0DB1CB4-F96C-4185-AE58-5B7BFF6E8D06}" srcOrd="0" destOrd="0" presId="urn:microsoft.com/office/officeart/2005/8/layout/hList1"/>
    <dgm:cxn modelId="{A889015D-98FA-45CA-BFB0-D25119E0CFD3}" srcId="{95977DCE-E5B8-4F8B-9AF4-E5D9C06F6B93}" destId="{96703736-6277-4767-B511-2F6C7FBD65DA}" srcOrd="0" destOrd="0" parTransId="{FC099852-40AC-44BF-B543-F68E070FD0A6}" sibTransId="{FD97E473-C238-45A6-BC97-E4AD4A50C224}"/>
    <dgm:cxn modelId="{7721C441-860F-4D1E-86EE-F3F45AC20F6E}" type="presOf" srcId="{B0B1168F-9505-47BD-AA10-EBB0153696EC}" destId="{DCC0850F-CB00-45AA-83EA-549EBE32D38B}" srcOrd="0" destOrd="2" presId="urn:microsoft.com/office/officeart/2005/8/layout/hList1"/>
    <dgm:cxn modelId="{B4017F63-5680-4379-9781-8E3FDD77E6E1}" type="presOf" srcId="{CCADA2D4-8F15-4BAD-B74E-B08ADC0112F8}" destId="{DCC0850F-CB00-45AA-83EA-549EBE32D38B}" srcOrd="0" destOrd="0" presId="urn:microsoft.com/office/officeart/2005/8/layout/hList1"/>
    <dgm:cxn modelId="{09211964-50FA-42E9-944E-82E1D1191B7C}" srcId="{93B11DE7-33B4-4F7D-89B5-8A64ADECF8B9}" destId="{95977DCE-E5B8-4F8B-9AF4-E5D9C06F6B93}" srcOrd="1" destOrd="0" parTransId="{784DD6F2-ADC6-455F-8E68-0F9963A18B77}" sibTransId="{2241AA57-CBA1-418A-B91C-670EA2266D8E}"/>
    <dgm:cxn modelId="{3DB5A280-CBFA-40DE-B5B2-580865E4EBF3}" type="presOf" srcId="{DD5F39AF-1ECA-4A26-B80F-E30F5D435DED}" destId="{951C482B-9241-4E3B-8CAC-1D61C89EE112}" srcOrd="0" destOrd="0" presId="urn:microsoft.com/office/officeart/2005/8/layout/hList1"/>
    <dgm:cxn modelId="{241CDC87-FB8E-458E-A11D-B6DC5D7D82CA}" srcId="{DD5F39AF-1ECA-4A26-B80F-E30F5D435DED}" destId="{CCADA2D4-8F15-4BAD-B74E-B08ADC0112F8}" srcOrd="0" destOrd="0" parTransId="{09D7CAC0-AD8C-4CF6-987A-EEDE7AB6E179}" sibTransId="{FCC4C462-9C47-4F69-A324-B93E42C5664E}"/>
    <dgm:cxn modelId="{11807789-FC30-4EE6-AAAE-8F6B3337E306}" type="presOf" srcId="{657BD476-53CC-429E-B59E-9FF8EF8F32B6}" destId="{DCC0850F-CB00-45AA-83EA-549EBE32D38B}" srcOrd="0" destOrd="3" presId="urn:microsoft.com/office/officeart/2005/8/layout/hList1"/>
    <dgm:cxn modelId="{92E1E18E-C397-4FEA-A69E-DB27FCD2B8C8}" type="presOf" srcId="{093783D4-3DC9-4CD5-9E45-32C39C02309E}" destId="{DCC0850F-CB00-45AA-83EA-549EBE32D38B}" srcOrd="0" destOrd="1" presId="urn:microsoft.com/office/officeart/2005/8/layout/hList1"/>
    <dgm:cxn modelId="{1032FFA8-9426-4921-ADA9-4224270ECCE2}" type="presOf" srcId="{DA627E48-C331-4448-AF46-8128423A24EE}" destId="{1DB27703-422F-431E-A122-2B4989BC183B}" srcOrd="0" destOrd="2" presId="urn:microsoft.com/office/officeart/2005/8/layout/hList1"/>
    <dgm:cxn modelId="{695DC4B0-81AD-4AA0-80A0-097E2C550716}" srcId="{95977DCE-E5B8-4F8B-9AF4-E5D9C06F6B93}" destId="{CDC6C20F-DBA1-4D5B-B8FE-433F2FC44E94}" srcOrd="1" destOrd="0" parTransId="{0D70AE19-026D-4AB7-8349-ED26261ECCFB}" sibTransId="{16E62BC0-F488-4393-9643-15D27C3EC9F3}"/>
    <dgm:cxn modelId="{3DFDB2CC-71D9-4E27-ACA3-606FD6F84FA2}" srcId="{DD5F39AF-1ECA-4A26-B80F-E30F5D435DED}" destId="{B0B1168F-9505-47BD-AA10-EBB0153696EC}" srcOrd="2" destOrd="0" parTransId="{6A1BF68D-0E4F-41E7-89C1-31846C3887F5}" sibTransId="{16E9CCEE-3C96-463A-A603-5DC30CAB6957}"/>
    <dgm:cxn modelId="{89C982E9-E3AE-42B0-83E0-EFE33347F9AF}" type="presOf" srcId="{F4ED2E62-7F20-4A88-9563-0A1E736EEA96}" destId="{1DB27703-422F-431E-A122-2B4989BC183B}" srcOrd="0" destOrd="3" presId="urn:microsoft.com/office/officeart/2005/8/layout/hList1"/>
    <dgm:cxn modelId="{1D9138F3-B795-4C47-B285-FA8C53F647E9}" type="presOf" srcId="{CDC6C20F-DBA1-4D5B-B8FE-433F2FC44E94}" destId="{1DB27703-422F-431E-A122-2B4989BC183B}" srcOrd="0" destOrd="1" presId="urn:microsoft.com/office/officeart/2005/8/layout/hList1"/>
    <dgm:cxn modelId="{159D6824-4FC2-4228-A9EF-0987D1F89BB9}" type="presParOf" srcId="{868BDA3B-D076-4190-B6ED-8328129685C6}" destId="{A95043F9-0BA6-414D-B308-9BFF94BFB593}" srcOrd="0" destOrd="0" presId="urn:microsoft.com/office/officeart/2005/8/layout/hList1"/>
    <dgm:cxn modelId="{706D7680-5FDA-4018-A6AD-64B3DF7DCFD3}" type="presParOf" srcId="{A95043F9-0BA6-414D-B308-9BFF94BFB593}" destId="{951C482B-9241-4E3B-8CAC-1D61C89EE112}" srcOrd="0" destOrd="0" presId="urn:microsoft.com/office/officeart/2005/8/layout/hList1"/>
    <dgm:cxn modelId="{450664BA-7413-4F0F-BE2B-F443F5BB801D}" type="presParOf" srcId="{A95043F9-0BA6-414D-B308-9BFF94BFB593}" destId="{DCC0850F-CB00-45AA-83EA-549EBE32D38B}" srcOrd="1" destOrd="0" presId="urn:microsoft.com/office/officeart/2005/8/layout/hList1"/>
    <dgm:cxn modelId="{1842B84C-7C2D-4713-87BE-A702E8848826}" type="presParOf" srcId="{868BDA3B-D076-4190-B6ED-8328129685C6}" destId="{23B272E7-D60D-4078-BA3C-2AAB0CDA0633}" srcOrd="1" destOrd="0" presId="urn:microsoft.com/office/officeart/2005/8/layout/hList1"/>
    <dgm:cxn modelId="{31190916-E952-4E85-A6A7-61CA9F17D0B2}" type="presParOf" srcId="{868BDA3B-D076-4190-B6ED-8328129685C6}" destId="{9E95BE31-559F-4DFA-A39D-1ACB10EEB214}" srcOrd="2" destOrd="0" presId="urn:microsoft.com/office/officeart/2005/8/layout/hList1"/>
    <dgm:cxn modelId="{40D3199D-36B8-4DD4-839F-0D85BE83EE00}" type="presParOf" srcId="{9E95BE31-559F-4DFA-A39D-1ACB10EEB214}" destId="{B0DB1CB4-F96C-4185-AE58-5B7BFF6E8D06}" srcOrd="0" destOrd="0" presId="urn:microsoft.com/office/officeart/2005/8/layout/hList1"/>
    <dgm:cxn modelId="{27C924C1-DB8A-40F9-A8B3-D2C2398520C6}" type="presParOf" srcId="{9E95BE31-559F-4DFA-A39D-1ACB10EEB214}" destId="{1DB27703-422F-431E-A122-2B4989BC183B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82EBF53-F8F2-4634-823C-65C9788FC62B}">
      <dsp:nvSpPr>
        <dsp:cNvPr id="0" name=""/>
        <dsp:cNvSpPr/>
      </dsp:nvSpPr>
      <dsp:spPr>
        <a:xfrm>
          <a:off x="788669" y="0"/>
          <a:ext cx="8938260" cy="5611283"/>
        </a:xfrm>
        <a:prstGeom prst="rightArrow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A2B9C79C-6759-46ED-AE61-6044149E067F}">
      <dsp:nvSpPr>
        <dsp:cNvPr id="0" name=""/>
        <dsp:cNvSpPr/>
      </dsp:nvSpPr>
      <dsp:spPr>
        <a:xfrm>
          <a:off x="0" y="1683384"/>
          <a:ext cx="2014997" cy="224451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u="sng" kern="1200" dirty="0"/>
            <a:t>Population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u="none" kern="1200" dirty="0"/>
            <a:t>Stable couples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u="none" kern="1200" dirty="0"/>
            <a:t>Multiple partners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u="none" kern="1200" dirty="0"/>
            <a:t>FSW and clients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u="none" kern="1200" dirty="0"/>
            <a:t>MSM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u="none" kern="1200" dirty="0"/>
            <a:t>PWID</a:t>
          </a:r>
        </a:p>
      </dsp:txBody>
      <dsp:txXfrm>
        <a:off x="98364" y="1781748"/>
        <a:ext cx="1818269" cy="2047785"/>
      </dsp:txXfrm>
    </dsp:sp>
    <dsp:sp modelId="{467E8B9E-40D8-4670-B1B1-43BB10F292CF}">
      <dsp:nvSpPr>
        <dsp:cNvPr id="0" name=""/>
        <dsp:cNvSpPr/>
      </dsp:nvSpPr>
      <dsp:spPr>
        <a:xfrm>
          <a:off x="2127477" y="1683384"/>
          <a:ext cx="2014997" cy="224451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u="sng" kern="1200" dirty="0"/>
            <a:t>Behaviors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# of partners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Acts per partner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Condom use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Age at 1</a:t>
          </a:r>
          <a:r>
            <a:rPr lang="en-US" sz="1400" kern="1200" baseline="30000" dirty="0"/>
            <a:t>st</a:t>
          </a:r>
          <a:r>
            <a:rPr lang="en-US" sz="1400" kern="1200" dirty="0"/>
            <a:t> sex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Needle sharing</a:t>
          </a:r>
        </a:p>
      </dsp:txBody>
      <dsp:txXfrm>
        <a:off x="2225841" y="1781748"/>
        <a:ext cx="1818269" cy="2047785"/>
      </dsp:txXfrm>
    </dsp:sp>
    <dsp:sp modelId="{3A36F38A-C159-4295-908D-E504B7C02157}">
      <dsp:nvSpPr>
        <dsp:cNvPr id="0" name=""/>
        <dsp:cNvSpPr/>
      </dsp:nvSpPr>
      <dsp:spPr>
        <a:xfrm>
          <a:off x="4250301" y="1683384"/>
          <a:ext cx="2014997" cy="224451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u="sng" kern="1200" dirty="0"/>
            <a:t>Epi Factors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Stage of infection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Infectiousness by stage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Effects of other STIs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Viral suppression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US" sz="1400" kern="1200" dirty="0"/>
        </a:p>
      </dsp:txBody>
      <dsp:txXfrm>
        <a:off x="4348665" y="1781748"/>
        <a:ext cx="1818269" cy="2047785"/>
      </dsp:txXfrm>
    </dsp:sp>
    <dsp:sp modelId="{5C718F04-3662-4C94-AF4E-1BC0FDA392CB}">
      <dsp:nvSpPr>
        <dsp:cNvPr id="0" name=""/>
        <dsp:cNvSpPr/>
      </dsp:nvSpPr>
      <dsp:spPr>
        <a:xfrm>
          <a:off x="6373124" y="1683384"/>
          <a:ext cx="2014997" cy="224451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u="sng" kern="1200" dirty="0"/>
            <a:t>Probability of Transmission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u="none" kern="1200" dirty="0"/>
            <a:t>Male -&gt; Female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u="none" kern="1200" dirty="0"/>
            <a:t>Female -&gt; Male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u="none" kern="1200" dirty="0"/>
            <a:t>MSM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u="none" kern="1200" dirty="0"/>
            <a:t>Needle sharing</a:t>
          </a:r>
        </a:p>
      </dsp:txBody>
      <dsp:txXfrm>
        <a:off x="6471488" y="1781748"/>
        <a:ext cx="1818269" cy="2047785"/>
      </dsp:txXfrm>
    </dsp:sp>
    <dsp:sp modelId="{F32A2A09-F806-4EB5-BB40-01B419EF6920}">
      <dsp:nvSpPr>
        <dsp:cNvPr id="0" name=""/>
        <dsp:cNvSpPr/>
      </dsp:nvSpPr>
      <dsp:spPr>
        <a:xfrm>
          <a:off x="8495948" y="1683384"/>
          <a:ext cx="2014997" cy="224451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u="sng" kern="1200" dirty="0"/>
            <a:t>New HIV Infections</a:t>
          </a:r>
        </a:p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800" u="none" kern="1200" dirty="0"/>
            <a:t>By age, sex and population group</a:t>
          </a:r>
        </a:p>
      </dsp:txBody>
      <dsp:txXfrm>
        <a:off x="8594312" y="1781748"/>
        <a:ext cx="1818269" cy="2047785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51C482B-9241-4E3B-8CAC-1D61C89EE112}">
      <dsp:nvSpPr>
        <dsp:cNvPr id="0" name=""/>
        <dsp:cNvSpPr/>
      </dsp:nvSpPr>
      <dsp:spPr>
        <a:xfrm>
          <a:off x="6751" y="0"/>
          <a:ext cx="2963208" cy="33967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Behavior Change</a:t>
          </a:r>
          <a:endParaRPr lang="en-US" sz="1000" kern="1200" dirty="0"/>
        </a:p>
      </dsp:txBody>
      <dsp:txXfrm>
        <a:off x="6751" y="0"/>
        <a:ext cx="2963208" cy="339675"/>
      </dsp:txXfrm>
    </dsp:sp>
    <dsp:sp modelId="{DCC0850F-CB00-45AA-83EA-549EBE32D38B}">
      <dsp:nvSpPr>
        <dsp:cNvPr id="0" name=""/>
        <dsp:cNvSpPr/>
      </dsp:nvSpPr>
      <dsp:spPr>
        <a:xfrm>
          <a:off x="6751" y="339675"/>
          <a:ext cx="2963208" cy="1108124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Outreach, Educatio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Communicatio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Community mobilizatio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Cash transfers</a:t>
          </a:r>
        </a:p>
      </dsp:txBody>
      <dsp:txXfrm>
        <a:off x="6751" y="339675"/>
        <a:ext cx="2963208" cy="1108124"/>
      </dsp:txXfrm>
    </dsp:sp>
    <dsp:sp modelId="{B0DB1CB4-F96C-4185-AE58-5B7BFF6E8D06}">
      <dsp:nvSpPr>
        <dsp:cNvPr id="0" name=""/>
        <dsp:cNvSpPr/>
      </dsp:nvSpPr>
      <dsp:spPr>
        <a:xfrm>
          <a:off x="3407606" y="-63562"/>
          <a:ext cx="2966104" cy="33967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/>
            <a:t>Biomedical</a:t>
          </a:r>
          <a:endParaRPr lang="en-US" sz="1000" kern="1200" dirty="0"/>
        </a:p>
      </dsp:txBody>
      <dsp:txXfrm>
        <a:off x="3407606" y="-63562"/>
        <a:ext cx="2966104" cy="339675"/>
      </dsp:txXfrm>
    </dsp:sp>
    <dsp:sp modelId="{1DB27703-422F-431E-A122-2B4989BC183B}">
      <dsp:nvSpPr>
        <dsp:cNvPr id="0" name=""/>
        <dsp:cNvSpPr/>
      </dsp:nvSpPr>
      <dsp:spPr>
        <a:xfrm>
          <a:off x="3391559" y="199873"/>
          <a:ext cx="2982151" cy="123524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Condoms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VMMC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ART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/>
            <a:t>PMTCT</a:t>
          </a:r>
        </a:p>
      </dsp:txBody>
      <dsp:txXfrm>
        <a:off x="3391559" y="199873"/>
        <a:ext cx="2982151" cy="123524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9">
  <dgm:title val=""/>
  <dgm:desc val=""/>
  <dgm:catLst>
    <dgm:cat type="process" pri="5000"/>
    <dgm:cat type="convert" pri="13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tProcess">
    <dgm:varLst>
      <dgm:dir/>
      <dgm:resizeHandles val="exact"/>
    </dgm:varLst>
    <dgm:alg type="composite">
      <dgm:param type="horzAlign" val="ctr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arrow" refType="w" fact="0.85"/>
      <dgm:constr type="h" for="ch" forName="arrow" refType="h"/>
      <dgm:constr type="ctrX" for="ch" forName="arrow" refType="w" fact="0.5"/>
      <dgm:constr type="ctrY" for="ch" forName="arrow" refType="h" fact="0.5"/>
      <dgm:constr type="w" for="ch" forName="linearProcess" refType="w"/>
      <dgm:constr type="h" for="ch" forName="linearProcess" refType="h" fact="0.4"/>
      <dgm:constr type="ctrX" for="ch" forName="linearProcess" refType="w" fact="0.5"/>
      <dgm:constr type="ctrY" for="ch" forName="linearProcess" refType="h" fact="0.5"/>
    </dgm:constrLst>
    <dgm:ruleLst/>
    <dgm:layoutNode name="arrow" styleLbl="bgShp">
      <dgm:alg type="sp"/>
      <dgm:choose name="Name0">
        <dgm:if name="Name1" func="var" arg="dir" op="equ" val="norm">
          <dgm:shape xmlns:r="http://schemas.openxmlformats.org/officeDocument/2006/relationships" type="rightArrow" r:blip="">
            <dgm:adjLst/>
          </dgm:shape>
        </dgm:if>
        <dgm:else name="Name2">
          <dgm:shape xmlns:r="http://schemas.openxmlformats.org/officeDocument/2006/relationships" type="leftArrow" r:blip="">
            <dgm:adjLst/>
          </dgm:shape>
        </dgm:else>
      </dgm:choose>
      <dgm:presOf/>
      <dgm:constrLst/>
      <dgm:ruleLst/>
    </dgm:layoutNode>
    <dgm:layoutNode name="linearProcess">
      <dgm:choose name="Name3">
        <dgm:if name="Name4" func="var" arg="dir" op="equ" val="norm">
          <dgm:alg type="lin"/>
        </dgm:if>
        <dgm:else name="Name5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userA" for="ch" ptType="node" refType="w"/>
        <dgm:constr type="h" for="ch" ptType="node" refType="h"/>
        <dgm:constr type="w" for="ch" ptType="node" op="equ"/>
        <dgm:constr type="w" for="ch" forName="sibTrans" refType="w" fact="0.05"/>
        <dgm:constr type="primFontSz" for="ch" ptType="node" op="equ" val="65"/>
      </dgm:constrLst>
      <dgm:ruleLst/>
      <dgm:forEach name="Name6" axis="ch" ptType="node">
        <dgm:layoutNode name="textNode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desOrSelf" ptType="node"/>
          <dgm:constrLst>
            <dgm:constr type="userA"/>
            <dgm:constr type="w" refType="userA" fact="0.3"/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w" val="NaN" fact="1" max="NaN"/>
            <dgm:rule type="primFontSz" val="5" fact="NaN" max="NaN"/>
          </dgm:ruleLst>
        </dgm:layoutNode>
        <dgm:forEach name="Name7" axis="followSib" ptType="sibTrans" cnt="1">
          <dgm:layoutNode name="sibTrans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6D755B-1EF1-43BE-BEC3-DA6FF545D058}" type="datetimeFigureOut">
              <a:rPr lang="en-US" smtClean="0"/>
              <a:t>7/18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DAE8BB-5053-4DBF-AE20-D92F3E4A0EC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03138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93013A-B093-4A1D-ADF9-EF295D9618A6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00324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9DF98E-4D2A-444D-BA57-8B73A69D76DA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49223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E68A3C5-3B52-4D2F-8CF0-C646A67C1DE1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42166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87A3F6-A95B-44A1-8CFB-39131F3BD77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1B76F77-26CA-4990-877D-67D3806198F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6B5AC77-0847-4C3B-8C41-2279203B118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5C6E98-68B5-4180-9B70-739E72FFB37C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E4E85C-079C-4B66-AC41-FA6D510056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5C56AF-0C39-4D4A-98DF-2CDD0AB22C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37500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75E8A2-EB14-462F-89CB-5D1AC31BF2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B23D03E-23D5-48FA-B3BF-CF4EADC11D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67D898-F4AA-47B6-BF60-737AE08CD1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54FACD-61A3-4C99-A873-7749B4A65AB2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0AA4C0-73D6-44F5-ADA6-72ED0E1B98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091BE4-0CE0-484F-995F-ECFF26702B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104762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1CEBA1-B746-4711-A298-93ABB83F87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BF06B5-6012-468A-B6A5-7CA0B73FB1B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019285C-AC9A-4330-8939-D7FC533F13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0F4DA5-7D71-4B3A-899C-C34BD2483A79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12766FB-1F83-4213-A603-C5DF49D26F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DD0E789-6D49-4B78-B216-9B7A5E7AD0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872842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6F5E04-F144-4A42-8919-9C8D9976AD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8287C6-9A6F-4EA9-BEA3-B8D6CD2E355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1AAA9BC-2165-406D-8CD5-7C55285DED5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36E7941-BD5D-4F23-A037-51AC347513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38A50E-5A98-48FF-8382-B57187174B60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50A12D-917D-4140-A88B-A633521778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E9F5CB-CF57-4A46-9C15-495AC7BB64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132701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417396-68D0-468C-B979-4442643ADE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739CDCA-F629-4343-8310-89C5F382AFC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706F309-F0B9-4261-A5EA-04E970C2B86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F4EC4B0-D352-4769-8E8F-D1FD2D6CA36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93240A8-3B26-4500-9E50-929C4A7CA2C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8C3B01B-3CF0-47A5-8103-8C760E9DA4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7F1550-7503-4110-968D-1B17F525768F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D4DE248-1C21-4067-809B-098BABED3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D367C32-5007-4591-BBE2-4E936CA24F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403283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EB994D-01FA-4BCC-960A-69BD3E85B30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386E950-57B5-4E52-85A0-DDB6694107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1C92BA7-420D-492E-8D5A-9C05CAA9D591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06BE0B3-2C78-4C09-90BC-F97F87A17B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8A238B-2BCF-4546-A405-96C045E761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909544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B65A381-55DA-44BD-988A-6461A4D39EC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0341A6-5809-4D99-A1E2-9DC9F413CDEB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0C7184E-61ED-46AF-ADF0-82753C004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C70982-7DEE-415A-8461-D12D0BE8C8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34446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3B6D6F-18E7-4F1E-BCAA-368C0204BA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1C1AA39-F35A-4188-865F-5491092978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FB3711E-D384-49F0-B0F6-84A4FE8834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926E208F-5A79-4C15-BCC8-4D35E713B3F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48D7F0-93B5-49D3-9416-C979E0537808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B16CD4-F29F-497D-96C2-8B12F7FECF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1D9B05A-AB65-4B93-8480-FF1C5E362A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960772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BDA0DF-6403-4046-B7E5-763AB4600B7C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833233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4C56D8-8E48-4146-AE39-43E3A6EDD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96A8485-8464-4B6A-AFCC-00EDD6DEEF1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3F8AADC-F2A8-4F4A-8DAA-581A1FBA92A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E1A406A-D8ED-44FA-99DD-EA5CAA11F8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DF74B3-75BC-4800-A73A-F6B7191AD0DC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1564036-43A2-4B33-A385-559035FD530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234BC3-58C8-42E3-81D0-983E436353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25916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B60BB7-590D-4A42-A544-363CDCCC7E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2F6ED7C-AFE3-4D7A-8A57-9407A7FA729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49D8F7-5572-4582-97DD-77131211CA6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FC0573-07E5-491D-ACBC-0D2DD7CD4C49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CC8DE08-76BF-47D4-A24A-82635C38C5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237CED-91E1-40FB-8688-F8B003FCA2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89796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CACFC8FE-AB52-4CD6-AAB2-86655729040D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C305B9F-FBB0-48D8-9228-1F59AECBA95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F52CD68-B2D0-4D88-AD7C-B78CE51A0A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6D0CFDA-0151-4EA1-980C-637E35E96114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0E6AF2-A397-4A06-A6B2-F4343F4211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B012AB8-56EA-4524-BD5B-70A6015462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52106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424D01-A0C3-4D6B-B7F1-1BEB5BEDB580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8885253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85B2C4-832D-45B6-9BAA-FF73605BC61F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01461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F96EA6-C791-4E21-8912-72B034076C56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41945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E5676E-4F64-4E53-9B4D-D91EC873DEE7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59496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893EBE-5800-4EB8-A1C3-11F793B862B8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169443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4459E1-E749-482B-AEC3-36465D03C7E2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31017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3F6DBA-BE96-411E-9DE2-68E309A7C9FE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6371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43F96-7D2B-4413-9DB1-87F80A40C45A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dirty="0"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1562" y="6292029"/>
            <a:ext cx="1077230" cy="429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407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A536577-3FE3-4181-90F3-BDBE094AA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C5F5DF8-B033-406A-8FD9-BD1CD84FE7C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4CC6292-C2AE-44CE-B79D-BF10CDEDBE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CF43F96-7D2B-4413-9DB1-87F80A40C45A}" type="datetime1">
              <a:rPr lang="en-US" smtClean="0"/>
              <a:t>7/18/201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6FEF29-B268-4AFA-9931-263763BF6C8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EE6128E-15EE-40BD-9843-27AA414F79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8F63A3B-78C7-47BE-AE5E-E10140E0464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02670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  <p:sldLayoutId id="2147483725" r:id="rId8"/>
    <p:sldLayoutId id="2147483726" r:id="rId9"/>
    <p:sldLayoutId id="2147483727" r:id="rId10"/>
    <p:sldLayoutId id="2147483728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_rels/slide6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slideLayout" Target="../slideLayouts/slideLayout1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80" Type="http://schemas.openxmlformats.org/officeDocument/2006/relationships/tags" Target="../tags/tag180.xml"/><Relationship Id="rId210" Type="http://schemas.openxmlformats.org/officeDocument/2006/relationships/tags" Target="../tags/tag21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1CA972-B3DB-47EA-AC66-FA9BB6983E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2352045"/>
          </a:xfrm>
        </p:spPr>
        <p:txBody>
          <a:bodyPr/>
          <a:lstStyle/>
          <a:p>
            <a:r>
              <a:rPr lang="en-US" dirty="0"/>
              <a:t>Global Optimization of the Response to HIV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0767AEE-E6B7-404E-95FD-792E76A201D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95269" y="3747003"/>
            <a:ext cx="9001462" cy="1988634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tx1"/>
                </a:solidFill>
              </a:rPr>
              <a:t>John Stover, Yu Teng: Avenir Health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en-US" dirty="0">
                <a:solidFill>
                  <a:schemeClr val="tx1"/>
                </a:solidFill>
              </a:rPr>
              <a:t>22</a:t>
            </a:r>
            <a:r>
              <a:rPr lang="en-US" baseline="30000" dirty="0">
                <a:solidFill>
                  <a:schemeClr val="tx1"/>
                </a:solidFill>
              </a:rPr>
              <a:t>nd</a:t>
            </a:r>
            <a:r>
              <a:rPr lang="en-US" dirty="0">
                <a:solidFill>
                  <a:schemeClr val="tx1"/>
                </a:solidFill>
              </a:rPr>
              <a:t> International AIDS Conference</a:t>
            </a:r>
          </a:p>
          <a:p>
            <a:r>
              <a:rPr lang="en-US" dirty="0">
                <a:solidFill>
                  <a:schemeClr val="tx1"/>
                </a:solidFill>
              </a:rPr>
              <a:t>25 July 2018, Amsterda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7604A3B-5B36-4CFE-A5B2-E3401BF1F8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61412" y="5958160"/>
            <a:ext cx="1669176" cy="665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6292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FC80C4-F6C7-42AD-8D22-496585DDF2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842" y="286604"/>
            <a:ext cx="10612074" cy="468406"/>
          </a:xfrm>
        </p:spPr>
        <p:txBody>
          <a:bodyPr>
            <a:noAutofit/>
          </a:bodyPr>
          <a:lstStyle/>
          <a:p>
            <a:r>
              <a:rPr lang="en-US" sz="3600" dirty="0"/>
              <a:t>Cost per Infection Averted by Intervention and Reg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1F496B-1032-4B8B-8C07-341D824D8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10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B5BD6C2-5E71-4D5A-B438-9130DFC35D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8180" y="755010"/>
            <a:ext cx="10754236" cy="5318706"/>
          </a:xfrm>
          <a:prstGeom prst="rect">
            <a:avLst/>
          </a:prstGeom>
        </p:spPr>
      </p:pic>
      <p:sp>
        <p:nvSpPr>
          <p:cNvPr id="5" name="Oval 4">
            <a:extLst>
              <a:ext uri="{FF2B5EF4-FFF2-40B4-BE49-F238E27FC236}">
                <a16:creationId xmlns:a16="http://schemas.microsoft.com/office/drawing/2014/main" id="{FBEBCB08-5A8F-4353-AD2F-6C33CBC785F3}"/>
              </a:ext>
            </a:extLst>
          </p:cNvPr>
          <p:cNvSpPr/>
          <p:nvPr/>
        </p:nvSpPr>
        <p:spPr>
          <a:xfrm>
            <a:off x="3771900" y="5238750"/>
            <a:ext cx="45719" cy="4571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Star: 5 Points 5">
            <a:extLst>
              <a:ext uri="{FF2B5EF4-FFF2-40B4-BE49-F238E27FC236}">
                <a16:creationId xmlns:a16="http://schemas.microsoft.com/office/drawing/2014/main" id="{4A43AD08-BE8F-4C99-85D1-A41F464973CC}"/>
              </a:ext>
            </a:extLst>
          </p:cNvPr>
          <p:cNvSpPr/>
          <p:nvPr/>
        </p:nvSpPr>
        <p:spPr>
          <a:xfrm>
            <a:off x="4000500" y="5819775"/>
            <a:ext cx="381000" cy="371475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Star: 5 Points 6">
            <a:extLst>
              <a:ext uri="{FF2B5EF4-FFF2-40B4-BE49-F238E27FC236}">
                <a16:creationId xmlns:a16="http://schemas.microsoft.com/office/drawing/2014/main" id="{3F786E9A-85BB-4161-9153-EBAE19C1C8AC}"/>
              </a:ext>
            </a:extLst>
          </p:cNvPr>
          <p:cNvSpPr/>
          <p:nvPr/>
        </p:nvSpPr>
        <p:spPr>
          <a:xfrm>
            <a:off x="8248650" y="5802252"/>
            <a:ext cx="381000" cy="371475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Star: 5 Points 7">
            <a:extLst>
              <a:ext uri="{FF2B5EF4-FFF2-40B4-BE49-F238E27FC236}">
                <a16:creationId xmlns:a16="http://schemas.microsoft.com/office/drawing/2014/main" id="{713A3E44-E3B2-447C-AB73-9DF643FBBA32}"/>
              </a:ext>
            </a:extLst>
          </p:cNvPr>
          <p:cNvSpPr/>
          <p:nvPr/>
        </p:nvSpPr>
        <p:spPr>
          <a:xfrm>
            <a:off x="9096375" y="5802253"/>
            <a:ext cx="381000" cy="371475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Star: 5 Points 8">
            <a:extLst>
              <a:ext uri="{FF2B5EF4-FFF2-40B4-BE49-F238E27FC236}">
                <a16:creationId xmlns:a16="http://schemas.microsoft.com/office/drawing/2014/main" id="{8F47EB76-CAE3-4F7E-94CC-096C9F8D0BA7}"/>
              </a:ext>
            </a:extLst>
          </p:cNvPr>
          <p:cNvSpPr/>
          <p:nvPr/>
        </p:nvSpPr>
        <p:spPr>
          <a:xfrm>
            <a:off x="2333625" y="5819775"/>
            <a:ext cx="381000" cy="371475"/>
          </a:xfrm>
          <a:prstGeom prst="star5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tar: 5 Points 9">
            <a:extLst>
              <a:ext uri="{FF2B5EF4-FFF2-40B4-BE49-F238E27FC236}">
                <a16:creationId xmlns:a16="http://schemas.microsoft.com/office/drawing/2014/main" id="{A218679E-25CF-42CF-A074-2662E483A29E}"/>
              </a:ext>
            </a:extLst>
          </p:cNvPr>
          <p:cNvSpPr/>
          <p:nvPr/>
        </p:nvSpPr>
        <p:spPr>
          <a:xfrm>
            <a:off x="11151416" y="2915917"/>
            <a:ext cx="381000" cy="371475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Star: 5 Points 10">
            <a:extLst>
              <a:ext uri="{FF2B5EF4-FFF2-40B4-BE49-F238E27FC236}">
                <a16:creationId xmlns:a16="http://schemas.microsoft.com/office/drawing/2014/main" id="{D6FD9A49-B575-4C96-BEAE-80D1F4E62C70}"/>
              </a:ext>
            </a:extLst>
          </p:cNvPr>
          <p:cNvSpPr/>
          <p:nvPr/>
        </p:nvSpPr>
        <p:spPr>
          <a:xfrm>
            <a:off x="5725960" y="5819775"/>
            <a:ext cx="381000" cy="371475"/>
          </a:xfrm>
          <a:prstGeom prst="star5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11532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4089552-CC4F-4744-BC35-BAB2053A44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33399" y="286603"/>
            <a:ext cx="11153775" cy="702303"/>
          </a:xfrm>
        </p:spPr>
        <p:txBody>
          <a:bodyPr>
            <a:noAutofit/>
          </a:bodyPr>
          <a:lstStyle/>
          <a:p>
            <a:r>
              <a:rPr lang="en-US" sz="4000" dirty="0"/>
              <a:t>Cost of Most Cost-Effective Prevention Interventions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9BB19E03-0026-4F17-BB44-626AAF32D8C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25036660"/>
              </p:ext>
            </p:extLst>
          </p:nvPr>
        </p:nvGraphicFramePr>
        <p:xfrm>
          <a:off x="704850" y="1160463"/>
          <a:ext cx="10450513" cy="4708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4BF0D89-F7B1-41C2-9200-AD3C8615E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434825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4089552-CC4F-4744-BC35-BAB2053A44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25" y="286709"/>
            <a:ext cx="11306175" cy="702303"/>
          </a:xfrm>
        </p:spPr>
        <p:txBody>
          <a:bodyPr>
            <a:noAutofit/>
          </a:bodyPr>
          <a:lstStyle/>
          <a:p>
            <a:r>
              <a:rPr lang="en-US" sz="3600" dirty="0"/>
              <a:t>Allocation of Most Cost-Effective Prevention Interventions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9BB19E03-0026-4F17-BB44-626AAF32D8C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893061296"/>
              </p:ext>
            </p:extLst>
          </p:nvPr>
        </p:nvGraphicFramePr>
        <p:xfrm>
          <a:off x="704850" y="1160463"/>
          <a:ext cx="10450513" cy="4708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4BF0D89-F7B1-41C2-9200-AD3C8615E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703050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4089552-CC4F-4744-BC35-BAB2053A44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4825" y="286603"/>
            <a:ext cx="11306175" cy="702303"/>
          </a:xfrm>
        </p:spPr>
        <p:txBody>
          <a:bodyPr>
            <a:noAutofit/>
          </a:bodyPr>
          <a:lstStyle/>
          <a:p>
            <a:r>
              <a:rPr lang="en-US" sz="3600" dirty="0"/>
              <a:t>Allocation of Most Cost-Effective Prevention Interventions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9BB19E03-0026-4F17-BB44-626AAF32D8C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704850" y="1160463"/>
          <a:ext cx="10450513" cy="4708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4BF0D89-F7B1-41C2-9200-AD3C8615E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13</a:t>
            </a:fld>
            <a:endParaRPr lang="en-US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E0C2549-62DC-440E-86FB-017715BC6244}"/>
              </a:ext>
            </a:extLst>
          </p:cNvPr>
          <p:cNvSpPr txBox="1"/>
          <p:nvPr/>
        </p:nvSpPr>
        <p:spPr>
          <a:xfrm>
            <a:off x="1677761" y="1531605"/>
            <a:ext cx="858611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VMMC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38DA672-982C-4F51-AB8D-4B79F2FC9E12}"/>
              </a:ext>
            </a:extLst>
          </p:cNvPr>
          <p:cNvSpPr txBox="1"/>
          <p:nvPr/>
        </p:nvSpPr>
        <p:spPr>
          <a:xfrm>
            <a:off x="1769948" y="3111020"/>
            <a:ext cx="674235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OS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16D0B18-5038-4E6F-A26C-E7F4290CB5AE}"/>
              </a:ext>
            </a:extLst>
          </p:cNvPr>
          <p:cNvSpPr txBox="1"/>
          <p:nvPr/>
        </p:nvSpPr>
        <p:spPr>
          <a:xfrm>
            <a:off x="1737631" y="3633330"/>
            <a:ext cx="674235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FSW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C4AFA9B-868A-46EA-A727-92E9D4A41A9A}"/>
              </a:ext>
            </a:extLst>
          </p:cNvPr>
          <p:cNvSpPr txBox="1"/>
          <p:nvPr/>
        </p:nvSpPr>
        <p:spPr>
          <a:xfrm>
            <a:off x="1567543" y="4459862"/>
            <a:ext cx="1121229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Condoms</a:t>
            </a:r>
          </a:p>
        </p:txBody>
      </p:sp>
    </p:spTree>
    <p:extLst>
      <p:ext uri="{BB962C8B-B14F-4D97-AF65-F5344CB8AC3E}">
        <p14:creationId xmlns:p14="http://schemas.microsoft.com/office/powerpoint/2010/main" val="27051270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4089552-CC4F-4744-BC35-BAB2053A44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42925" y="286709"/>
            <a:ext cx="11306175" cy="702303"/>
          </a:xfrm>
        </p:spPr>
        <p:txBody>
          <a:bodyPr>
            <a:noAutofit/>
          </a:bodyPr>
          <a:lstStyle/>
          <a:p>
            <a:r>
              <a:rPr lang="en-US" sz="3600" dirty="0"/>
              <a:t>Allocation of Most Cost-Effective Prevention Interventions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9BB19E03-0026-4F17-BB44-626AAF32D8C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67802459"/>
              </p:ext>
            </p:extLst>
          </p:nvPr>
        </p:nvGraphicFramePr>
        <p:xfrm>
          <a:off x="704850" y="1160463"/>
          <a:ext cx="11144250" cy="4708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4BF0D89-F7B1-41C2-9200-AD3C8615E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576704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4089552-CC4F-4744-BC35-BAB2053A44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8150" y="286603"/>
            <a:ext cx="11353800" cy="702303"/>
          </a:xfrm>
        </p:spPr>
        <p:txBody>
          <a:bodyPr>
            <a:noAutofit/>
          </a:bodyPr>
          <a:lstStyle/>
          <a:p>
            <a:r>
              <a:rPr lang="en-US" sz="3200" dirty="0"/>
              <a:t>Allocation of Most Cost-Effective Prevention Interventions by Region</a:t>
            </a:r>
            <a:endParaRPr lang="en-US" sz="3600" dirty="0"/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9BB19E03-0026-4F17-BB44-626AAF32D8C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28147302"/>
              </p:ext>
            </p:extLst>
          </p:nvPr>
        </p:nvGraphicFramePr>
        <p:xfrm>
          <a:off x="704850" y="1160463"/>
          <a:ext cx="10450513" cy="47085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4BF0D89-F7B1-41C2-9200-AD3C8615E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4321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5BDA59-7A1D-473F-AB14-B53CD182D8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286604"/>
            <a:ext cx="10058400" cy="770672"/>
          </a:xfrm>
        </p:spPr>
        <p:txBody>
          <a:bodyPr/>
          <a:lstStyle/>
          <a:p>
            <a:r>
              <a:rPr lang="en-US" dirty="0"/>
              <a:t>Key Results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9B784AC5-7588-459C-9870-92C18738CF5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097280" y="1247775"/>
            <a:ext cx="10058400" cy="4981575"/>
          </a:xfrm>
        </p:spPr>
        <p:txBody>
          <a:bodyPr>
            <a:normAutofit lnSpcReduction="10000"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2800" dirty="0"/>
              <a:t> 17% of country/intervention combinations are cost savings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800" dirty="0"/>
          </a:p>
          <a:p>
            <a:pPr>
              <a:buFont typeface="Wingdings" panose="05000000000000000000" pitchFamily="2" charset="2"/>
              <a:buChar char="§"/>
            </a:pPr>
            <a:r>
              <a:rPr lang="en-US" sz="2800" dirty="0"/>
              <a:t>Most cost-effective programs are in East and Southern Africa where incidence is high and costs are relatively low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800" dirty="0"/>
          </a:p>
          <a:p>
            <a:pPr>
              <a:buFont typeface="Wingdings" panose="05000000000000000000" pitchFamily="2" charset="2"/>
              <a:buChar char="§"/>
            </a:pPr>
            <a:r>
              <a:rPr lang="en-US" sz="2800" dirty="0"/>
              <a:t>Most cost-effective interventions (condoms, VMMC, outreach to sex workers) require only 15% of direct intervention resources. </a:t>
            </a:r>
            <a:r>
              <a:rPr lang="en-US" sz="2800" i="1" dirty="0"/>
              <a:t>They are currently implemented/funded at only 70% of need. 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800" dirty="0"/>
          </a:p>
          <a:p>
            <a:pPr>
              <a:buFont typeface="Wingdings" panose="05000000000000000000" pitchFamily="2" charset="2"/>
              <a:buChar char="§"/>
            </a:pPr>
            <a:r>
              <a:rPr lang="en-US" sz="2800" dirty="0"/>
              <a:t>Management/administration/support functions add 10-25% to direct intervention costs. What is the appropriate level of funding?</a:t>
            </a:r>
          </a:p>
          <a:p>
            <a:pPr>
              <a:buFont typeface="Wingdings" panose="05000000000000000000" pitchFamily="2" charset="2"/>
              <a:buChar char="§"/>
            </a:pPr>
            <a:endParaRPr lang="en-US" sz="2800" dirty="0"/>
          </a:p>
          <a:p>
            <a:pPr>
              <a:buFont typeface="Wingdings" panose="05000000000000000000" pitchFamily="2" charset="2"/>
              <a:buChar char="§"/>
            </a:pPr>
            <a:endParaRPr lang="en-US" dirty="0"/>
          </a:p>
          <a:p>
            <a:pPr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95A6B7E-C128-45D4-B699-0BD7E25668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67013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B400B87-8ED3-4775-B5A5-6FD71AE4A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2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EEA9823-A6D3-4667-ADF7-ACFFA2629B8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7567" y="227629"/>
            <a:ext cx="8622891" cy="598373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4782170-2975-47B9-BFF0-9D7D00B186E4}"/>
              </a:ext>
            </a:extLst>
          </p:cNvPr>
          <p:cNvSpPr txBox="1"/>
          <p:nvPr/>
        </p:nvSpPr>
        <p:spPr>
          <a:xfrm>
            <a:off x="226142" y="6459785"/>
            <a:ext cx="1057951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ource: Miles to Go: Closing Gaps, Breaking Barriers, Righting Injustices, Global AIDS Update 2018, UNAIDS</a:t>
            </a:r>
          </a:p>
        </p:txBody>
      </p:sp>
    </p:spTree>
    <p:extLst>
      <p:ext uri="{BB962C8B-B14F-4D97-AF65-F5344CB8AC3E}">
        <p14:creationId xmlns:p14="http://schemas.microsoft.com/office/powerpoint/2010/main" val="16450901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BE5735-146B-4E7C-9D99-C7E30CDA02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286604"/>
            <a:ext cx="10058400" cy="968440"/>
          </a:xfrm>
        </p:spPr>
        <p:txBody>
          <a:bodyPr/>
          <a:lstStyle/>
          <a:p>
            <a:r>
              <a:rPr lang="en-US" dirty="0"/>
              <a:t>Factors Affecting Cost-Effectiveness 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3917F74-A0B9-498E-B130-4B59F65C7BA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Technical (implementation) efficiency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000" dirty="0"/>
              <a:t>Allocation efficiency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US" sz="3800" dirty="0"/>
              <a:t>Location, population, intervention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4200" dirty="0"/>
              <a:t>Management </a:t>
            </a:r>
            <a:r>
              <a:rPr lang="en-US" sz="4200" dirty="0" err="1"/>
              <a:t>efficieny</a:t>
            </a:r>
            <a:endParaRPr lang="en-US" sz="42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E2BF27D-FEEE-47F2-B29A-97DC6B549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4907984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C1C0194F-ACF7-4A38-BACE-2EC911A32EF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6526"/>
            <a:ext cx="10515600" cy="801024"/>
          </a:xfrm>
        </p:spPr>
        <p:txBody>
          <a:bodyPr/>
          <a:lstStyle/>
          <a:p>
            <a:r>
              <a:rPr lang="en-US" dirty="0"/>
              <a:t>Implementation Efficiency: Unit Cos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79E4A0D-D229-4761-998B-463826E17A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4</a:t>
            </a:fld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B91AFF0-BA4A-4658-BC53-6852D5C9D980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243068" y="937550"/>
            <a:ext cx="5653268" cy="513503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B2B8DC0D-3B02-40BE-B288-6FF7F1E6F82F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6295666" y="893100"/>
            <a:ext cx="4885479" cy="517948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238A7F0D-91E5-4C44-AA36-E2B422E64A82}"/>
              </a:ext>
            </a:extLst>
          </p:cNvPr>
          <p:cNvSpPr txBox="1"/>
          <p:nvPr/>
        </p:nvSpPr>
        <p:spPr>
          <a:xfrm>
            <a:off x="117446" y="6459785"/>
            <a:ext cx="1149291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/>
              <a:t>Source: Investment Case unit costs provided by Avenir Health (Goals), East-West Center (AEM), Burnet Institute (Optima), 54 countries</a:t>
            </a:r>
          </a:p>
        </p:txBody>
      </p:sp>
    </p:spTree>
    <p:extLst>
      <p:ext uri="{BB962C8B-B14F-4D97-AF65-F5344CB8AC3E}">
        <p14:creationId xmlns:p14="http://schemas.microsoft.com/office/powerpoint/2010/main" val="42682397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E94382C-324A-4CD0-8E4B-4E19AB40AC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9099" y="286603"/>
            <a:ext cx="11391901" cy="702409"/>
          </a:xfrm>
        </p:spPr>
        <p:txBody>
          <a:bodyPr>
            <a:noAutofit/>
          </a:bodyPr>
          <a:lstStyle/>
          <a:p>
            <a:r>
              <a:rPr lang="en-US" sz="3600" dirty="0"/>
              <a:t>Income Levels Alone do not Explain Differences in Unit Costs</a:t>
            </a:r>
          </a:p>
        </p:txBody>
      </p:sp>
      <p:graphicFrame>
        <p:nvGraphicFramePr>
          <p:cNvPr id="8" name="Content Placeholder 7">
            <a:extLst>
              <a:ext uri="{FF2B5EF4-FFF2-40B4-BE49-F238E27FC236}">
                <a16:creationId xmlns:a16="http://schemas.microsoft.com/office/drawing/2014/main" id="{28DA482D-68BD-45DD-8FC5-7095A62D80F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13218989"/>
              </p:ext>
            </p:extLst>
          </p:nvPr>
        </p:nvGraphicFramePr>
        <p:xfrm>
          <a:off x="1096963" y="1115736"/>
          <a:ext cx="10058400" cy="49578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020EBC4-4C6F-4EE4-A52C-AD704CB289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952382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87A1EF-1A05-41EF-ADD9-34CCB19D1B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6081" y="317823"/>
            <a:ext cx="11040094" cy="644575"/>
          </a:xfrm>
        </p:spPr>
        <p:txBody>
          <a:bodyPr>
            <a:noAutofit/>
          </a:bodyPr>
          <a:lstStyle/>
          <a:p>
            <a:r>
              <a:rPr lang="en-US" sz="4000" dirty="0"/>
              <a:t>Analysis Approach to Allocative Efficiency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6D5FEE7-4772-4A1C-AB37-694139A67E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6</a:t>
            </a:fld>
            <a:endParaRPr lang="en-US" dirty="0"/>
          </a:p>
        </p:txBody>
      </p:sp>
      <p:grpSp>
        <p:nvGrpSpPr>
          <p:cNvPr id="71" name="Group 73">
            <a:extLst>
              <a:ext uri="{FF2B5EF4-FFF2-40B4-BE49-F238E27FC236}">
                <a16:creationId xmlns:a16="http://schemas.microsoft.com/office/drawing/2014/main" id="{1CE648D0-533C-4CDF-952E-4CB9BAD8A797}"/>
              </a:ext>
            </a:extLst>
          </p:cNvPr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11308429" y="5775918"/>
            <a:ext cx="441537" cy="404812"/>
            <a:chOff x="5372" y="3323"/>
            <a:chExt cx="341" cy="253"/>
          </a:xfrm>
        </p:grpSpPr>
        <p:sp>
          <p:nvSpPr>
            <p:cNvPr id="72" name="Freeform 74">
              <a:extLst>
                <a:ext uri="{FF2B5EF4-FFF2-40B4-BE49-F238E27FC236}">
                  <a16:creationId xmlns:a16="http://schemas.microsoft.com/office/drawing/2014/main" id="{FAEBA888-241D-40B7-8127-87A2ED296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31 h 33"/>
                <a:gd name="T2" fmla="*/ 4 w 53"/>
                <a:gd name="T3" fmla="*/ 26 h 33"/>
                <a:gd name="T4" fmla="*/ 8 w 53"/>
                <a:gd name="T5" fmla="*/ 21 h 33"/>
                <a:gd name="T6" fmla="*/ 15 w 53"/>
                <a:gd name="T7" fmla="*/ 16 h 33"/>
                <a:gd name="T8" fmla="*/ 21 w 53"/>
                <a:gd name="T9" fmla="*/ 11 h 33"/>
                <a:gd name="T10" fmla="*/ 29 w 53"/>
                <a:gd name="T11" fmla="*/ 7 h 33"/>
                <a:gd name="T12" fmla="*/ 38 w 53"/>
                <a:gd name="T13" fmla="*/ 3 h 33"/>
                <a:gd name="T14" fmla="*/ 45 w 53"/>
                <a:gd name="T15" fmla="*/ 1 h 33"/>
                <a:gd name="T16" fmla="*/ 53 w 53"/>
                <a:gd name="T17" fmla="*/ 0 h 33"/>
                <a:gd name="T18" fmla="*/ 53 w 53"/>
                <a:gd name="T19" fmla="*/ 18 h 33"/>
                <a:gd name="T20" fmla="*/ 38 w 53"/>
                <a:gd name="T21" fmla="*/ 24 h 33"/>
                <a:gd name="T22" fmla="*/ 27 w 53"/>
                <a:gd name="T23" fmla="*/ 30 h 33"/>
                <a:gd name="T24" fmla="*/ 21 w 53"/>
                <a:gd name="T25" fmla="*/ 32 h 33"/>
                <a:gd name="T26" fmla="*/ 16 w 53"/>
                <a:gd name="T27" fmla="*/ 33 h 33"/>
                <a:gd name="T28" fmla="*/ 9 w 53"/>
                <a:gd name="T29" fmla="*/ 33 h 33"/>
                <a:gd name="T30" fmla="*/ 0 w 53"/>
                <a:gd name="T31" fmla="*/ 31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3" name="Freeform 75">
              <a:extLst>
                <a:ext uri="{FF2B5EF4-FFF2-40B4-BE49-F238E27FC236}">
                  <a16:creationId xmlns:a16="http://schemas.microsoft.com/office/drawing/2014/main" id="{8506BAA0-BF72-48CA-B3F0-DD852563ECE3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24 w 631"/>
                <a:gd name="T1" fmla="*/ 296 h 358"/>
                <a:gd name="T2" fmla="*/ 50 w 631"/>
                <a:gd name="T3" fmla="*/ 290 h 358"/>
                <a:gd name="T4" fmla="*/ 65 w 631"/>
                <a:gd name="T5" fmla="*/ 277 h 358"/>
                <a:gd name="T6" fmla="*/ 79 w 631"/>
                <a:gd name="T7" fmla="*/ 253 h 358"/>
                <a:gd name="T8" fmla="*/ 100 w 631"/>
                <a:gd name="T9" fmla="*/ 256 h 358"/>
                <a:gd name="T10" fmla="*/ 126 w 631"/>
                <a:gd name="T11" fmla="*/ 253 h 358"/>
                <a:gd name="T12" fmla="*/ 141 w 631"/>
                <a:gd name="T13" fmla="*/ 247 h 358"/>
                <a:gd name="T14" fmla="*/ 162 w 631"/>
                <a:gd name="T15" fmla="*/ 229 h 358"/>
                <a:gd name="T16" fmla="*/ 180 w 631"/>
                <a:gd name="T17" fmla="*/ 208 h 358"/>
                <a:gd name="T18" fmla="*/ 211 w 631"/>
                <a:gd name="T19" fmla="*/ 192 h 358"/>
                <a:gd name="T20" fmla="*/ 260 w 631"/>
                <a:gd name="T21" fmla="*/ 175 h 358"/>
                <a:gd name="T22" fmla="*/ 329 w 631"/>
                <a:gd name="T23" fmla="*/ 152 h 358"/>
                <a:gd name="T24" fmla="*/ 361 w 631"/>
                <a:gd name="T25" fmla="*/ 137 h 358"/>
                <a:gd name="T26" fmla="*/ 392 w 631"/>
                <a:gd name="T27" fmla="*/ 130 h 358"/>
                <a:gd name="T28" fmla="*/ 406 w 631"/>
                <a:gd name="T29" fmla="*/ 127 h 358"/>
                <a:gd name="T30" fmla="*/ 440 w 631"/>
                <a:gd name="T31" fmla="*/ 107 h 358"/>
                <a:gd name="T32" fmla="*/ 469 w 631"/>
                <a:gd name="T33" fmla="*/ 80 h 358"/>
                <a:gd name="T34" fmla="*/ 478 w 631"/>
                <a:gd name="T35" fmla="*/ 63 h 358"/>
                <a:gd name="T36" fmla="*/ 504 w 631"/>
                <a:gd name="T37" fmla="*/ 58 h 358"/>
                <a:gd name="T38" fmla="*/ 537 w 631"/>
                <a:gd name="T39" fmla="*/ 36 h 358"/>
                <a:gd name="T40" fmla="*/ 568 w 631"/>
                <a:gd name="T41" fmla="*/ 11 h 358"/>
                <a:gd name="T42" fmla="*/ 591 w 631"/>
                <a:gd name="T43" fmla="*/ 0 h 358"/>
                <a:gd name="T44" fmla="*/ 602 w 631"/>
                <a:gd name="T45" fmla="*/ 22 h 358"/>
                <a:gd name="T46" fmla="*/ 617 w 631"/>
                <a:gd name="T47" fmla="*/ 30 h 358"/>
                <a:gd name="T48" fmla="*/ 625 w 631"/>
                <a:gd name="T49" fmla="*/ 46 h 358"/>
                <a:gd name="T50" fmla="*/ 601 w 631"/>
                <a:gd name="T51" fmla="*/ 88 h 358"/>
                <a:gd name="T52" fmla="*/ 568 w 631"/>
                <a:gd name="T53" fmla="*/ 125 h 358"/>
                <a:gd name="T54" fmla="*/ 529 w 631"/>
                <a:gd name="T55" fmla="*/ 154 h 358"/>
                <a:gd name="T56" fmla="*/ 487 w 631"/>
                <a:gd name="T57" fmla="*/ 173 h 358"/>
                <a:gd name="T58" fmla="*/ 445 w 631"/>
                <a:gd name="T59" fmla="*/ 180 h 358"/>
                <a:gd name="T60" fmla="*/ 438 w 631"/>
                <a:gd name="T61" fmla="*/ 197 h 358"/>
                <a:gd name="T62" fmla="*/ 433 w 631"/>
                <a:gd name="T63" fmla="*/ 200 h 358"/>
                <a:gd name="T64" fmla="*/ 395 w 631"/>
                <a:gd name="T65" fmla="*/ 199 h 358"/>
                <a:gd name="T66" fmla="*/ 367 w 631"/>
                <a:gd name="T67" fmla="*/ 210 h 358"/>
                <a:gd name="T68" fmla="*/ 347 w 631"/>
                <a:gd name="T69" fmla="*/ 212 h 358"/>
                <a:gd name="T70" fmla="*/ 338 w 631"/>
                <a:gd name="T71" fmla="*/ 204 h 358"/>
                <a:gd name="T72" fmla="*/ 313 w 631"/>
                <a:gd name="T73" fmla="*/ 241 h 358"/>
                <a:gd name="T74" fmla="*/ 272 w 631"/>
                <a:gd name="T75" fmla="*/ 280 h 358"/>
                <a:gd name="T76" fmla="*/ 220 w 631"/>
                <a:gd name="T77" fmla="*/ 315 h 358"/>
                <a:gd name="T78" fmla="*/ 164 w 631"/>
                <a:gd name="T79" fmla="*/ 343 h 358"/>
                <a:gd name="T80" fmla="*/ 110 w 631"/>
                <a:gd name="T81" fmla="*/ 357 h 358"/>
                <a:gd name="T82" fmla="*/ 71 w 631"/>
                <a:gd name="T83" fmla="*/ 356 h 358"/>
                <a:gd name="T84" fmla="*/ 56 w 631"/>
                <a:gd name="T85" fmla="*/ 348 h 358"/>
                <a:gd name="T86" fmla="*/ 33 w 631"/>
                <a:gd name="T87" fmla="*/ 340 h 3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74" name="Freeform 76">
              <a:extLst>
                <a:ext uri="{FF2B5EF4-FFF2-40B4-BE49-F238E27FC236}">
                  <a16:creationId xmlns:a16="http://schemas.microsoft.com/office/drawing/2014/main" id="{2CFAACDD-D5EF-409F-A5E8-6F877286358E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60 w 359"/>
                <a:gd name="T1" fmla="*/ 288 h 431"/>
                <a:gd name="T2" fmla="*/ 95 w 359"/>
                <a:gd name="T3" fmla="*/ 269 h 431"/>
                <a:gd name="T4" fmla="*/ 165 w 359"/>
                <a:gd name="T5" fmla="*/ 209 h 431"/>
                <a:gd name="T6" fmla="*/ 172 w 359"/>
                <a:gd name="T7" fmla="*/ 168 h 431"/>
                <a:gd name="T8" fmla="*/ 180 w 359"/>
                <a:gd name="T9" fmla="*/ 149 h 431"/>
                <a:gd name="T10" fmla="*/ 193 w 359"/>
                <a:gd name="T11" fmla="*/ 137 h 431"/>
                <a:gd name="T12" fmla="*/ 190 w 359"/>
                <a:gd name="T13" fmla="*/ 126 h 431"/>
                <a:gd name="T14" fmla="*/ 179 w 359"/>
                <a:gd name="T15" fmla="*/ 94 h 431"/>
                <a:gd name="T16" fmla="*/ 173 w 359"/>
                <a:gd name="T17" fmla="*/ 34 h 431"/>
                <a:gd name="T18" fmla="*/ 182 w 359"/>
                <a:gd name="T19" fmla="*/ 0 h 431"/>
                <a:gd name="T20" fmla="*/ 194 w 359"/>
                <a:gd name="T21" fmla="*/ 11 h 431"/>
                <a:gd name="T22" fmla="*/ 207 w 359"/>
                <a:gd name="T23" fmla="*/ 29 h 431"/>
                <a:gd name="T24" fmla="*/ 231 w 359"/>
                <a:gd name="T25" fmla="*/ 56 h 431"/>
                <a:gd name="T26" fmla="*/ 238 w 359"/>
                <a:gd name="T27" fmla="*/ 73 h 431"/>
                <a:gd name="T28" fmla="*/ 237 w 359"/>
                <a:gd name="T29" fmla="*/ 88 h 431"/>
                <a:gd name="T30" fmla="*/ 226 w 359"/>
                <a:gd name="T31" fmla="*/ 102 h 431"/>
                <a:gd name="T32" fmla="*/ 205 w 359"/>
                <a:gd name="T33" fmla="*/ 120 h 431"/>
                <a:gd name="T34" fmla="*/ 199 w 359"/>
                <a:gd name="T35" fmla="*/ 131 h 431"/>
                <a:gd name="T36" fmla="*/ 199 w 359"/>
                <a:gd name="T37" fmla="*/ 149 h 431"/>
                <a:gd name="T38" fmla="*/ 205 w 359"/>
                <a:gd name="T39" fmla="*/ 159 h 431"/>
                <a:gd name="T40" fmla="*/ 226 w 359"/>
                <a:gd name="T41" fmla="*/ 160 h 431"/>
                <a:gd name="T42" fmla="*/ 233 w 359"/>
                <a:gd name="T43" fmla="*/ 153 h 431"/>
                <a:gd name="T44" fmla="*/ 232 w 359"/>
                <a:gd name="T45" fmla="*/ 135 h 431"/>
                <a:gd name="T46" fmla="*/ 259 w 359"/>
                <a:gd name="T47" fmla="*/ 193 h 431"/>
                <a:gd name="T48" fmla="*/ 271 w 359"/>
                <a:gd name="T49" fmla="*/ 208 h 431"/>
                <a:gd name="T50" fmla="*/ 291 w 359"/>
                <a:gd name="T51" fmla="*/ 219 h 431"/>
                <a:gd name="T52" fmla="*/ 300 w 359"/>
                <a:gd name="T53" fmla="*/ 217 h 431"/>
                <a:gd name="T54" fmla="*/ 312 w 359"/>
                <a:gd name="T55" fmla="*/ 206 h 431"/>
                <a:gd name="T56" fmla="*/ 341 w 359"/>
                <a:gd name="T57" fmla="*/ 194 h 431"/>
                <a:gd name="T58" fmla="*/ 355 w 359"/>
                <a:gd name="T59" fmla="*/ 206 h 431"/>
                <a:gd name="T60" fmla="*/ 342 w 359"/>
                <a:gd name="T61" fmla="*/ 240 h 431"/>
                <a:gd name="T62" fmla="*/ 321 w 359"/>
                <a:gd name="T63" fmla="*/ 261 h 431"/>
                <a:gd name="T64" fmla="*/ 295 w 359"/>
                <a:gd name="T65" fmla="*/ 275 h 431"/>
                <a:gd name="T66" fmla="*/ 247 w 359"/>
                <a:gd name="T67" fmla="*/ 288 h 431"/>
                <a:gd name="T68" fmla="*/ 208 w 359"/>
                <a:gd name="T69" fmla="*/ 299 h 431"/>
                <a:gd name="T70" fmla="*/ 193 w 359"/>
                <a:gd name="T71" fmla="*/ 308 h 431"/>
                <a:gd name="T72" fmla="*/ 179 w 359"/>
                <a:gd name="T73" fmla="*/ 339 h 431"/>
                <a:gd name="T74" fmla="*/ 163 w 359"/>
                <a:gd name="T75" fmla="*/ 356 h 431"/>
                <a:gd name="T76" fmla="*/ 109 w 359"/>
                <a:gd name="T77" fmla="*/ 394 h 431"/>
                <a:gd name="T78" fmla="*/ 48 w 359"/>
                <a:gd name="T79" fmla="*/ 424 h 431"/>
                <a:gd name="T80" fmla="*/ 19 w 359"/>
                <a:gd name="T81" fmla="*/ 431 h 431"/>
                <a:gd name="T82" fmla="*/ 7 w 359"/>
                <a:gd name="T83" fmla="*/ 426 h 431"/>
                <a:gd name="T84" fmla="*/ 1 w 359"/>
                <a:gd name="T85" fmla="*/ 415 h 431"/>
                <a:gd name="T86" fmla="*/ 1 w 359"/>
                <a:gd name="T87" fmla="*/ 402 h 431"/>
                <a:gd name="T88" fmla="*/ 9 w 359"/>
                <a:gd name="T89" fmla="*/ 391 h 431"/>
                <a:gd name="T90" fmla="*/ 56 w 359"/>
                <a:gd name="T91" fmla="*/ 374 h 431"/>
                <a:gd name="T92" fmla="*/ 73 w 359"/>
                <a:gd name="T93" fmla="*/ 351 h 431"/>
                <a:gd name="T94" fmla="*/ 71 w 359"/>
                <a:gd name="T95" fmla="*/ 335 h 431"/>
                <a:gd name="T96" fmla="*/ 64 w 359"/>
                <a:gd name="T97" fmla="*/ 326 h 431"/>
                <a:gd name="T98" fmla="*/ 51 w 359"/>
                <a:gd name="T99" fmla="*/ 320 h 431"/>
                <a:gd name="T100" fmla="*/ 19 w 359"/>
                <a:gd name="T101" fmla="*/ 320 h 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385" name="Group 391">
            <a:extLst>
              <a:ext uri="{FF2B5EF4-FFF2-40B4-BE49-F238E27FC236}">
                <a16:creationId xmlns:a16="http://schemas.microsoft.com/office/drawing/2014/main" id="{5BD9F87B-F7D8-4C60-A93C-F2AEC7D68655}"/>
              </a:ext>
            </a:extLst>
          </p:cNvPr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5021484" y="2234206"/>
            <a:ext cx="1825735" cy="1133475"/>
            <a:chOff x="527" y="1110"/>
            <a:chExt cx="1410" cy="709"/>
          </a:xfrm>
        </p:grpSpPr>
        <p:sp>
          <p:nvSpPr>
            <p:cNvPr id="386" name="Freeform 392">
              <a:extLst>
                <a:ext uri="{FF2B5EF4-FFF2-40B4-BE49-F238E27FC236}">
                  <a16:creationId xmlns:a16="http://schemas.microsoft.com/office/drawing/2014/main" id="{5C97D526-71FE-4F84-9096-9DEF4B2FB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41 h 54"/>
                <a:gd name="T2" fmla="*/ 5 w 98"/>
                <a:gd name="T3" fmla="*/ 46 h 54"/>
                <a:gd name="T4" fmla="*/ 13 w 98"/>
                <a:gd name="T5" fmla="*/ 50 h 54"/>
                <a:gd name="T6" fmla="*/ 23 w 98"/>
                <a:gd name="T7" fmla="*/ 53 h 54"/>
                <a:gd name="T8" fmla="*/ 32 w 98"/>
                <a:gd name="T9" fmla="*/ 54 h 54"/>
                <a:gd name="T10" fmla="*/ 38 w 98"/>
                <a:gd name="T11" fmla="*/ 54 h 54"/>
                <a:gd name="T12" fmla="*/ 45 w 98"/>
                <a:gd name="T13" fmla="*/ 53 h 54"/>
                <a:gd name="T14" fmla="*/ 50 w 98"/>
                <a:gd name="T15" fmla="*/ 51 h 54"/>
                <a:gd name="T16" fmla="*/ 56 w 98"/>
                <a:gd name="T17" fmla="*/ 49 h 54"/>
                <a:gd name="T18" fmla="*/ 67 w 98"/>
                <a:gd name="T19" fmla="*/ 42 h 54"/>
                <a:gd name="T20" fmla="*/ 75 w 98"/>
                <a:gd name="T21" fmla="*/ 35 h 54"/>
                <a:gd name="T22" fmla="*/ 84 w 98"/>
                <a:gd name="T23" fmla="*/ 28 h 54"/>
                <a:gd name="T24" fmla="*/ 91 w 98"/>
                <a:gd name="T25" fmla="*/ 20 h 54"/>
                <a:gd name="T26" fmla="*/ 95 w 98"/>
                <a:gd name="T27" fmla="*/ 12 h 54"/>
                <a:gd name="T28" fmla="*/ 98 w 98"/>
                <a:gd name="T29" fmla="*/ 4 h 54"/>
                <a:gd name="T30" fmla="*/ 91 w 98"/>
                <a:gd name="T31" fmla="*/ 2 h 54"/>
                <a:gd name="T32" fmla="*/ 83 w 98"/>
                <a:gd name="T33" fmla="*/ 0 h 54"/>
                <a:gd name="T34" fmla="*/ 75 w 98"/>
                <a:gd name="T35" fmla="*/ 0 h 54"/>
                <a:gd name="T36" fmla="*/ 68 w 98"/>
                <a:gd name="T37" fmla="*/ 0 h 54"/>
                <a:gd name="T38" fmla="*/ 59 w 98"/>
                <a:gd name="T39" fmla="*/ 1 h 54"/>
                <a:gd name="T40" fmla="*/ 51 w 98"/>
                <a:gd name="T41" fmla="*/ 3 h 54"/>
                <a:gd name="T42" fmla="*/ 43 w 98"/>
                <a:gd name="T43" fmla="*/ 6 h 54"/>
                <a:gd name="T44" fmla="*/ 37 w 98"/>
                <a:gd name="T45" fmla="*/ 9 h 54"/>
                <a:gd name="T46" fmla="*/ 23 w 98"/>
                <a:gd name="T47" fmla="*/ 17 h 54"/>
                <a:gd name="T48" fmla="*/ 12 w 98"/>
                <a:gd name="T49" fmla="*/ 25 h 54"/>
                <a:gd name="T50" fmla="*/ 7 w 98"/>
                <a:gd name="T51" fmla="*/ 29 h 54"/>
                <a:gd name="T52" fmla="*/ 4 w 98"/>
                <a:gd name="T53" fmla="*/ 33 h 54"/>
                <a:gd name="T54" fmla="*/ 1 w 98"/>
                <a:gd name="T55" fmla="*/ 37 h 54"/>
                <a:gd name="T56" fmla="*/ 0 w 98"/>
                <a:gd name="T57" fmla="*/ 4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7" name="Freeform 393">
              <a:extLst>
                <a:ext uri="{FF2B5EF4-FFF2-40B4-BE49-F238E27FC236}">
                  <a16:creationId xmlns:a16="http://schemas.microsoft.com/office/drawing/2014/main" id="{CF164B1D-CF54-4002-B9F2-135885DDC3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27 h 28"/>
                <a:gd name="T2" fmla="*/ 11 w 67"/>
                <a:gd name="T3" fmla="*/ 28 h 28"/>
                <a:gd name="T4" fmla="*/ 21 w 67"/>
                <a:gd name="T5" fmla="*/ 27 h 28"/>
                <a:gd name="T6" fmla="*/ 31 w 67"/>
                <a:gd name="T7" fmla="*/ 25 h 28"/>
                <a:gd name="T8" fmla="*/ 41 w 67"/>
                <a:gd name="T9" fmla="*/ 21 h 28"/>
                <a:gd name="T10" fmla="*/ 49 w 67"/>
                <a:gd name="T11" fmla="*/ 17 h 28"/>
                <a:gd name="T12" fmla="*/ 57 w 67"/>
                <a:gd name="T13" fmla="*/ 12 h 28"/>
                <a:gd name="T14" fmla="*/ 63 w 67"/>
                <a:gd name="T15" fmla="*/ 7 h 28"/>
                <a:gd name="T16" fmla="*/ 67 w 67"/>
                <a:gd name="T17" fmla="*/ 3 h 28"/>
                <a:gd name="T18" fmla="*/ 57 w 67"/>
                <a:gd name="T19" fmla="*/ 1 h 28"/>
                <a:gd name="T20" fmla="*/ 46 w 67"/>
                <a:gd name="T21" fmla="*/ 0 h 28"/>
                <a:gd name="T22" fmla="*/ 36 w 67"/>
                <a:gd name="T23" fmla="*/ 1 h 28"/>
                <a:gd name="T24" fmla="*/ 26 w 67"/>
                <a:gd name="T25" fmla="*/ 3 h 28"/>
                <a:gd name="T26" fmla="*/ 17 w 67"/>
                <a:gd name="T27" fmla="*/ 7 h 28"/>
                <a:gd name="T28" fmla="*/ 10 w 67"/>
                <a:gd name="T29" fmla="*/ 12 h 28"/>
                <a:gd name="T30" fmla="*/ 7 w 67"/>
                <a:gd name="T31" fmla="*/ 15 h 28"/>
                <a:gd name="T32" fmla="*/ 4 w 67"/>
                <a:gd name="T33" fmla="*/ 19 h 28"/>
                <a:gd name="T34" fmla="*/ 2 w 67"/>
                <a:gd name="T35" fmla="*/ 22 h 28"/>
                <a:gd name="T36" fmla="*/ 0 w 67"/>
                <a:gd name="T37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8" name="Freeform 394">
              <a:extLst>
                <a:ext uri="{FF2B5EF4-FFF2-40B4-BE49-F238E27FC236}">
                  <a16:creationId xmlns:a16="http://schemas.microsoft.com/office/drawing/2014/main" id="{93A18E92-685D-4A46-9B7E-41EEE2F814D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18 h 36"/>
                <a:gd name="T2" fmla="*/ 1 w 32"/>
                <a:gd name="T3" fmla="*/ 24 h 36"/>
                <a:gd name="T4" fmla="*/ 4 w 32"/>
                <a:gd name="T5" fmla="*/ 29 h 36"/>
                <a:gd name="T6" fmla="*/ 6 w 32"/>
                <a:gd name="T7" fmla="*/ 32 h 36"/>
                <a:gd name="T8" fmla="*/ 8 w 32"/>
                <a:gd name="T9" fmla="*/ 34 h 36"/>
                <a:gd name="T10" fmla="*/ 11 w 32"/>
                <a:gd name="T11" fmla="*/ 36 h 36"/>
                <a:gd name="T12" fmla="*/ 13 w 32"/>
                <a:gd name="T13" fmla="*/ 36 h 36"/>
                <a:gd name="T14" fmla="*/ 32 w 32"/>
                <a:gd name="T15" fmla="*/ 36 h 36"/>
                <a:gd name="T16" fmla="*/ 32 w 32"/>
                <a:gd name="T17" fmla="*/ 22 h 36"/>
                <a:gd name="T18" fmla="*/ 31 w 32"/>
                <a:gd name="T19" fmla="*/ 14 h 36"/>
                <a:gd name="T20" fmla="*/ 30 w 32"/>
                <a:gd name="T21" fmla="*/ 7 h 36"/>
                <a:gd name="T22" fmla="*/ 26 w 32"/>
                <a:gd name="T23" fmla="*/ 0 h 36"/>
                <a:gd name="T24" fmla="*/ 19 w 32"/>
                <a:gd name="T25" fmla="*/ 2 h 36"/>
                <a:gd name="T26" fmla="*/ 11 w 32"/>
                <a:gd name="T27" fmla="*/ 7 h 36"/>
                <a:gd name="T28" fmla="*/ 6 w 32"/>
                <a:gd name="T29" fmla="*/ 10 h 36"/>
                <a:gd name="T30" fmla="*/ 3 w 32"/>
                <a:gd name="T31" fmla="*/ 13 h 36"/>
                <a:gd name="T32" fmla="*/ 1 w 32"/>
                <a:gd name="T33" fmla="*/ 16 h 36"/>
                <a:gd name="T34" fmla="*/ 0 w 32"/>
                <a:gd name="T3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89" name="Freeform 395">
              <a:extLst>
                <a:ext uri="{FF2B5EF4-FFF2-40B4-BE49-F238E27FC236}">
                  <a16:creationId xmlns:a16="http://schemas.microsoft.com/office/drawing/2014/main" id="{B10EAB91-9563-49D0-8E6A-0019C5D28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43 h 52"/>
                <a:gd name="T2" fmla="*/ 11 w 146"/>
                <a:gd name="T3" fmla="*/ 46 h 52"/>
                <a:gd name="T4" fmla="*/ 22 w 146"/>
                <a:gd name="T5" fmla="*/ 48 h 52"/>
                <a:gd name="T6" fmla="*/ 33 w 146"/>
                <a:gd name="T7" fmla="*/ 51 h 52"/>
                <a:gd name="T8" fmla="*/ 43 w 146"/>
                <a:gd name="T9" fmla="*/ 52 h 52"/>
                <a:gd name="T10" fmla="*/ 63 w 146"/>
                <a:gd name="T11" fmla="*/ 52 h 52"/>
                <a:gd name="T12" fmla="*/ 82 w 146"/>
                <a:gd name="T13" fmla="*/ 51 h 52"/>
                <a:gd name="T14" fmla="*/ 117 w 146"/>
                <a:gd name="T15" fmla="*/ 46 h 52"/>
                <a:gd name="T16" fmla="*/ 146 w 146"/>
                <a:gd name="T17" fmla="*/ 43 h 52"/>
                <a:gd name="T18" fmla="*/ 144 w 146"/>
                <a:gd name="T19" fmla="*/ 36 h 52"/>
                <a:gd name="T20" fmla="*/ 142 w 146"/>
                <a:gd name="T21" fmla="*/ 30 h 52"/>
                <a:gd name="T22" fmla="*/ 139 w 146"/>
                <a:gd name="T23" fmla="*/ 24 h 52"/>
                <a:gd name="T24" fmla="*/ 137 w 146"/>
                <a:gd name="T25" fmla="*/ 19 h 52"/>
                <a:gd name="T26" fmla="*/ 134 w 146"/>
                <a:gd name="T27" fmla="*/ 15 h 52"/>
                <a:gd name="T28" fmla="*/ 129 w 146"/>
                <a:gd name="T29" fmla="*/ 11 h 52"/>
                <a:gd name="T30" fmla="*/ 125 w 146"/>
                <a:gd name="T31" fmla="*/ 8 h 52"/>
                <a:gd name="T32" fmla="*/ 121 w 146"/>
                <a:gd name="T33" fmla="*/ 6 h 52"/>
                <a:gd name="T34" fmla="*/ 111 w 146"/>
                <a:gd name="T35" fmla="*/ 2 h 52"/>
                <a:gd name="T36" fmla="*/ 101 w 146"/>
                <a:gd name="T37" fmla="*/ 0 h 52"/>
                <a:gd name="T38" fmla="*/ 89 w 146"/>
                <a:gd name="T39" fmla="*/ 1 h 52"/>
                <a:gd name="T40" fmla="*/ 78 w 146"/>
                <a:gd name="T41" fmla="*/ 2 h 52"/>
                <a:gd name="T42" fmla="*/ 66 w 146"/>
                <a:gd name="T43" fmla="*/ 5 h 52"/>
                <a:gd name="T44" fmla="*/ 54 w 146"/>
                <a:gd name="T45" fmla="*/ 9 h 52"/>
                <a:gd name="T46" fmla="*/ 43 w 146"/>
                <a:gd name="T47" fmla="*/ 14 h 52"/>
                <a:gd name="T48" fmla="*/ 32 w 146"/>
                <a:gd name="T49" fmla="*/ 19 h 52"/>
                <a:gd name="T50" fmla="*/ 22 w 146"/>
                <a:gd name="T51" fmla="*/ 25 h 52"/>
                <a:gd name="T52" fmla="*/ 13 w 146"/>
                <a:gd name="T53" fmla="*/ 31 h 52"/>
                <a:gd name="T54" fmla="*/ 5 w 146"/>
                <a:gd name="T55" fmla="*/ 37 h 52"/>
                <a:gd name="T56" fmla="*/ 0 w 146"/>
                <a:gd name="T57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0" name="Freeform 396">
              <a:extLst>
                <a:ext uri="{FF2B5EF4-FFF2-40B4-BE49-F238E27FC236}">
                  <a16:creationId xmlns:a16="http://schemas.microsoft.com/office/drawing/2014/main" id="{AA68927D-8971-428B-96AC-D90679C1E5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60 w 60"/>
                <a:gd name="T1" fmla="*/ 0 h 31"/>
                <a:gd name="T2" fmla="*/ 49 w 60"/>
                <a:gd name="T3" fmla="*/ 0 h 31"/>
                <a:gd name="T4" fmla="*/ 38 w 60"/>
                <a:gd name="T5" fmla="*/ 0 h 31"/>
                <a:gd name="T6" fmla="*/ 31 w 60"/>
                <a:gd name="T7" fmla="*/ 0 h 31"/>
                <a:gd name="T8" fmla="*/ 27 w 60"/>
                <a:gd name="T9" fmla="*/ 0 h 31"/>
                <a:gd name="T10" fmla="*/ 18 w 60"/>
                <a:gd name="T11" fmla="*/ 0 h 31"/>
                <a:gd name="T12" fmla="*/ 9 w 60"/>
                <a:gd name="T13" fmla="*/ 2 h 31"/>
                <a:gd name="T14" fmla="*/ 5 w 60"/>
                <a:gd name="T15" fmla="*/ 3 h 31"/>
                <a:gd name="T16" fmla="*/ 2 w 60"/>
                <a:gd name="T17" fmla="*/ 5 h 31"/>
                <a:gd name="T18" fmla="*/ 1 w 60"/>
                <a:gd name="T19" fmla="*/ 8 h 31"/>
                <a:gd name="T20" fmla="*/ 0 w 60"/>
                <a:gd name="T21" fmla="*/ 12 h 31"/>
                <a:gd name="T22" fmla="*/ 1 w 60"/>
                <a:gd name="T23" fmla="*/ 15 h 31"/>
                <a:gd name="T24" fmla="*/ 2 w 60"/>
                <a:gd name="T25" fmla="*/ 18 h 31"/>
                <a:gd name="T26" fmla="*/ 5 w 60"/>
                <a:gd name="T27" fmla="*/ 22 h 31"/>
                <a:gd name="T28" fmla="*/ 9 w 60"/>
                <a:gd name="T29" fmla="*/ 24 h 31"/>
                <a:gd name="T30" fmla="*/ 12 w 60"/>
                <a:gd name="T31" fmla="*/ 27 h 31"/>
                <a:gd name="T32" fmla="*/ 18 w 60"/>
                <a:gd name="T33" fmla="*/ 29 h 31"/>
                <a:gd name="T34" fmla="*/ 22 w 60"/>
                <a:gd name="T35" fmla="*/ 31 h 31"/>
                <a:gd name="T36" fmla="*/ 27 w 60"/>
                <a:gd name="T37" fmla="*/ 31 h 31"/>
                <a:gd name="T38" fmla="*/ 32 w 60"/>
                <a:gd name="T39" fmla="*/ 30 h 31"/>
                <a:gd name="T40" fmla="*/ 37 w 60"/>
                <a:gd name="T41" fmla="*/ 28 h 31"/>
                <a:gd name="T42" fmla="*/ 43 w 60"/>
                <a:gd name="T43" fmla="*/ 24 h 31"/>
                <a:gd name="T44" fmla="*/ 48 w 60"/>
                <a:gd name="T45" fmla="*/ 18 h 31"/>
                <a:gd name="T46" fmla="*/ 57 w 60"/>
                <a:gd name="T47" fmla="*/ 10 h 31"/>
                <a:gd name="T48" fmla="*/ 60 w 60"/>
                <a:gd name="T49" fmla="*/ 6 h 31"/>
                <a:gd name="T50" fmla="*/ 60 w 60"/>
                <a:gd name="T5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1" name="Freeform 397">
              <a:extLst>
                <a:ext uri="{FF2B5EF4-FFF2-40B4-BE49-F238E27FC236}">
                  <a16:creationId xmlns:a16="http://schemas.microsoft.com/office/drawing/2014/main" id="{98E7D4FE-28B5-4654-84B9-DA5832F596C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43 h 62"/>
                <a:gd name="T2" fmla="*/ 1 w 80"/>
                <a:gd name="T3" fmla="*/ 46 h 62"/>
                <a:gd name="T4" fmla="*/ 1 w 80"/>
                <a:gd name="T5" fmla="*/ 49 h 62"/>
                <a:gd name="T6" fmla="*/ 3 w 80"/>
                <a:gd name="T7" fmla="*/ 51 h 62"/>
                <a:gd name="T8" fmla="*/ 4 w 80"/>
                <a:gd name="T9" fmla="*/ 53 h 62"/>
                <a:gd name="T10" fmla="*/ 10 w 80"/>
                <a:gd name="T11" fmla="*/ 57 h 62"/>
                <a:gd name="T12" fmla="*/ 15 w 80"/>
                <a:gd name="T13" fmla="*/ 59 h 62"/>
                <a:gd name="T14" fmla="*/ 28 w 80"/>
                <a:gd name="T15" fmla="*/ 62 h 62"/>
                <a:gd name="T16" fmla="*/ 40 w 80"/>
                <a:gd name="T17" fmla="*/ 62 h 62"/>
                <a:gd name="T18" fmla="*/ 45 w 80"/>
                <a:gd name="T19" fmla="*/ 62 h 62"/>
                <a:gd name="T20" fmla="*/ 49 w 80"/>
                <a:gd name="T21" fmla="*/ 59 h 62"/>
                <a:gd name="T22" fmla="*/ 54 w 80"/>
                <a:gd name="T23" fmla="*/ 57 h 62"/>
                <a:gd name="T24" fmla="*/ 58 w 80"/>
                <a:gd name="T25" fmla="*/ 54 h 62"/>
                <a:gd name="T26" fmla="*/ 65 w 80"/>
                <a:gd name="T27" fmla="*/ 47 h 62"/>
                <a:gd name="T28" fmla="*/ 70 w 80"/>
                <a:gd name="T29" fmla="*/ 38 h 62"/>
                <a:gd name="T30" fmla="*/ 74 w 80"/>
                <a:gd name="T31" fmla="*/ 28 h 62"/>
                <a:gd name="T32" fmla="*/ 78 w 80"/>
                <a:gd name="T33" fmla="*/ 18 h 62"/>
                <a:gd name="T34" fmla="*/ 79 w 80"/>
                <a:gd name="T35" fmla="*/ 8 h 62"/>
                <a:gd name="T36" fmla="*/ 80 w 80"/>
                <a:gd name="T37" fmla="*/ 0 h 62"/>
                <a:gd name="T38" fmla="*/ 71 w 80"/>
                <a:gd name="T39" fmla="*/ 0 h 62"/>
                <a:gd name="T40" fmla="*/ 59 w 80"/>
                <a:gd name="T41" fmla="*/ 3 h 62"/>
                <a:gd name="T42" fmla="*/ 46 w 80"/>
                <a:gd name="T43" fmla="*/ 8 h 62"/>
                <a:gd name="T44" fmla="*/ 33 w 80"/>
                <a:gd name="T45" fmla="*/ 13 h 62"/>
                <a:gd name="T46" fmla="*/ 21 w 80"/>
                <a:gd name="T47" fmla="*/ 19 h 62"/>
                <a:gd name="T48" fmla="*/ 10 w 80"/>
                <a:gd name="T49" fmla="*/ 26 h 62"/>
                <a:gd name="T50" fmla="*/ 6 w 80"/>
                <a:gd name="T51" fmla="*/ 30 h 62"/>
                <a:gd name="T52" fmla="*/ 3 w 80"/>
                <a:gd name="T53" fmla="*/ 34 h 62"/>
                <a:gd name="T54" fmla="*/ 1 w 80"/>
                <a:gd name="T55" fmla="*/ 39 h 62"/>
                <a:gd name="T56" fmla="*/ 0 w 80"/>
                <a:gd name="T5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2" name="Freeform 398">
              <a:extLst>
                <a:ext uri="{FF2B5EF4-FFF2-40B4-BE49-F238E27FC236}">
                  <a16:creationId xmlns:a16="http://schemas.microsoft.com/office/drawing/2014/main" id="{63386245-8471-4651-907C-B550879EE7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80 w 106"/>
                <a:gd name="T1" fmla="*/ 13 h 49"/>
                <a:gd name="T2" fmla="*/ 72 w 106"/>
                <a:gd name="T3" fmla="*/ 12 h 49"/>
                <a:gd name="T4" fmla="*/ 66 w 106"/>
                <a:gd name="T5" fmla="*/ 11 h 49"/>
                <a:gd name="T6" fmla="*/ 59 w 106"/>
                <a:gd name="T7" fmla="*/ 8 h 49"/>
                <a:gd name="T8" fmla="*/ 53 w 106"/>
                <a:gd name="T9" fmla="*/ 6 h 49"/>
                <a:gd name="T10" fmla="*/ 47 w 106"/>
                <a:gd name="T11" fmla="*/ 4 h 49"/>
                <a:gd name="T12" fmla="*/ 41 w 106"/>
                <a:gd name="T13" fmla="*/ 2 h 49"/>
                <a:gd name="T14" fmla="*/ 34 w 106"/>
                <a:gd name="T15" fmla="*/ 0 h 49"/>
                <a:gd name="T16" fmla="*/ 26 w 106"/>
                <a:gd name="T17" fmla="*/ 0 h 49"/>
                <a:gd name="T18" fmla="*/ 15 w 106"/>
                <a:gd name="T19" fmla="*/ 0 h 49"/>
                <a:gd name="T20" fmla="*/ 0 w 106"/>
                <a:gd name="T21" fmla="*/ 0 h 49"/>
                <a:gd name="T22" fmla="*/ 9 w 106"/>
                <a:gd name="T23" fmla="*/ 11 h 49"/>
                <a:gd name="T24" fmla="*/ 17 w 106"/>
                <a:gd name="T25" fmla="*/ 21 h 49"/>
                <a:gd name="T26" fmla="*/ 26 w 106"/>
                <a:gd name="T27" fmla="*/ 29 h 49"/>
                <a:gd name="T28" fmla="*/ 34 w 106"/>
                <a:gd name="T29" fmla="*/ 36 h 49"/>
                <a:gd name="T30" fmla="*/ 42 w 106"/>
                <a:gd name="T31" fmla="*/ 42 h 49"/>
                <a:gd name="T32" fmla="*/ 52 w 106"/>
                <a:gd name="T33" fmla="*/ 46 h 49"/>
                <a:gd name="T34" fmla="*/ 61 w 106"/>
                <a:gd name="T35" fmla="*/ 48 h 49"/>
                <a:gd name="T36" fmla="*/ 72 w 106"/>
                <a:gd name="T37" fmla="*/ 49 h 49"/>
                <a:gd name="T38" fmla="*/ 79 w 106"/>
                <a:gd name="T39" fmla="*/ 48 h 49"/>
                <a:gd name="T40" fmla="*/ 87 w 106"/>
                <a:gd name="T41" fmla="*/ 45 h 49"/>
                <a:gd name="T42" fmla="*/ 97 w 106"/>
                <a:gd name="T43" fmla="*/ 39 h 49"/>
                <a:gd name="T44" fmla="*/ 106 w 106"/>
                <a:gd name="T45" fmla="*/ 31 h 49"/>
                <a:gd name="T46" fmla="*/ 101 w 106"/>
                <a:gd name="T47" fmla="*/ 30 h 49"/>
                <a:gd name="T48" fmla="*/ 98 w 106"/>
                <a:gd name="T49" fmla="*/ 28 h 49"/>
                <a:gd name="T50" fmla="*/ 93 w 106"/>
                <a:gd name="T51" fmla="*/ 25 h 49"/>
                <a:gd name="T52" fmla="*/ 90 w 106"/>
                <a:gd name="T53" fmla="*/ 22 h 49"/>
                <a:gd name="T54" fmla="*/ 88 w 106"/>
                <a:gd name="T55" fmla="*/ 19 h 49"/>
                <a:gd name="T56" fmla="*/ 84 w 106"/>
                <a:gd name="T57" fmla="*/ 16 h 49"/>
                <a:gd name="T58" fmla="*/ 82 w 106"/>
                <a:gd name="T59" fmla="*/ 14 h 49"/>
                <a:gd name="T60" fmla="*/ 80 w 106"/>
                <a:gd name="T61" fmla="*/ 1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3" name="Freeform 399">
              <a:extLst>
                <a:ext uri="{FF2B5EF4-FFF2-40B4-BE49-F238E27FC236}">
                  <a16:creationId xmlns:a16="http://schemas.microsoft.com/office/drawing/2014/main" id="{4743A059-EB2A-4E6E-BE9A-EB8B33DA778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19 h 22"/>
                <a:gd name="T2" fmla="*/ 5 w 47"/>
                <a:gd name="T3" fmla="*/ 21 h 22"/>
                <a:gd name="T4" fmla="*/ 12 w 47"/>
                <a:gd name="T5" fmla="*/ 22 h 22"/>
                <a:gd name="T6" fmla="*/ 18 w 47"/>
                <a:gd name="T7" fmla="*/ 22 h 22"/>
                <a:gd name="T8" fmla="*/ 26 w 47"/>
                <a:gd name="T9" fmla="*/ 21 h 22"/>
                <a:gd name="T10" fmla="*/ 33 w 47"/>
                <a:gd name="T11" fmla="*/ 19 h 22"/>
                <a:gd name="T12" fmla="*/ 38 w 47"/>
                <a:gd name="T13" fmla="*/ 15 h 22"/>
                <a:gd name="T14" fmla="*/ 41 w 47"/>
                <a:gd name="T15" fmla="*/ 12 h 22"/>
                <a:gd name="T16" fmla="*/ 44 w 47"/>
                <a:gd name="T17" fmla="*/ 9 h 22"/>
                <a:gd name="T18" fmla="*/ 45 w 47"/>
                <a:gd name="T19" fmla="*/ 5 h 22"/>
                <a:gd name="T20" fmla="*/ 47 w 47"/>
                <a:gd name="T21" fmla="*/ 0 h 22"/>
                <a:gd name="T22" fmla="*/ 0 w 47"/>
                <a:gd name="T2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4" name="Freeform 400">
              <a:extLst>
                <a:ext uri="{FF2B5EF4-FFF2-40B4-BE49-F238E27FC236}">
                  <a16:creationId xmlns:a16="http://schemas.microsoft.com/office/drawing/2014/main" id="{8EA50C2D-F0E6-4A6A-8D96-230699BA48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53 w 53"/>
                <a:gd name="T1" fmla="*/ 0 h 32"/>
                <a:gd name="T2" fmla="*/ 37 w 53"/>
                <a:gd name="T3" fmla="*/ 9 h 32"/>
                <a:gd name="T4" fmla="*/ 23 w 53"/>
                <a:gd name="T5" fmla="*/ 18 h 32"/>
                <a:gd name="T6" fmla="*/ 11 w 53"/>
                <a:gd name="T7" fmla="*/ 26 h 32"/>
                <a:gd name="T8" fmla="*/ 0 w 53"/>
                <a:gd name="T9" fmla="*/ 32 h 32"/>
                <a:gd name="T10" fmla="*/ 13 w 53"/>
                <a:gd name="T11" fmla="*/ 32 h 32"/>
                <a:gd name="T12" fmla="*/ 26 w 53"/>
                <a:gd name="T13" fmla="*/ 32 h 32"/>
                <a:gd name="T14" fmla="*/ 39 w 53"/>
                <a:gd name="T15" fmla="*/ 32 h 32"/>
                <a:gd name="T16" fmla="*/ 53 w 53"/>
                <a:gd name="T17" fmla="*/ 32 h 32"/>
                <a:gd name="T18" fmla="*/ 53 w 53"/>
                <a:gd name="T19" fmla="*/ 24 h 32"/>
                <a:gd name="T20" fmla="*/ 53 w 53"/>
                <a:gd name="T21" fmla="*/ 16 h 32"/>
                <a:gd name="T22" fmla="*/ 53 w 53"/>
                <a:gd name="T23" fmla="*/ 9 h 32"/>
                <a:gd name="T24" fmla="*/ 53 w 53"/>
                <a:gd name="T2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5" name="Freeform 401">
              <a:extLst>
                <a:ext uri="{FF2B5EF4-FFF2-40B4-BE49-F238E27FC236}">
                  <a16:creationId xmlns:a16="http://schemas.microsoft.com/office/drawing/2014/main" id="{8544F7B4-4970-4DB0-98B1-59FF3D4BB039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27 w 46"/>
                <a:gd name="T1" fmla="*/ 3 h 34"/>
                <a:gd name="T2" fmla="*/ 0 w 46"/>
                <a:gd name="T3" fmla="*/ 16 h 34"/>
                <a:gd name="T4" fmla="*/ 0 w 46"/>
                <a:gd name="T5" fmla="*/ 34 h 34"/>
                <a:gd name="T6" fmla="*/ 27 w 46"/>
                <a:gd name="T7" fmla="*/ 34 h 34"/>
                <a:gd name="T8" fmla="*/ 31 w 46"/>
                <a:gd name="T9" fmla="*/ 32 h 34"/>
                <a:gd name="T10" fmla="*/ 35 w 46"/>
                <a:gd name="T11" fmla="*/ 28 h 34"/>
                <a:gd name="T12" fmla="*/ 39 w 46"/>
                <a:gd name="T13" fmla="*/ 25 h 34"/>
                <a:gd name="T14" fmla="*/ 42 w 46"/>
                <a:gd name="T15" fmla="*/ 21 h 34"/>
                <a:gd name="T16" fmla="*/ 44 w 46"/>
                <a:gd name="T17" fmla="*/ 17 h 34"/>
                <a:gd name="T18" fmla="*/ 45 w 46"/>
                <a:gd name="T19" fmla="*/ 13 h 34"/>
                <a:gd name="T20" fmla="*/ 46 w 46"/>
                <a:gd name="T21" fmla="*/ 8 h 34"/>
                <a:gd name="T22" fmla="*/ 46 w 46"/>
                <a:gd name="T23" fmla="*/ 3 h 34"/>
                <a:gd name="T24" fmla="*/ 46 w 46"/>
                <a:gd name="T25" fmla="*/ 1 h 34"/>
                <a:gd name="T26" fmla="*/ 44 w 46"/>
                <a:gd name="T27" fmla="*/ 0 h 34"/>
                <a:gd name="T28" fmla="*/ 42 w 46"/>
                <a:gd name="T29" fmla="*/ 0 h 34"/>
                <a:gd name="T30" fmla="*/ 39 w 46"/>
                <a:gd name="T31" fmla="*/ 0 h 34"/>
                <a:gd name="T32" fmla="*/ 32 w 46"/>
                <a:gd name="T33" fmla="*/ 2 h 34"/>
                <a:gd name="T34" fmla="*/ 27 w 46"/>
                <a:gd name="T35" fmla="*/ 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6" name="Freeform 402">
              <a:extLst>
                <a:ext uri="{FF2B5EF4-FFF2-40B4-BE49-F238E27FC236}">
                  <a16:creationId xmlns:a16="http://schemas.microsoft.com/office/drawing/2014/main" id="{BAC4D8B8-38CB-4D34-A708-00403A29AC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25 h 25"/>
                <a:gd name="T2" fmla="*/ 14 w 48"/>
                <a:gd name="T3" fmla="*/ 25 h 25"/>
                <a:gd name="T4" fmla="*/ 28 w 48"/>
                <a:gd name="T5" fmla="*/ 25 h 25"/>
                <a:gd name="T6" fmla="*/ 30 w 48"/>
                <a:gd name="T7" fmla="*/ 24 h 25"/>
                <a:gd name="T8" fmla="*/ 33 w 48"/>
                <a:gd name="T9" fmla="*/ 22 h 25"/>
                <a:gd name="T10" fmla="*/ 37 w 48"/>
                <a:gd name="T11" fmla="*/ 18 h 25"/>
                <a:gd name="T12" fmla="*/ 40 w 48"/>
                <a:gd name="T13" fmla="*/ 15 h 25"/>
                <a:gd name="T14" fmla="*/ 45 w 48"/>
                <a:gd name="T15" fmla="*/ 7 h 25"/>
                <a:gd name="T16" fmla="*/ 48 w 48"/>
                <a:gd name="T17" fmla="*/ 0 h 25"/>
                <a:gd name="T18" fmla="*/ 40 w 48"/>
                <a:gd name="T19" fmla="*/ 1 h 25"/>
                <a:gd name="T20" fmla="*/ 33 w 48"/>
                <a:gd name="T21" fmla="*/ 2 h 25"/>
                <a:gd name="T22" fmla="*/ 28 w 48"/>
                <a:gd name="T23" fmla="*/ 5 h 25"/>
                <a:gd name="T24" fmla="*/ 21 w 48"/>
                <a:gd name="T25" fmla="*/ 8 h 25"/>
                <a:gd name="T26" fmla="*/ 11 w 48"/>
                <a:gd name="T27" fmla="*/ 16 h 25"/>
                <a:gd name="T28" fmla="*/ 0 w 48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7" name="Freeform 403">
              <a:extLst>
                <a:ext uri="{FF2B5EF4-FFF2-40B4-BE49-F238E27FC236}">
                  <a16:creationId xmlns:a16="http://schemas.microsoft.com/office/drawing/2014/main" id="{28EEAC27-1BB0-4390-B934-CC1740AE322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37 h 37"/>
                <a:gd name="T4" fmla="*/ 11 w 30"/>
                <a:gd name="T5" fmla="*/ 36 h 37"/>
                <a:gd name="T6" fmla="*/ 20 w 30"/>
                <a:gd name="T7" fmla="*/ 34 h 37"/>
                <a:gd name="T8" fmla="*/ 22 w 30"/>
                <a:gd name="T9" fmla="*/ 33 h 37"/>
                <a:gd name="T10" fmla="*/ 26 w 30"/>
                <a:gd name="T11" fmla="*/ 32 h 37"/>
                <a:gd name="T12" fmla="*/ 28 w 30"/>
                <a:gd name="T13" fmla="*/ 30 h 37"/>
                <a:gd name="T14" fmla="*/ 29 w 30"/>
                <a:gd name="T15" fmla="*/ 28 h 37"/>
                <a:gd name="T16" fmla="*/ 30 w 30"/>
                <a:gd name="T17" fmla="*/ 23 h 37"/>
                <a:gd name="T18" fmla="*/ 30 w 30"/>
                <a:gd name="T19" fmla="*/ 16 h 37"/>
                <a:gd name="T20" fmla="*/ 29 w 30"/>
                <a:gd name="T21" fmla="*/ 9 h 37"/>
                <a:gd name="T22" fmla="*/ 27 w 30"/>
                <a:gd name="T23" fmla="*/ 0 h 37"/>
                <a:gd name="T24" fmla="*/ 0 w 30"/>
                <a:gd name="T2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8" name="Freeform 404">
              <a:extLst>
                <a:ext uri="{FF2B5EF4-FFF2-40B4-BE49-F238E27FC236}">
                  <a16:creationId xmlns:a16="http://schemas.microsoft.com/office/drawing/2014/main" id="{0AF35D90-EEB9-4F88-941C-D347DCBF589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33 w 113"/>
                <a:gd name="T1" fmla="*/ 3 h 46"/>
                <a:gd name="T2" fmla="*/ 22 w 113"/>
                <a:gd name="T3" fmla="*/ 3 h 46"/>
                <a:gd name="T4" fmla="*/ 12 w 113"/>
                <a:gd name="T5" fmla="*/ 5 h 46"/>
                <a:gd name="T6" fmla="*/ 7 w 113"/>
                <a:gd name="T7" fmla="*/ 7 h 46"/>
                <a:gd name="T8" fmla="*/ 3 w 113"/>
                <a:gd name="T9" fmla="*/ 11 h 46"/>
                <a:gd name="T10" fmla="*/ 1 w 113"/>
                <a:gd name="T11" fmla="*/ 15 h 46"/>
                <a:gd name="T12" fmla="*/ 0 w 113"/>
                <a:gd name="T13" fmla="*/ 21 h 46"/>
                <a:gd name="T14" fmla="*/ 6 w 113"/>
                <a:gd name="T15" fmla="*/ 27 h 46"/>
                <a:gd name="T16" fmla="*/ 10 w 113"/>
                <a:gd name="T17" fmla="*/ 33 h 46"/>
                <a:gd name="T18" fmla="*/ 16 w 113"/>
                <a:gd name="T19" fmla="*/ 37 h 46"/>
                <a:gd name="T20" fmla="*/ 20 w 113"/>
                <a:gd name="T21" fmla="*/ 41 h 46"/>
                <a:gd name="T22" fmla="*/ 25 w 113"/>
                <a:gd name="T23" fmla="*/ 43 h 46"/>
                <a:gd name="T24" fmla="*/ 30 w 113"/>
                <a:gd name="T25" fmla="*/ 45 h 46"/>
                <a:gd name="T26" fmla="*/ 35 w 113"/>
                <a:gd name="T27" fmla="*/ 46 h 46"/>
                <a:gd name="T28" fmla="*/ 40 w 113"/>
                <a:gd name="T29" fmla="*/ 46 h 46"/>
                <a:gd name="T30" fmla="*/ 56 w 113"/>
                <a:gd name="T31" fmla="*/ 46 h 46"/>
                <a:gd name="T32" fmla="*/ 70 w 113"/>
                <a:gd name="T33" fmla="*/ 43 h 46"/>
                <a:gd name="T34" fmla="*/ 76 w 113"/>
                <a:gd name="T35" fmla="*/ 41 h 46"/>
                <a:gd name="T36" fmla="*/ 81 w 113"/>
                <a:gd name="T37" fmla="*/ 38 h 46"/>
                <a:gd name="T38" fmla="*/ 87 w 113"/>
                <a:gd name="T39" fmla="*/ 36 h 46"/>
                <a:gd name="T40" fmla="*/ 91 w 113"/>
                <a:gd name="T41" fmla="*/ 33 h 46"/>
                <a:gd name="T42" fmla="*/ 99 w 113"/>
                <a:gd name="T43" fmla="*/ 27 h 46"/>
                <a:gd name="T44" fmla="*/ 106 w 113"/>
                <a:gd name="T45" fmla="*/ 20 h 46"/>
                <a:gd name="T46" fmla="*/ 110 w 113"/>
                <a:gd name="T47" fmla="*/ 12 h 46"/>
                <a:gd name="T48" fmla="*/ 113 w 113"/>
                <a:gd name="T49" fmla="*/ 3 h 46"/>
                <a:gd name="T50" fmla="*/ 99 w 113"/>
                <a:gd name="T51" fmla="*/ 1 h 46"/>
                <a:gd name="T52" fmla="*/ 87 w 113"/>
                <a:gd name="T53" fmla="*/ 0 h 46"/>
                <a:gd name="T54" fmla="*/ 76 w 113"/>
                <a:gd name="T55" fmla="*/ 0 h 46"/>
                <a:gd name="T56" fmla="*/ 66 w 113"/>
                <a:gd name="T57" fmla="*/ 1 h 46"/>
                <a:gd name="T58" fmla="*/ 48 w 113"/>
                <a:gd name="T59" fmla="*/ 2 h 46"/>
                <a:gd name="T60" fmla="*/ 33 w 113"/>
                <a:gd name="T61" fmla="*/ 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99" name="Freeform 405">
              <a:extLst>
                <a:ext uri="{FF2B5EF4-FFF2-40B4-BE49-F238E27FC236}">
                  <a16:creationId xmlns:a16="http://schemas.microsoft.com/office/drawing/2014/main" id="{0D1B17BB-75D8-4837-AE4A-A752B1FB5E0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79 h 82"/>
                <a:gd name="T2" fmla="*/ 2 w 153"/>
                <a:gd name="T3" fmla="*/ 81 h 82"/>
                <a:gd name="T4" fmla="*/ 6 w 153"/>
                <a:gd name="T5" fmla="*/ 82 h 82"/>
                <a:gd name="T6" fmla="*/ 10 w 153"/>
                <a:gd name="T7" fmla="*/ 82 h 82"/>
                <a:gd name="T8" fmla="*/ 14 w 153"/>
                <a:gd name="T9" fmla="*/ 82 h 82"/>
                <a:gd name="T10" fmla="*/ 23 w 153"/>
                <a:gd name="T11" fmla="*/ 80 h 82"/>
                <a:gd name="T12" fmla="*/ 33 w 153"/>
                <a:gd name="T13" fmla="*/ 79 h 82"/>
                <a:gd name="T14" fmla="*/ 40 w 153"/>
                <a:gd name="T15" fmla="*/ 79 h 82"/>
                <a:gd name="T16" fmla="*/ 47 w 153"/>
                <a:gd name="T17" fmla="*/ 78 h 82"/>
                <a:gd name="T18" fmla="*/ 56 w 153"/>
                <a:gd name="T19" fmla="*/ 76 h 82"/>
                <a:gd name="T20" fmla="*/ 65 w 153"/>
                <a:gd name="T21" fmla="*/ 74 h 82"/>
                <a:gd name="T22" fmla="*/ 83 w 153"/>
                <a:gd name="T23" fmla="*/ 68 h 82"/>
                <a:gd name="T24" fmla="*/ 103 w 153"/>
                <a:gd name="T25" fmla="*/ 59 h 82"/>
                <a:gd name="T26" fmla="*/ 112 w 153"/>
                <a:gd name="T27" fmla="*/ 54 h 82"/>
                <a:gd name="T28" fmla="*/ 121 w 153"/>
                <a:gd name="T29" fmla="*/ 49 h 82"/>
                <a:gd name="T30" fmla="*/ 129 w 153"/>
                <a:gd name="T31" fmla="*/ 43 h 82"/>
                <a:gd name="T32" fmla="*/ 136 w 153"/>
                <a:gd name="T33" fmla="*/ 38 h 82"/>
                <a:gd name="T34" fmla="*/ 142 w 153"/>
                <a:gd name="T35" fmla="*/ 32 h 82"/>
                <a:gd name="T36" fmla="*/ 147 w 153"/>
                <a:gd name="T37" fmla="*/ 25 h 82"/>
                <a:gd name="T38" fmla="*/ 150 w 153"/>
                <a:gd name="T39" fmla="*/ 19 h 82"/>
                <a:gd name="T40" fmla="*/ 153 w 153"/>
                <a:gd name="T41" fmla="*/ 12 h 82"/>
                <a:gd name="T42" fmla="*/ 134 w 153"/>
                <a:gd name="T43" fmla="*/ 8 h 82"/>
                <a:gd name="T44" fmla="*/ 115 w 153"/>
                <a:gd name="T45" fmla="*/ 3 h 82"/>
                <a:gd name="T46" fmla="*/ 96 w 153"/>
                <a:gd name="T47" fmla="*/ 1 h 82"/>
                <a:gd name="T48" fmla="*/ 77 w 153"/>
                <a:gd name="T49" fmla="*/ 0 h 82"/>
                <a:gd name="T50" fmla="*/ 68 w 153"/>
                <a:gd name="T51" fmla="*/ 1 h 82"/>
                <a:gd name="T52" fmla="*/ 60 w 153"/>
                <a:gd name="T53" fmla="*/ 1 h 82"/>
                <a:gd name="T54" fmla="*/ 52 w 153"/>
                <a:gd name="T55" fmla="*/ 2 h 82"/>
                <a:gd name="T56" fmla="*/ 45 w 153"/>
                <a:gd name="T57" fmla="*/ 4 h 82"/>
                <a:gd name="T58" fmla="*/ 38 w 153"/>
                <a:gd name="T59" fmla="*/ 7 h 82"/>
                <a:gd name="T60" fmla="*/ 34 w 153"/>
                <a:gd name="T61" fmla="*/ 10 h 82"/>
                <a:gd name="T62" fmla="*/ 30 w 153"/>
                <a:gd name="T63" fmla="*/ 14 h 82"/>
                <a:gd name="T64" fmla="*/ 26 w 153"/>
                <a:gd name="T65" fmla="*/ 18 h 82"/>
                <a:gd name="T66" fmla="*/ 32 w 153"/>
                <a:gd name="T67" fmla="*/ 23 h 82"/>
                <a:gd name="T68" fmla="*/ 36 w 153"/>
                <a:gd name="T69" fmla="*/ 29 h 82"/>
                <a:gd name="T70" fmla="*/ 38 w 153"/>
                <a:gd name="T71" fmla="*/ 32 h 82"/>
                <a:gd name="T72" fmla="*/ 42 w 153"/>
                <a:gd name="T73" fmla="*/ 34 h 82"/>
                <a:gd name="T74" fmla="*/ 44 w 153"/>
                <a:gd name="T75" fmla="*/ 36 h 82"/>
                <a:gd name="T76" fmla="*/ 46 w 153"/>
                <a:gd name="T77" fmla="*/ 36 h 82"/>
                <a:gd name="T78" fmla="*/ 40 w 153"/>
                <a:gd name="T79" fmla="*/ 41 h 82"/>
                <a:gd name="T80" fmla="*/ 33 w 153"/>
                <a:gd name="T81" fmla="*/ 46 h 82"/>
                <a:gd name="T82" fmla="*/ 29 w 153"/>
                <a:gd name="T83" fmla="*/ 52 h 82"/>
                <a:gd name="T84" fmla="*/ 23 w 153"/>
                <a:gd name="T85" fmla="*/ 57 h 82"/>
                <a:gd name="T86" fmla="*/ 18 w 153"/>
                <a:gd name="T87" fmla="*/ 64 h 82"/>
                <a:gd name="T88" fmla="*/ 13 w 153"/>
                <a:gd name="T89" fmla="*/ 69 h 82"/>
                <a:gd name="T90" fmla="*/ 7 w 153"/>
                <a:gd name="T91" fmla="*/ 75 h 82"/>
                <a:gd name="T92" fmla="*/ 0 w 153"/>
                <a:gd name="T93" fmla="*/ 7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0" name="Freeform 406">
              <a:extLst>
                <a:ext uri="{FF2B5EF4-FFF2-40B4-BE49-F238E27FC236}">
                  <a16:creationId xmlns:a16="http://schemas.microsoft.com/office/drawing/2014/main" id="{F43BB89C-E8A3-4F82-B9FA-F55AB3C6E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37 h 50"/>
                <a:gd name="T2" fmla="*/ 5 w 86"/>
                <a:gd name="T3" fmla="*/ 41 h 50"/>
                <a:gd name="T4" fmla="*/ 11 w 86"/>
                <a:gd name="T5" fmla="*/ 44 h 50"/>
                <a:gd name="T6" fmla="*/ 16 w 86"/>
                <a:gd name="T7" fmla="*/ 47 h 50"/>
                <a:gd name="T8" fmla="*/ 23 w 86"/>
                <a:gd name="T9" fmla="*/ 48 h 50"/>
                <a:gd name="T10" fmla="*/ 35 w 86"/>
                <a:gd name="T11" fmla="*/ 49 h 50"/>
                <a:gd name="T12" fmla="*/ 46 w 86"/>
                <a:gd name="T13" fmla="*/ 50 h 50"/>
                <a:gd name="T14" fmla="*/ 58 w 86"/>
                <a:gd name="T15" fmla="*/ 49 h 50"/>
                <a:gd name="T16" fmla="*/ 67 w 86"/>
                <a:gd name="T17" fmla="*/ 48 h 50"/>
                <a:gd name="T18" fmla="*/ 73 w 86"/>
                <a:gd name="T19" fmla="*/ 47 h 50"/>
                <a:gd name="T20" fmla="*/ 79 w 86"/>
                <a:gd name="T21" fmla="*/ 44 h 50"/>
                <a:gd name="T22" fmla="*/ 82 w 86"/>
                <a:gd name="T23" fmla="*/ 41 h 50"/>
                <a:gd name="T24" fmla="*/ 84 w 86"/>
                <a:gd name="T25" fmla="*/ 37 h 50"/>
                <a:gd name="T26" fmla="*/ 85 w 86"/>
                <a:gd name="T27" fmla="*/ 32 h 50"/>
                <a:gd name="T28" fmla="*/ 86 w 86"/>
                <a:gd name="T29" fmla="*/ 25 h 50"/>
                <a:gd name="T30" fmla="*/ 85 w 86"/>
                <a:gd name="T31" fmla="*/ 17 h 50"/>
                <a:gd name="T32" fmla="*/ 84 w 86"/>
                <a:gd name="T33" fmla="*/ 10 h 50"/>
                <a:gd name="T34" fmla="*/ 83 w 86"/>
                <a:gd name="T35" fmla="*/ 7 h 50"/>
                <a:gd name="T36" fmla="*/ 81 w 86"/>
                <a:gd name="T37" fmla="*/ 5 h 50"/>
                <a:gd name="T38" fmla="*/ 77 w 86"/>
                <a:gd name="T39" fmla="*/ 2 h 50"/>
                <a:gd name="T40" fmla="*/ 73 w 86"/>
                <a:gd name="T41" fmla="*/ 0 h 50"/>
                <a:gd name="T42" fmla="*/ 0 w 86"/>
                <a:gd name="T43" fmla="*/ 3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1" name="Freeform 407">
              <a:extLst>
                <a:ext uri="{FF2B5EF4-FFF2-40B4-BE49-F238E27FC236}">
                  <a16:creationId xmlns:a16="http://schemas.microsoft.com/office/drawing/2014/main" id="{167C7F0B-B9B9-4BE1-BFC8-D5A45E361B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119 w 172"/>
                <a:gd name="T1" fmla="*/ 61 h 74"/>
                <a:gd name="T2" fmla="*/ 109 w 172"/>
                <a:gd name="T3" fmla="*/ 61 h 74"/>
                <a:gd name="T4" fmla="*/ 99 w 172"/>
                <a:gd name="T5" fmla="*/ 61 h 74"/>
                <a:gd name="T6" fmla="*/ 90 w 172"/>
                <a:gd name="T7" fmla="*/ 61 h 74"/>
                <a:gd name="T8" fmla="*/ 80 w 172"/>
                <a:gd name="T9" fmla="*/ 61 h 74"/>
                <a:gd name="T10" fmla="*/ 60 w 172"/>
                <a:gd name="T11" fmla="*/ 74 h 74"/>
                <a:gd name="T12" fmla="*/ 33 w 172"/>
                <a:gd name="T13" fmla="*/ 74 h 74"/>
                <a:gd name="T14" fmla="*/ 36 w 172"/>
                <a:gd name="T15" fmla="*/ 61 h 74"/>
                <a:gd name="T16" fmla="*/ 39 w 172"/>
                <a:gd name="T17" fmla="*/ 49 h 74"/>
                <a:gd name="T18" fmla="*/ 30 w 172"/>
                <a:gd name="T19" fmla="*/ 49 h 74"/>
                <a:gd name="T20" fmla="*/ 23 w 172"/>
                <a:gd name="T21" fmla="*/ 48 h 74"/>
                <a:gd name="T22" fmla="*/ 15 w 172"/>
                <a:gd name="T23" fmla="*/ 47 h 74"/>
                <a:gd name="T24" fmla="*/ 9 w 172"/>
                <a:gd name="T25" fmla="*/ 45 h 74"/>
                <a:gd name="T26" fmla="*/ 5 w 172"/>
                <a:gd name="T27" fmla="*/ 42 h 74"/>
                <a:gd name="T28" fmla="*/ 2 w 172"/>
                <a:gd name="T29" fmla="*/ 39 h 74"/>
                <a:gd name="T30" fmla="*/ 1 w 172"/>
                <a:gd name="T31" fmla="*/ 35 h 74"/>
                <a:gd name="T32" fmla="*/ 0 w 172"/>
                <a:gd name="T33" fmla="*/ 31 h 74"/>
                <a:gd name="T34" fmla="*/ 1 w 172"/>
                <a:gd name="T35" fmla="*/ 26 h 74"/>
                <a:gd name="T36" fmla="*/ 2 w 172"/>
                <a:gd name="T37" fmla="*/ 21 h 74"/>
                <a:gd name="T38" fmla="*/ 5 w 172"/>
                <a:gd name="T39" fmla="*/ 17 h 74"/>
                <a:gd name="T40" fmla="*/ 8 w 172"/>
                <a:gd name="T41" fmla="*/ 14 h 74"/>
                <a:gd name="T42" fmla="*/ 13 w 172"/>
                <a:gd name="T43" fmla="*/ 10 h 74"/>
                <a:gd name="T44" fmla="*/ 18 w 172"/>
                <a:gd name="T45" fmla="*/ 7 h 74"/>
                <a:gd name="T46" fmla="*/ 24 w 172"/>
                <a:gd name="T47" fmla="*/ 5 h 74"/>
                <a:gd name="T48" fmla="*/ 29 w 172"/>
                <a:gd name="T49" fmla="*/ 4 h 74"/>
                <a:gd name="T50" fmla="*/ 42 w 172"/>
                <a:gd name="T51" fmla="*/ 1 h 74"/>
                <a:gd name="T52" fmla="*/ 56 w 172"/>
                <a:gd name="T53" fmla="*/ 0 h 74"/>
                <a:gd name="T54" fmla="*/ 69 w 172"/>
                <a:gd name="T55" fmla="*/ 0 h 74"/>
                <a:gd name="T56" fmla="*/ 80 w 172"/>
                <a:gd name="T57" fmla="*/ 0 h 74"/>
                <a:gd name="T58" fmla="*/ 94 w 172"/>
                <a:gd name="T59" fmla="*/ 1 h 74"/>
                <a:gd name="T60" fmla="*/ 106 w 172"/>
                <a:gd name="T61" fmla="*/ 4 h 74"/>
                <a:gd name="T62" fmla="*/ 117 w 172"/>
                <a:gd name="T63" fmla="*/ 7 h 74"/>
                <a:gd name="T64" fmla="*/ 128 w 172"/>
                <a:gd name="T65" fmla="*/ 13 h 74"/>
                <a:gd name="T66" fmla="*/ 139 w 172"/>
                <a:gd name="T67" fmla="*/ 17 h 74"/>
                <a:gd name="T68" fmla="*/ 150 w 172"/>
                <a:gd name="T69" fmla="*/ 21 h 74"/>
                <a:gd name="T70" fmla="*/ 161 w 172"/>
                <a:gd name="T71" fmla="*/ 24 h 74"/>
                <a:gd name="T72" fmla="*/ 172 w 172"/>
                <a:gd name="T73" fmla="*/ 25 h 74"/>
                <a:gd name="T74" fmla="*/ 172 w 172"/>
                <a:gd name="T75" fmla="*/ 43 h 74"/>
                <a:gd name="T76" fmla="*/ 169 w 172"/>
                <a:gd name="T77" fmla="*/ 48 h 74"/>
                <a:gd name="T78" fmla="*/ 165 w 172"/>
                <a:gd name="T79" fmla="*/ 53 h 74"/>
                <a:gd name="T80" fmla="*/ 161 w 172"/>
                <a:gd name="T81" fmla="*/ 57 h 74"/>
                <a:gd name="T82" fmla="*/ 158 w 172"/>
                <a:gd name="T83" fmla="*/ 60 h 74"/>
                <a:gd name="T84" fmla="*/ 153 w 172"/>
                <a:gd name="T85" fmla="*/ 62 h 74"/>
                <a:gd name="T86" fmla="*/ 149 w 172"/>
                <a:gd name="T87" fmla="*/ 63 h 74"/>
                <a:gd name="T88" fmla="*/ 146 w 172"/>
                <a:gd name="T89" fmla="*/ 65 h 74"/>
                <a:gd name="T90" fmla="*/ 141 w 172"/>
                <a:gd name="T91" fmla="*/ 65 h 74"/>
                <a:gd name="T92" fmla="*/ 131 w 172"/>
                <a:gd name="T93" fmla="*/ 65 h 74"/>
                <a:gd name="T94" fmla="*/ 121 w 172"/>
                <a:gd name="T95" fmla="*/ 63 h 74"/>
                <a:gd name="T96" fmla="*/ 112 w 172"/>
                <a:gd name="T97" fmla="*/ 59 h 74"/>
                <a:gd name="T98" fmla="*/ 99 w 172"/>
                <a:gd name="T99" fmla="*/ 55 h 74"/>
                <a:gd name="T100" fmla="*/ 106 w 172"/>
                <a:gd name="T101" fmla="*/ 55 h 74"/>
                <a:gd name="T102" fmla="*/ 119 w 172"/>
                <a:gd name="T103" fmla="*/ 6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2" name="Freeform 408">
              <a:extLst>
                <a:ext uri="{FF2B5EF4-FFF2-40B4-BE49-F238E27FC236}">
                  <a16:creationId xmlns:a16="http://schemas.microsoft.com/office/drawing/2014/main" id="{4B01CF04-12C9-49DE-821F-8174B01C63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27 w 120"/>
                <a:gd name="T1" fmla="*/ 49 h 49"/>
                <a:gd name="T2" fmla="*/ 47 w 120"/>
                <a:gd name="T3" fmla="*/ 49 h 49"/>
                <a:gd name="T4" fmla="*/ 64 w 120"/>
                <a:gd name="T5" fmla="*/ 48 h 49"/>
                <a:gd name="T6" fmla="*/ 78 w 120"/>
                <a:gd name="T7" fmla="*/ 46 h 49"/>
                <a:gd name="T8" fmla="*/ 90 w 120"/>
                <a:gd name="T9" fmla="*/ 43 h 49"/>
                <a:gd name="T10" fmla="*/ 96 w 120"/>
                <a:gd name="T11" fmla="*/ 39 h 49"/>
                <a:gd name="T12" fmla="*/ 100 w 120"/>
                <a:gd name="T13" fmla="*/ 37 h 49"/>
                <a:gd name="T14" fmla="*/ 104 w 120"/>
                <a:gd name="T15" fmla="*/ 34 h 49"/>
                <a:gd name="T16" fmla="*/ 108 w 120"/>
                <a:gd name="T17" fmla="*/ 31 h 49"/>
                <a:gd name="T18" fmla="*/ 114 w 120"/>
                <a:gd name="T19" fmla="*/ 22 h 49"/>
                <a:gd name="T20" fmla="*/ 120 w 120"/>
                <a:gd name="T21" fmla="*/ 12 h 49"/>
                <a:gd name="T22" fmla="*/ 102 w 120"/>
                <a:gd name="T23" fmla="*/ 6 h 49"/>
                <a:gd name="T24" fmla="*/ 84 w 120"/>
                <a:gd name="T25" fmla="*/ 3 h 49"/>
                <a:gd name="T26" fmla="*/ 66 w 120"/>
                <a:gd name="T27" fmla="*/ 1 h 49"/>
                <a:gd name="T28" fmla="*/ 50 w 120"/>
                <a:gd name="T29" fmla="*/ 0 h 49"/>
                <a:gd name="T30" fmla="*/ 34 w 120"/>
                <a:gd name="T31" fmla="*/ 1 h 49"/>
                <a:gd name="T32" fmla="*/ 20 w 120"/>
                <a:gd name="T33" fmla="*/ 2 h 49"/>
                <a:gd name="T34" fmla="*/ 9 w 120"/>
                <a:gd name="T35" fmla="*/ 4 h 49"/>
                <a:gd name="T36" fmla="*/ 0 w 120"/>
                <a:gd name="T37" fmla="*/ 6 h 49"/>
                <a:gd name="T38" fmla="*/ 0 w 120"/>
                <a:gd name="T39" fmla="*/ 30 h 49"/>
                <a:gd name="T40" fmla="*/ 2 w 120"/>
                <a:gd name="T41" fmla="*/ 35 h 49"/>
                <a:gd name="T42" fmla="*/ 6 w 120"/>
                <a:gd name="T43" fmla="*/ 38 h 49"/>
                <a:gd name="T44" fmla="*/ 9 w 120"/>
                <a:gd name="T45" fmla="*/ 41 h 49"/>
                <a:gd name="T46" fmla="*/ 13 w 120"/>
                <a:gd name="T47" fmla="*/ 45 h 49"/>
                <a:gd name="T48" fmla="*/ 20 w 120"/>
                <a:gd name="T49" fmla="*/ 48 h 49"/>
                <a:gd name="T50" fmla="*/ 27 w 120"/>
                <a:gd name="T5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3" name="Freeform 409">
              <a:extLst>
                <a:ext uri="{FF2B5EF4-FFF2-40B4-BE49-F238E27FC236}">
                  <a16:creationId xmlns:a16="http://schemas.microsoft.com/office/drawing/2014/main" id="{D589E3D8-47C4-4C59-9595-D2DCB674E9A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33 w 85"/>
                <a:gd name="T1" fmla="*/ 0 h 61"/>
                <a:gd name="T2" fmla="*/ 22 w 85"/>
                <a:gd name="T3" fmla="*/ 5 h 61"/>
                <a:gd name="T4" fmla="*/ 11 w 85"/>
                <a:gd name="T5" fmla="*/ 12 h 61"/>
                <a:gd name="T6" fmla="*/ 6 w 85"/>
                <a:gd name="T7" fmla="*/ 17 h 61"/>
                <a:gd name="T8" fmla="*/ 3 w 85"/>
                <a:gd name="T9" fmla="*/ 21 h 61"/>
                <a:gd name="T10" fmla="*/ 0 w 85"/>
                <a:gd name="T11" fmla="*/ 25 h 61"/>
                <a:gd name="T12" fmla="*/ 0 w 85"/>
                <a:gd name="T13" fmla="*/ 31 h 61"/>
                <a:gd name="T14" fmla="*/ 0 w 85"/>
                <a:gd name="T15" fmla="*/ 34 h 61"/>
                <a:gd name="T16" fmla="*/ 1 w 85"/>
                <a:gd name="T17" fmla="*/ 37 h 61"/>
                <a:gd name="T18" fmla="*/ 2 w 85"/>
                <a:gd name="T19" fmla="*/ 40 h 61"/>
                <a:gd name="T20" fmla="*/ 5 w 85"/>
                <a:gd name="T21" fmla="*/ 43 h 61"/>
                <a:gd name="T22" fmla="*/ 11 w 85"/>
                <a:gd name="T23" fmla="*/ 48 h 61"/>
                <a:gd name="T24" fmla="*/ 18 w 85"/>
                <a:gd name="T25" fmla="*/ 53 h 61"/>
                <a:gd name="T26" fmla="*/ 27 w 85"/>
                <a:gd name="T27" fmla="*/ 56 h 61"/>
                <a:gd name="T28" fmla="*/ 36 w 85"/>
                <a:gd name="T29" fmla="*/ 59 h 61"/>
                <a:gd name="T30" fmla="*/ 45 w 85"/>
                <a:gd name="T31" fmla="*/ 61 h 61"/>
                <a:gd name="T32" fmla="*/ 53 w 85"/>
                <a:gd name="T33" fmla="*/ 61 h 61"/>
                <a:gd name="T34" fmla="*/ 56 w 85"/>
                <a:gd name="T35" fmla="*/ 61 h 61"/>
                <a:gd name="T36" fmla="*/ 59 w 85"/>
                <a:gd name="T37" fmla="*/ 60 h 61"/>
                <a:gd name="T38" fmla="*/ 62 w 85"/>
                <a:gd name="T39" fmla="*/ 59 h 61"/>
                <a:gd name="T40" fmla="*/ 66 w 85"/>
                <a:gd name="T41" fmla="*/ 57 h 61"/>
                <a:gd name="T42" fmla="*/ 72 w 85"/>
                <a:gd name="T43" fmla="*/ 52 h 61"/>
                <a:gd name="T44" fmla="*/ 77 w 85"/>
                <a:gd name="T45" fmla="*/ 47 h 61"/>
                <a:gd name="T46" fmla="*/ 80 w 85"/>
                <a:gd name="T47" fmla="*/ 40 h 61"/>
                <a:gd name="T48" fmla="*/ 83 w 85"/>
                <a:gd name="T49" fmla="*/ 33 h 61"/>
                <a:gd name="T50" fmla="*/ 85 w 85"/>
                <a:gd name="T51" fmla="*/ 25 h 61"/>
                <a:gd name="T52" fmla="*/ 85 w 85"/>
                <a:gd name="T53" fmla="*/ 18 h 61"/>
                <a:gd name="T54" fmla="*/ 33 w 85"/>
                <a:gd name="T5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4" name="Freeform 410">
              <a:extLst>
                <a:ext uri="{FF2B5EF4-FFF2-40B4-BE49-F238E27FC236}">
                  <a16:creationId xmlns:a16="http://schemas.microsoft.com/office/drawing/2014/main" id="{7C7B6A13-1164-4C60-806A-01C36BC37C6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6 h 19"/>
                <a:gd name="T2" fmla="*/ 7 w 100"/>
                <a:gd name="T3" fmla="*/ 11 h 19"/>
                <a:gd name="T4" fmla="*/ 13 w 100"/>
                <a:gd name="T5" fmla="*/ 15 h 19"/>
                <a:gd name="T6" fmla="*/ 21 w 100"/>
                <a:gd name="T7" fmla="*/ 18 h 19"/>
                <a:gd name="T8" fmla="*/ 27 w 100"/>
                <a:gd name="T9" fmla="*/ 19 h 19"/>
                <a:gd name="T10" fmla="*/ 100 w 100"/>
                <a:gd name="T11" fmla="*/ 6 h 19"/>
                <a:gd name="T12" fmla="*/ 73 w 100"/>
                <a:gd name="T13" fmla="*/ 2 h 19"/>
                <a:gd name="T14" fmla="*/ 47 w 100"/>
                <a:gd name="T15" fmla="*/ 0 h 19"/>
                <a:gd name="T16" fmla="*/ 36 w 100"/>
                <a:gd name="T17" fmla="*/ 0 h 19"/>
                <a:gd name="T18" fmla="*/ 24 w 100"/>
                <a:gd name="T19" fmla="*/ 1 h 19"/>
                <a:gd name="T20" fmla="*/ 12 w 100"/>
                <a:gd name="T21" fmla="*/ 3 h 19"/>
                <a:gd name="T22" fmla="*/ 0 w 100"/>
                <a:gd name="T23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5" name="Freeform 411">
              <a:extLst>
                <a:ext uri="{FF2B5EF4-FFF2-40B4-BE49-F238E27FC236}">
                  <a16:creationId xmlns:a16="http://schemas.microsoft.com/office/drawing/2014/main" id="{1374EAF2-9EDD-42D5-A359-9A1A7962A53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27 h 45"/>
                <a:gd name="T2" fmla="*/ 0 w 166"/>
                <a:gd name="T3" fmla="*/ 29 h 45"/>
                <a:gd name="T4" fmla="*/ 3 w 166"/>
                <a:gd name="T5" fmla="*/ 31 h 45"/>
                <a:gd name="T6" fmla="*/ 8 w 166"/>
                <a:gd name="T7" fmla="*/ 33 h 45"/>
                <a:gd name="T8" fmla="*/ 13 w 166"/>
                <a:gd name="T9" fmla="*/ 35 h 45"/>
                <a:gd name="T10" fmla="*/ 27 w 166"/>
                <a:gd name="T11" fmla="*/ 38 h 45"/>
                <a:gd name="T12" fmla="*/ 44 w 166"/>
                <a:gd name="T13" fmla="*/ 41 h 45"/>
                <a:gd name="T14" fmla="*/ 75 w 166"/>
                <a:gd name="T15" fmla="*/ 44 h 45"/>
                <a:gd name="T16" fmla="*/ 92 w 166"/>
                <a:gd name="T17" fmla="*/ 45 h 45"/>
                <a:gd name="T18" fmla="*/ 166 w 166"/>
                <a:gd name="T19" fmla="*/ 27 h 45"/>
                <a:gd name="T20" fmla="*/ 157 w 166"/>
                <a:gd name="T21" fmla="*/ 25 h 45"/>
                <a:gd name="T22" fmla="*/ 137 w 166"/>
                <a:gd name="T23" fmla="*/ 19 h 45"/>
                <a:gd name="T24" fmla="*/ 110 w 166"/>
                <a:gd name="T25" fmla="*/ 11 h 45"/>
                <a:gd name="T26" fmla="*/ 80 w 166"/>
                <a:gd name="T27" fmla="*/ 4 h 45"/>
                <a:gd name="T28" fmla="*/ 65 w 166"/>
                <a:gd name="T29" fmla="*/ 2 h 45"/>
                <a:gd name="T30" fmla="*/ 50 w 166"/>
                <a:gd name="T31" fmla="*/ 1 h 45"/>
                <a:gd name="T32" fmla="*/ 36 w 166"/>
                <a:gd name="T33" fmla="*/ 0 h 45"/>
                <a:gd name="T34" fmla="*/ 24 w 166"/>
                <a:gd name="T35" fmla="*/ 2 h 45"/>
                <a:gd name="T36" fmla="*/ 19 w 166"/>
                <a:gd name="T37" fmla="*/ 3 h 45"/>
                <a:gd name="T38" fmla="*/ 14 w 166"/>
                <a:gd name="T39" fmla="*/ 5 h 45"/>
                <a:gd name="T40" fmla="*/ 10 w 166"/>
                <a:gd name="T41" fmla="*/ 7 h 45"/>
                <a:gd name="T42" fmla="*/ 7 w 166"/>
                <a:gd name="T43" fmla="*/ 10 h 45"/>
                <a:gd name="T44" fmla="*/ 3 w 166"/>
                <a:gd name="T45" fmla="*/ 13 h 45"/>
                <a:gd name="T46" fmla="*/ 1 w 166"/>
                <a:gd name="T47" fmla="*/ 17 h 45"/>
                <a:gd name="T48" fmla="*/ 0 w 166"/>
                <a:gd name="T49" fmla="*/ 22 h 45"/>
                <a:gd name="T50" fmla="*/ 0 w 166"/>
                <a:gd name="T51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6" name="Freeform 412">
              <a:extLst>
                <a:ext uri="{FF2B5EF4-FFF2-40B4-BE49-F238E27FC236}">
                  <a16:creationId xmlns:a16="http://schemas.microsoft.com/office/drawing/2014/main" id="{F816E804-0734-4869-8950-39E15B2E983F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9 h 25"/>
                <a:gd name="T4" fmla="*/ 3 w 33"/>
                <a:gd name="T5" fmla="*/ 15 h 25"/>
                <a:gd name="T6" fmla="*/ 6 w 33"/>
                <a:gd name="T7" fmla="*/ 20 h 25"/>
                <a:gd name="T8" fmla="*/ 11 w 33"/>
                <a:gd name="T9" fmla="*/ 22 h 25"/>
                <a:gd name="T10" fmla="*/ 16 w 33"/>
                <a:gd name="T11" fmla="*/ 24 h 25"/>
                <a:gd name="T12" fmla="*/ 22 w 33"/>
                <a:gd name="T13" fmla="*/ 25 h 25"/>
                <a:gd name="T14" fmla="*/ 27 w 33"/>
                <a:gd name="T15" fmla="*/ 25 h 25"/>
                <a:gd name="T16" fmla="*/ 33 w 33"/>
                <a:gd name="T17" fmla="*/ 25 h 25"/>
                <a:gd name="T18" fmla="*/ 33 w 33"/>
                <a:gd name="T19" fmla="*/ 0 h 25"/>
                <a:gd name="T20" fmla="*/ 24 w 33"/>
                <a:gd name="T21" fmla="*/ 0 h 25"/>
                <a:gd name="T22" fmla="*/ 16 w 33"/>
                <a:gd name="T23" fmla="*/ 0 h 25"/>
                <a:gd name="T24" fmla="*/ 9 w 33"/>
                <a:gd name="T25" fmla="*/ 0 h 25"/>
                <a:gd name="T26" fmla="*/ 0 w 33"/>
                <a:gd name="T2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7" name="Freeform 413">
              <a:extLst>
                <a:ext uri="{FF2B5EF4-FFF2-40B4-BE49-F238E27FC236}">
                  <a16:creationId xmlns:a16="http://schemas.microsoft.com/office/drawing/2014/main" id="{2C73AA7E-4DD9-49C0-ABB8-EE4193E315A7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62 h 62"/>
                <a:gd name="T2" fmla="*/ 12 w 48"/>
                <a:gd name="T3" fmla="*/ 56 h 62"/>
                <a:gd name="T4" fmla="*/ 22 w 48"/>
                <a:gd name="T5" fmla="*/ 50 h 62"/>
                <a:gd name="T6" fmla="*/ 30 w 48"/>
                <a:gd name="T7" fmla="*/ 43 h 62"/>
                <a:gd name="T8" fmla="*/ 37 w 48"/>
                <a:gd name="T9" fmla="*/ 36 h 62"/>
                <a:gd name="T10" fmla="*/ 41 w 48"/>
                <a:gd name="T11" fmla="*/ 28 h 62"/>
                <a:gd name="T12" fmla="*/ 44 w 48"/>
                <a:gd name="T13" fmla="*/ 19 h 62"/>
                <a:gd name="T14" fmla="*/ 47 w 48"/>
                <a:gd name="T15" fmla="*/ 9 h 62"/>
                <a:gd name="T16" fmla="*/ 48 w 48"/>
                <a:gd name="T17" fmla="*/ 0 h 62"/>
                <a:gd name="T18" fmla="*/ 40 w 48"/>
                <a:gd name="T19" fmla="*/ 3 h 62"/>
                <a:gd name="T20" fmla="*/ 32 w 48"/>
                <a:gd name="T21" fmla="*/ 6 h 62"/>
                <a:gd name="T22" fmla="*/ 23 w 48"/>
                <a:gd name="T23" fmla="*/ 10 h 62"/>
                <a:gd name="T24" fmla="*/ 17 w 48"/>
                <a:gd name="T25" fmla="*/ 15 h 62"/>
                <a:gd name="T26" fmla="*/ 10 w 48"/>
                <a:gd name="T27" fmla="*/ 21 h 62"/>
                <a:gd name="T28" fmla="*/ 6 w 48"/>
                <a:gd name="T29" fmla="*/ 27 h 62"/>
                <a:gd name="T30" fmla="*/ 4 w 48"/>
                <a:gd name="T31" fmla="*/ 31 h 62"/>
                <a:gd name="T32" fmla="*/ 3 w 48"/>
                <a:gd name="T33" fmla="*/ 35 h 62"/>
                <a:gd name="T34" fmla="*/ 1 w 48"/>
                <a:gd name="T35" fmla="*/ 39 h 62"/>
                <a:gd name="T36" fmla="*/ 0 w 48"/>
                <a:gd name="T37" fmla="*/ 43 h 62"/>
                <a:gd name="T38" fmla="*/ 0 w 48"/>
                <a:gd name="T39" fmla="*/ 52 h 62"/>
                <a:gd name="T40" fmla="*/ 0 w 48"/>
                <a:gd name="T4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8" name="Freeform 414">
              <a:extLst>
                <a:ext uri="{FF2B5EF4-FFF2-40B4-BE49-F238E27FC236}">
                  <a16:creationId xmlns:a16="http://schemas.microsoft.com/office/drawing/2014/main" id="{1F00B58D-BDEC-444D-B5F9-DEC227C7C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47 w 113"/>
                <a:gd name="T1" fmla="*/ 0 h 62"/>
                <a:gd name="T2" fmla="*/ 36 w 113"/>
                <a:gd name="T3" fmla="*/ 7 h 62"/>
                <a:gd name="T4" fmla="*/ 23 w 113"/>
                <a:gd name="T5" fmla="*/ 17 h 62"/>
                <a:gd name="T6" fmla="*/ 11 w 113"/>
                <a:gd name="T7" fmla="*/ 27 h 62"/>
                <a:gd name="T8" fmla="*/ 0 w 113"/>
                <a:gd name="T9" fmla="*/ 37 h 62"/>
                <a:gd name="T10" fmla="*/ 22 w 113"/>
                <a:gd name="T11" fmla="*/ 46 h 62"/>
                <a:gd name="T12" fmla="*/ 41 w 113"/>
                <a:gd name="T13" fmla="*/ 54 h 62"/>
                <a:gd name="T14" fmla="*/ 51 w 113"/>
                <a:gd name="T15" fmla="*/ 57 h 62"/>
                <a:gd name="T16" fmla="*/ 62 w 113"/>
                <a:gd name="T17" fmla="*/ 59 h 62"/>
                <a:gd name="T18" fmla="*/ 73 w 113"/>
                <a:gd name="T19" fmla="*/ 61 h 62"/>
                <a:gd name="T20" fmla="*/ 87 w 113"/>
                <a:gd name="T21" fmla="*/ 62 h 62"/>
                <a:gd name="T22" fmla="*/ 97 w 113"/>
                <a:gd name="T23" fmla="*/ 61 h 62"/>
                <a:gd name="T24" fmla="*/ 106 w 113"/>
                <a:gd name="T25" fmla="*/ 58 h 62"/>
                <a:gd name="T26" fmla="*/ 109 w 113"/>
                <a:gd name="T27" fmla="*/ 56 h 62"/>
                <a:gd name="T28" fmla="*/ 111 w 113"/>
                <a:gd name="T29" fmla="*/ 54 h 62"/>
                <a:gd name="T30" fmla="*/ 113 w 113"/>
                <a:gd name="T31" fmla="*/ 52 h 62"/>
                <a:gd name="T32" fmla="*/ 113 w 113"/>
                <a:gd name="T33" fmla="*/ 49 h 62"/>
                <a:gd name="T34" fmla="*/ 91 w 113"/>
                <a:gd name="T35" fmla="*/ 41 h 62"/>
                <a:gd name="T36" fmla="*/ 70 w 113"/>
                <a:gd name="T37" fmla="*/ 32 h 62"/>
                <a:gd name="T38" fmla="*/ 65 w 113"/>
                <a:gd name="T39" fmla="*/ 29 h 62"/>
                <a:gd name="T40" fmla="*/ 61 w 113"/>
                <a:gd name="T41" fmla="*/ 26 h 62"/>
                <a:gd name="T42" fmla="*/ 57 w 113"/>
                <a:gd name="T43" fmla="*/ 23 h 62"/>
                <a:gd name="T44" fmla="*/ 54 w 113"/>
                <a:gd name="T45" fmla="*/ 20 h 62"/>
                <a:gd name="T46" fmla="*/ 51 w 113"/>
                <a:gd name="T47" fmla="*/ 16 h 62"/>
                <a:gd name="T48" fmla="*/ 48 w 113"/>
                <a:gd name="T49" fmla="*/ 10 h 62"/>
                <a:gd name="T50" fmla="*/ 47 w 113"/>
                <a:gd name="T51" fmla="*/ 5 h 62"/>
                <a:gd name="T52" fmla="*/ 47 w 113"/>
                <a:gd name="T5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09" name="Freeform 415">
              <a:extLst>
                <a:ext uri="{FF2B5EF4-FFF2-40B4-BE49-F238E27FC236}">
                  <a16:creationId xmlns:a16="http://schemas.microsoft.com/office/drawing/2014/main" id="{80261985-040D-4FC6-B36C-856F278038F8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15 w 93"/>
                <a:gd name="T3" fmla="*/ 0 h 50"/>
                <a:gd name="T4" fmla="*/ 30 w 93"/>
                <a:gd name="T5" fmla="*/ 1 h 50"/>
                <a:gd name="T6" fmla="*/ 45 w 93"/>
                <a:gd name="T7" fmla="*/ 2 h 50"/>
                <a:gd name="T8" fmla="*/ 59 w 93"/>
                <a:gd name="T9" fmla="*/ 5 h 50"/>
                <a:gd name="T10" fmla="*/ 64 w 93"/>
                <a:gd name="T11" fmla="*/ 7 h 50"/>
                <a:gd name="T12" fmla="*/ 71 w 93"/>
                <a:gd name="T13" fmla="*/ 9 h 50"/>
                <a:gd name="T14" fmla="*/ 75 w 93"/>
                <a:gd name="T15" fmla="*/ 12 h 50"/>
                <a:gd name="T16" fmla="*/ 81 w 93"/>
                <a:gd name="T17" fmla="*/ 16 h 50"/>
                <a:gd name="T18" fmla="*/ 85 w 93"/>
                <a:gd name="T19" fmla="*/ 20 h 50"/>
                <a:gd name="T20" fmla="*/ 89 w 93"/>
                <a:gd name="T21" fmla="*/ 25 h 50"/>
                <a:gd name="T22" fmla="*/ 91 w 93"/>
                <a:gd name="T23" fmla="*/ 30 h 50"/>
                <a:gd name="T24" fmla="*/ 93 w 93"/>
                <a:gd name="T25" fmla="*/ 37 h 50"/>
                <a:gd name="T26" fmla="*/ 79 w 93"/>
                <a:gd name="T27" fmla="*/ 37 h 50"/>
                <a:gd name="T28" fmla="*/ 68 w 93"/>
                <a:gd name="T29" fmla="*/ 39 h 50"/>
                <a:gd name="T30" fmla="*/ 60 w 93"/>
                <a:gd name="T31" fmla="*/ 41 h 50"/>
                <a:gd name="T32" fmla="*/ 52 w 93"/>
                <a:gd name="T33" fmla="*/ 43 h 50"/>
                <a:gd name="T34" fmla="*/ 42 w 93"/>
                <a:gd name="T35" fmla="*/ 47 h 50"/>
                <a:gd name="T36" fmla="*/ 33 w 93"/>
                <a:gd name="T37" fmla="*/ 50 h 50"/>
                <a:gd name="T38" fmla="*/ 30 w 93"/>
                <a:gd name="T39" fmla="*/ 50 h 50"/>
                <a:gd name="T40" fmla="*/ 28 w 93"/>
                <a:gd name="T41" fmla="*/ 48 h 50"/>
                <a:gd name="T42" fmla="*/ 26 w 93"/>
                <a:gd name="T43" fmla="*/ 47 h 50"/>
                <a:gd name="T44" fmla="*/ 25 w 93"/>
                <a:gd name="T45" fmla="*/ 45 h 50"/>
                <a:gd name="T46" fmla="*/ 23 w 93"/>
                <a:gd name="T47" fmla="*/ 41 h 50"/>
                <a:gd name="T48" fmla="*/ 22 w 93"/>
                <a:gd name="T49" fmla="*/ 36 h 50"/>
                <a:gd name="T50" fmla="*/ 22 w 93"/>
                <a:gd name="T51" fmla="*/ 31 h 50"/>
                <a:gd name="T52" fmla="*/ 23 w 93"/>
                <a:gd name="T53" fmla="*/ 26 h 50"/>
                <a:gd name="T54" fmla="*/ 24 w 93"/>
                <a:gd name="T55" fmla="*/ 22 h 50"/>
                <a:gd name="T56" fmla="*/ 26 w 93"/>
                <a:gd name="T57" fmla="*/ 19 h 50"/>
                <a:gd name="T58" fmla="*/ 0 w 93"/>
                <a:gd name="T59" fmla="*/ 19 h 50"/>
                <a:gd name="T60" fmla="*/ 0 w 93"/>
                <a:gd name="T6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0" name="Freeform 416">
              <a:extLst>
                <a:ext uri="{FF2B5EF4-FFF2-40B4-BE49-F238E27FC236}">
                  <a16:creationId xmlns:a16="http://schemas.microsoft.com/office/drawing/2014/main" id="{9529DBF2-8C07-4F06-8D4C-240938187B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20 w 1029"/>
                <a:gd name="T1" fmla="*/ 112 h 604"/>
                <a:gd name="T2" fmla="*/ 67 w 1029"/>
                <a:gd name="T3" fmla="*/ 60 h 604"/>
                <a:gd name="T4" fmla="*/ 266 w 1029"/>
                <a:gd name="T5" fmla="*/ 0 h 604"/>
                <a:gd name="T6" fmla="*/ 205 w 1029"/>
                <a:gd name="T7" fmla="*/ 47 h 604"/>
                <a:gd name="T8" fmla="*/ 180 w 1029"/>
                <a:gd name="T9" fmla="*/ 105 h 604"/>
                <a:gd name="T10" fmla="*/ 274 w 1029"/>
                <a:gd name="T11" fmla="*/ 60 h 604"/>
                <a:gd name="T12" fmla="*/ 397 w 1029"/>
                <a:gd name="T13" fmla="*/ 14 h 604"/>
                <a:gd name="T14" fmla="*/ 438 w 1029"/>
                <a:gd name="T15" fmla="*/ 23 h 604"/>
                <a:gd name="T16" fmla="*/ 433 w 1029"/>
                <a:gd name="T17" fmla="*/ 71 h 604"/>
                <a:gd name="T18" fmla="*/ 581 w 1029"/>
                <a:gd name="T19" fmla="*/ 80 h 604"/>
                <a:gd name="T20" fmla="*/ 675 w 1029"/>
                <a:gd name="T21" fmla="*/ 89 h 604"/>
                <a:gd name="T22" fmla="*/ 749 w 1029"/>
                <a:gd name="T23" fmla="*/ 111 h 604"/>
                <a:gd name="T24" fmla="*/ 749 w 1029"/>
                <a:gd name="T25" fmla="*/ 134 h 604"/>
                <a:gd name="T26" fmla="*/ 711 w 1029"/>
                <a:gd name="T27" fmla="*/ 184 h 604"/>
                <a:gd name="T28" fmla="*/ 799 w 1029"/>
                <a:gd name="T29" fmla="*/ 168 h 604"/>
                <a:gd name="T30" fmla="*/ 866 w 1029"/>
                <a:gd name="T31" fmla="*/ 191 h 604"/>
                <a:gd name="T32" fmla="*/ 856 w 1029"/>
                <a:gd name="T33" fmla="*/ 239 h 604"/>
                <a:gd name="T34" fmla="*/ 788 w 1029"/>
                <a:gd name="T35" fmla="*/ 248 h 604"/>
                <a:gd name="T36" fmla="*/ 859 w 1029"/>
                <a:gd name="T37" fmla="*/ 284 h 604"/>
                <a:gd name="T38" fmla="*/ 903 w 1029"/>
                <a:gd name="T39" fmla="*/ 327 h 604"/>
                <a:gd name="T40" fmla="*/ 977 w 1029"/>
                <a:gd name="T41" fmla="*/ 329 h 604"/>
                <a:gd name="T42" fmla="*/ 1029 w 1029"/>
                <a:gd name="T43" fmla="*/ 351 h 604"/>
                <a:gd name="T44" fmla="*/ 939 w 1029"/>
                <a:gd name="T45" fmla="*/ 409 h 604"/>
                <a:gd name="T46" fmla="*/ 899 w 1029"/>
                <a:gd name="T47" fmla="*/ 417 h 604"/>
                <a:gd name="T48" fmla="*/ 874 w 1029"/>
                <a:gd name="T49" fmla="*/ 443 h 604"/>
                <a:gd name="T50" fmla="*/ 830 w 1029"/>
                <a:gd name="T51" fmla="*/ 414 h 604"/>
                <a:gd name="T52" fmla="*/ 851 w 1029"/>
                <a:gd name="T53" fmla="*/ 393 h 604"/>
                <a:gd name="T54" fmla="*/ 792 w 1029"/>
                <a:gd name="T55" fmla="*/ 379 h 604"/>
                <a:gd name="T56" fmla="*/ 759 w 1029"/>
                <a:gd name="T57" fmla="*/ 364 h 604"/>
                <a:gd name="T58" fmla="*/ 744 w 1029"/>
                <a:gd name="T59" fmla="*/ 394 h 604"/>
                <a:gd name="T60" fmla="*/ 747 w 1029"/>
                <a:gd name="T61" fmla="*/ 445 h 604"/>
                <a:gd name="T62" fmla="*/ 795 w 1029"/>
                <a:gd name="T63" fmla="*/ 523 h 604"/>
                <a:gd name="T64" fmla="*/ 771 w 1029"/>
                <a:gd name="T65" fmla="*/ 547 h 604"/>
                <a:gd name="T66" fmla="*/ 708 w 1029"/>
                <a:gd name="T67" fmla="*/ 556 h 604"/>
                <a:gd name="T68" fmla="*/ 618 w 1029"/>
                <a:gd name="T69" fmla="*/ 517 h 604"/>
                <a:gd name="T70" fmla="*/ 668 w 1029"/>
                <a:gd name="T71" fmla="*/ 567 h 604"/>
                <a:gd name="T72" fmla="*/ 665 w 1029"/>
                <a:gd name="T73" fmla="*/ 604 h 604"/>
                <a:gd name="T74" fmla="*/ 518 w 1029"/>
                <a:gd name="T75" fmla="*/ 570 h 604"/>
                <a:gd name="T76" fmla="*/ 471 w 1029"/>
                <a:gd name="T77" fmla="*/ 523 h 604"/>
                <a:gd name="T78" fmla="*/ 410 w 1029"/>
                <a:gd name="T79" fmla="*/ 473 h 604"/>
                <a:gd name="T80" fmla="*/ 367 w 1029"/>
                <a:gd name="T81" fmla="*/ 453 h 604"/>
                <a:gd name="T82" fmla="*/ 392 w 1029"/>
                <a:gd name="T83" fmla="*/ 433 h 604"/>
                <a:gd name="T84" fmla="*/ 459 w 1029"/>
                <a:gd name="T85" fmla="*/ 399 h 604"/>
                <a:gd name="T86" fmla="*/ 500 w 1029"/>
                <a:gd name="T87" fmla="*/ 378 h 604"/>
                <a:gd name="T88" fmla="*/ 577 w 1029"/>
                <a:gd name="T89" fmla="*/ 380 h 604"/>
                <a:gd name="T90" fmla="*/ 614 w 1029"/>
                <a:gd name="T91" fmla="*/ 395 h 604"/>
                <a:gd name="T92" fmla="*/ 687 w 1029"/>
                <a:gd name="T93" fmla="*/ 387 h 604"/>
                <a:gd name="T94" fmla="*/ 581 w 1029"/>
                <a:gd name="T95" fmla="*/ 355 h 604"/>
                <a:gd name="T96" fmla="*/ 542 w 1029"/>
                <a:gd name="T97" fmla="*/ 361 h 604"/>
                <a:gd name="T98" fmla="*/ 539 w 1029"/>
                <a:gd name="T99" fmla="*/ 350 h 604"/>
                <a:gd name="T100" fmla="*/ 576 w 1029"/>
                <a:gd name="T101" fmla="*/ 306 h 604"/>
                <a:gd name="T102" fmla="*/ 576 w 1029"/>
                <a:gd name="T103" fmla="*/ 274 h 604"/>
                <a:gd name="T104" fmla="*/ 524 w 1029"/>
                <a:gd name="T105" fmla="*/ 254 h 604"/>
                <a:gd name="T106" fmla="*/ 473 w 1029"/>
                <a:gd name="T107" fmla="*/ 198 h 604"/>
                <a:gd name="T108" fmla="*/ 434 w 1029"/>
                <a:gd name="T109" fmla="*/ 168 h 604"/>
                <a:gd name="T110" fmla="*/ 408 w 1029"/>
                <a:gd name="T111" fmla="*/ 163 h 604"/>
                <a:gd name="T112" fmla="*/ 378 w 1029"/>
                <a:gd name="T113" fmla="*/ 203 h 604"/>
                <a:gd name="T114" fmla="*/ 207 w 1029"/>
                <a:gd name="T115" fmla="*/ 174 h 604"/>
                <a:gd name="T116" fmla="*/ 114 w 1029"/>
                <a:gd name="T117" fmla="*/ 189 h 604"/>
                <a:gd name="T118" fmla="*/ 79 w 1029"/>
                <a:gd name="T119" fmla="*/ 187 h 604"/>
                <a:gd name="T120" fmla="*/ 16 w 1029"/>
                <a:gd name="T121" fmla="*/ 180 h 604"/>
                <a:gd name="T122" fmla="*/ 9 w 1029"/>
                <a:gd name="T123" fmla="*/ 158 h 604"/>
                <a:gd name="T124" fmla="*/ 75 w 1029"/>
                <a:gd name="T125" fmla="*/ 149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1" name="Freeform 417">
              <a:extLst>
                <a:ext uri="{FF2B5EF4-FFF2-40B4-BE49-F238E27FC236}">
                  <a16:creationId xmlns:a16="http://schemas.microsoft.com/office/drawing/2014/main" id="{8AC20E8F-8049-44D3-A003-924AA921F0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797 w 1268"/>
                <a:gd name="T1" fmla="*/ 38 h 321"/>
                <a:gd name="T2" fmla="*/ 813 w 1268"/>
                <a:gd name="T3" fmla="*/ 16 h 321"/>
                <a:gd name="T4" fmla="*/ 846 w 1268"/>
                <a:gd name="T5" fmla="*/ 10 h 321"/>
                <a:gd name="T6" fmla="*/ 865 w 1268"/>
                <a:gd name="T7" fmla="*/ 25 h 321"/>
                <a:gd name="T8" fmla="*/ 938 w 1268"/>
                <a:gd name="T9" fmla="*/ 14 h 321"/>
                <a:gd name="T10" fmla="*/ 1020 w 1268"/>
                <a:gd name="T11" fmla="*/ 1 h 321"/>
                <a:gd name="T12" fmla="*/ 1084 w 1268"/>
                <a:gd name="T13" fmla="*/ 17 h 321"/>
                <a:gd name="T14" fmla="*/ 1133 w 1268"/>
                <a:gd name="T15" fmla="*/ 20 h 321"/>
                <a:gd name="T16" fmla="*/ 1268 w 1268"/>
                <a:gd name="T17" fmla="*/ 32 h 321"/>
                <a:gd name="T18" fmla="*/ 1242 w 1268"/>
                <a:gd name="T19" fmla="*/ 50 h 321"/>
                <a:gd name="T20" fmla="*/ 1163 w 1268"/>
                <a:gd name="T21" fmla="*/ 64 h 321"/>
                <a:gd name="T22" fmla="*/ 1053 w 1268"/>
                <a:gd name="T23" fmla="*/ 77 h 321"/>
                <a:gd name="T24" fmla="*/ 1029 w 1268"/>
                <a:gd name="T25" fmla="*/ 96 h 321"/>
                <a:gd name="T26" fmla="*/ 999 w 1268"/>
                <a:gd name="T27" fmla="*/ 104 h 321"/>
                <a:gd name="T28" fmla="*/ 942 w 1268"/>
                <a:gd name="T29" fmla="*/ 102 h 321"/>
                <a:gd name="T30" fmla="*/ 930 w 1268"/>
                <a:gd name="T31" fmla="*/ 118 h 321"/>
                <a:gd name="T32" fmla="*/ 747 w 1268"/>
                <a:gd name="T33" fmla="*/ 133 h 321"/>
                <a:gd name="T34" fmla="*/ 666 w 1268"/>
                <a:gd name="T35" fmla="*/ 156 h 321"/>
                <a:gd name="T36" fmla="*/ 635 w 1268"/>
                <a:gd name="T37" fmla="*/ 181 h 321"/>
                <a:gd name="T38" fmla="*/ 591 w 1268"/>
                <a:gd name="T39" fmla="*/ 167 h 321"/>
                <a:gd name="T40" fmla="*/ 570 w 1268"/>
                <a:gd name="T41" fmla="*/ 181 h 321"/>
                <a:gd name="T42" fmla="*/ 590 w 1268"/>
                <a:gd name="T43" fmla="*/ 207 h 321"/>
                <a:gd name="T44" fmla="*/ 545 w 1268"/>
                <a:gd name="T45" fmla="*/ 237 h 321"/>
                <a:gd name="T46" fmla="*/ 483 w 1268"/>
                <a:gd name="T47" fmla="*/ 236 h 321"/>
                <a:gd name="T48" fmla="*/ 404 w 1268"/>
                <a:gd name="T49" fmla="*/ 242 h 321"/>
                <a:gd name="T50" fmla="*/ 405 w 1268"/>
                <a:gd name="T51" fmla="*/ 257 h 321"/>
                <a:gd name="T52" fmla="*/ 392 w 1268"/>
                <a:gd name="T53" fmla="*/ 293 h 321"/>
                <a:gd name="T54" fmla="*/ 333 w 1268"/>
                <a:gd name="T55" fmla="*/ 320 h 321"/>
                <a:gd name="T56" fmla="*/ 290 w 1268"/>
                <a:gd name="T57" fmla="*/ 296 h 321"/>
                <a:gd name="T58" fmla="*/ 253 w 1268"/>
                <a:gd name="T59" fmla="*/ 285 h 321"/>
                <a:gd name="T60" fmla="*/ 96 w 1268"/>
                <a:gd name="T61" fmla="*/ 276 h 321"/>
                <a:gd name="T62" fmla="*/ 0 w 1268"/>
                <a:gd name="T63" fmla="*/ 285 h 321"/>
                <a:gd name="T64" fmla="*/ 10 w 1268"/>
                <a:gd name="T65" fmla="*/ 266 h 321"/>
                <a:gd name="T66" fmla="*/ 56 w 1268"/>
                <a:gd name="T67" fmla="*/ 246 h 321"/>
                <a:gd name="T68" fmla="*/ 143 w 1268"/>
                <a:gd name="T69" fmla="*/ 235 h 321"/>
                <a:gd name="T70" fmla="*/ 170 w 1268"/>
                <a:gd name="T71" fmla="*/ 225 h 321"/>
                <a:gd name="T72" fmla="*/ 190 w 1268"/>
                <a:gd name="T73" fmla="*/ 217 h 321"/>
                <a:gd name="T74" fmla="*/ 219 w 1268"/>
                <a:gd name="T75" fmla="*/ 232 h 321"/>
                <a:gd name="T76" fmla="*/ 247 w 1268"/>
                <a:gd name="T77" fmla="*/ 247 h 321"/>
                <a:gd name="T78" fmla="*/ 208 w 1268"/>
                <a:gd name="T79" fmla="*/ 207 h 321"/>
                <a:gd name="T80" fmla="*/ 193 w 1268"/>
                <a:gd name="T81" fmla="*/ 200 h 321"/>
                <a:gd name="T82" fmla="*/ 197 w 1268"/>
                <a:gd name="T83" fmla="*/ 181 h 321"/>
                <a:gd name="T84" fmla="*/ 246 w 1268"/>
                <a:gd name="T85" fmla="*/ 174 h 321"/>
                <a:gd name="T86" fmla="*/ 365 w 1268"/>
                <a:gd name="T87" fmla="*/ 186 h 321"/>
                <a:gd name="T88" fmla="*/ 418 w 1268"/>
                <a:gd name="T89" fmla="*/ 174 h 321"/>
                <a:gd name="T90" fmla="*/ 322 w 1268"/>
                <a:gd name="T91" fmla="*/ 169 h 321"/>
                <a:gd name="T92" fmla="*/ 299 w 1268"/>
                <a:gd name="T93" fmla="*/ 149 h 321"/>
                <a:gd name="T94" fmla="*/ 378 w 1268"/>
                <a:gd name="T95" fmla="*/ 137 h 321"/>
                <a:gd name="T96" fmla="*/ 438 w 1268"/>
                <a:gd name="T97" fmla="*/ 155 h 321"/>
                <a:gd name="T98" fmla="*/ 478 w 1268"/>
                <a:gd name="T99" fmla="*/ 124 h 321"/>
                <a:gd name="T100" fmla="*/ 664 w 1268"/>
                <a:gd name="T101" fmla="*/ 87 h 321"/>
                <a:gd name="T102" fmla="*/ 589 w 1268"/>
                <a:gd name="T103" fmla="*/ 110 h 321"/>
                <a:gd name="T104" fmla="*/ 449 w 1268"/>
                <a:gd name="T105" fmla="*/ 111 h 321"/>
                <a:gd name="T106" fmla="*/ 312 w 1268"/>
                <a:gd name="T107" fmla="*/ 116 h 321"/>
                <a:gd name="T108" fmla="*/ 253 w 1268"/>
                <a:gd name="T109" fmla="*/ 101 h 321"/>
                <a:gd name="T110" fmla="*/ 219 w 1268"/>
                <a:gd name="T111" fmla="*/ 80 h 321"/>
                <a:gd name="T112" fmla="*/ 253 w 1268"/>
                <a:gd name="T113" fmla="*/ 71 h 321"/>
                <a:gd name="T114" fmla="*/ 446 w 1268"/>
                <a:gd name="T115" fmla="*/ 47 h 321"/>
                <a:gd name="T116" fmla="*/ 618 w 1268"/>
                <a:gd name="T117" fmla="*/ 32 h 321"/>
                <a:gd name="T118" fmla="*/ 674 w 1268"/>
                <a:gd name="T119" fmla="*/ 20 h 321"/>
                <a:gd name="T120" fmla="*/ 757 w 1268"/>
                <a:gd name="T121" fmla="*/ 26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2" name="Freeform 418">
              <a:extLst>
                <a:ext uri="{FF2B5EF4-FFF2-40B4-BE49-F238E27FC236}">
                  <a16:creationId xmlns:a16="http://schemas.microsoft.com/office/drawing/2014/main" id="{F128ADA9-BD9C-46B5-8C67-DCBB1CE8AA0B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1 w 160"/>
                <a:gd name="T3" fmla="*/ 10 h 117"/>
                <a:gd name="T4" fmla="*/ 4 w 160"/>
                <a:gd name="T5" fmla="*/ 19 h 117"/>
                <a:gd name="T6" fmla="*/ 9 w 160"/>
                <a:gd name="T7" fmla="*/ 29 h 117"/>
                <a:gd name="T8" fmla="*/ 15 w 160"/>
                <a:gd name="T9" fmla="*/ 39 h 117"/>
                <a:gd name="T10" fmla="*/ 22 w 160"/>
                <a:gd name="T11" fmla="*/ 48 h 117"/>
                <a:gd name="T12" fmla="*/ 31 w 160"/>
                <a:gd name="T13" fmla="*/ 59 h 117"/>
                <a:gd name="T14" fmla="*/ 41 w 160"/>
                <a:gd name="T15" fmla="*/ 68 h 117"/>
                <a:gd name="T16" fmla="*/ 51 w 160"/>
                <a:gd name="T17" fmla="*/ 77 h 117"/>
                <a:gd name="T18" fmla="*/ 62 w 160"/>
                <a:gd name="T19" fmla="*/ 85 h 117"/>
                <a:gd name="T20" fmla="*/ 73 w 160"/>
                <a:gd name="T21" fmla="*/ 93 h 117"/>
                <a:gd name="T22" fmla="*/ 84 w 160"/>
                <a:gd name="T23" fmla="*/ 99 h 117"/>
                <a:gd name="T24" fmla="*/ 95 w 160"/>
                <a:gd name="T25" fmla="*/ 105 h 117"/>
                <a:gd name="T26" fmla="*/ 106 w 160"/>
                <a:gd name="T27" fmla="*/ 111 h 117"/>
                <a:gd name="T28" fmla="*/ 116 w 160"/>
                <a:gd name="T29" fmla="*/ 114 h 117"/>
                <a:gd name="T30" fmla="*/ 124 w 160"/>
                <a:gd name="T31" fmla="*/ 117 h 117"/>
                <a:gd name="T32" fmla="*/ 133 w 160"/>
                <a:gd name="T33" fmla="*/ 117 h 117"/>
                <a:gd name="T34" fmla="*/ 139 w 160"/>
                <a:gd name="T35" fmla="*/ 116 h 117"/>
                <a:gd name="T36" fmla="*/ 146 w 160"/>
                <a:gd name="T37" fmla="*/ 113 h 117"/>
                <a:gd name="T38" fmla="*/ 153 w 160"/>
                <a:gd name="T39" fmla="*/ 110 h 117"/>
                <a:gd name="T40" fmla="*/ 160 w 160"/>
                <a:gd name="T41" fmla="*/ 104 h 117"/>
                <a:gd name="T42" fmla="*/ 150 w 160"/>
                <a:gd name="T43" fmla="*/ 91 h 117"/>
                <a:gd name="T44" fmla="*/ 141 w 160"/>
                <a:gd name="T45" fmla="*/ 79 h 117"/>
                <a:gd name="T46" fmla="*/ 138 w 160"/>
                <a:gd name="T47" fmla="*/ 73 h 117"/>
                <a:gd name="T48" fmla="*/ 135 w 160"/>
                <a:gd name="T49" fmla="*/ 66 h 117"/>
                <a:gd name="T50" fmla="*/ 133 w 160"/>
                <a:gd name="T51" fmla="*/ 58 h 117"/>
                <a:gd name="T52" fmla="*/ 133 w 160"/>
                <a:gd name="T53" fmla="*/ 49 h 117"/>
                <a:gd name="T54" fmla="*/ 127 w 160"/>
                <a:gd name="T55" fmla="*/ 48 h 117"/>
                <a:gd name="T56" fmla="*/ 118 w 160"/>
                <a:gd name="T57" fmla="*/ 45 h 117"/>
                <a:gd name="T58" fmla="*/ 108 w 160"/>
                <a:gd name="T59" fmla="*/ 40 h 117"/>
                <a:gd name="T60" fmla="*/ 97 w 160"/>
                <a:gd name="T61" fmla="*/ 34 h 117"/>
                <a:gd name="T62" fmla="*/ 87 w 160"/>
                <a:gd name="T63" fmla="*/ 28 h 117"/>
                <a:gd name="T64" fmla="*/ 77 w 160"/>
                <a:gd name="T65" fmla="*/ 21 h 117"/>
                <a:gd name="T66" fmla="*/ 74 w 160"/>
                <a:gd name="T67" fmla="*/ 17 h 117"/>
                <a:gd name="T68" fmla="*/ 71 w 160"/>
                <a:gd name="T69" fmla="*/ 13 h 117"/>
                <a:gd name="T70" fmla="*/ 68 w 160"/>
                <a:gd name="T71" fmla="*/ 10 h 117"/>
                <a:gd name="T72" fmla="*/ 66 w 160"/>
                <a:gd name="T73" fmla="*/ 6 h 117"/>
                <a:gd name="T74" fmla="*/ 60 w 160"/>
                <a:gd name="T75" fmla="*/ 6 h 117"/>
                <a:gd name="T76" fmla="*/ 52 w 160"/>
                <a:gd name="T77" fmla="*/ 6 h 117"/>
                <a:gd name="T78" fmla="*/ 43 w 160"/>
                <a:gd name="T79" fmla="*/ 4 h 117"/>
                <a:gd name="T80" fmla="*/ 33 w 160"/>
                <a:gd name="T81" fmla="*/ 0 h 117"/>
                <a:gd name="T82" fmla="*/ 0 w 160"/>
                <a:gd name="T8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3" name="Freeform 419">
              <a:extLst>
                <a:ext uri="{FF2B5EF4-FFF2-40B4-BE49-F238E27FC236}">
                  <a16:creationId xmlns:a16="http://schemas.microsoft.com/office/drawing/2014/main" id="{18A4B078-1DC5-4489-9FC8-ECD2D0EDC5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40 w 80"/>
                <a:gd name="T1" fmla="*/ 123 h 141"/>
                <a:gd name="T2" fmla="*/ 80 w 80"/>
                <a:gd name="T3" fmla="*/ 36 h 141"/>
                <a:gd name="T4" fmla="*/ 80 w 80"/>
                <a:gd name="T5" fmla="*/ 18 h 141"/>
                <a:gd name="T6" fmla="*/ 68 w 80"/>
                <a:gd name="T7" fmla="*/ 17 h 141"/>
                <a:gd name="T8" fmla="*/ 59 w 80"/>
                <a:gd name="T9" fmla="*/ 16 h 141"/>
                <a:gd name="T10" fmla="*/ 53 w 80"/>
                <a:gd name="T11" fmla="*/ 14 h 141"/>
                <a:gd name="T12" fmla="*/ 47 w 80"/>
                <a:gd name="T13" fmla="*/ 11 h 141"/>
                <a:gd name="T14" fmla="*/ 44 w 80"/>
                <a:gd name="T15" fmla="*/ 8 h 141"/>
                <a:gd name="T16" fmla="*/ 42 w 80"/>
                <a:gd name="T17" fmla="*/ 5 h 141"/>
                <a:gd name="T18" fmla="*/ 41 w 80"/>
                <a:gd name="T19" fmla="*/ 2 h 141"/>
                <a:gd name="T20" fmla="*/ 40 w 80"/>
                <a:gd name="T21" fmla="*/ 0 h 141"/>
                <a:gd name="T22" fmla="*/ 0 w 80"/>
                <a:gd name="T23" fmla="*/ 0 h 141"/>
                <a:gd name="T24" fmla="*/ 0 w 80"/>
                <a:gd name="T25" fmla="*/ 23 h 141"/>
                <a:gd name="T26" fmla="*/ 0 w 80"/>
                <a:gd name="T27" fmla="*/ 40 h 141"/>
                <a:gd name="T28" fmla="*/ 0 w 80"/>
                <a:gd name="T29" fmla="*/ 52 h 141"/>
                <a:gd name="T30" fmla="*/ 0 w 80"/>
                <a:gd name="T31" fmla="*/ 61 h 141"/>
                <a:gd name="T32" fmla="*/ 1 w 80"/>
                <a:gd name="T33" fmla="*/ 69 h 141"/>
                <a:gd name="T34" fmla="*/ 3 w 80"/>
                <a:gd name="T35" fmla="*/ 78 h 141"/>
                <a:gd name="T36" fmla="*/ 7 w 80"/>
                <a:gd name="T37" fmla="*/ 88 h 141"/>
                <a:gd name="T38" fmla="*/ 11 w 80"/>
                <a:gd name="T39" fmla="*/ 99 h 141"/>
                <a:gd name="T40" fmla="*/ 20 w 80"/>
                <a:gd name="T41" fmla="*/ 121 h 141"/>
                <a:gd name="T42" fmla="*/ 27 w 80"/>
                <a:gd name="T43" fmla="*/ 141 h 141"/>
                <a:gd name="T44" fmla="*/ 31 w 80"/>
                <a:gd name="T45" fmla="*/ 135 h 141"/>
                <a:gd name="T46" fmla="*/ 33 w 80"/>
                <a:gd name="T47" fmla="*/ 129 h 141"/>
                <a:gd name="T48" fmla="*/ 34 w 80"/>
                <a:gd name="T49" fmla="*/ 127 h 141"/>
                <a:gd name="T50" fmla="*/ 36 w 80"/>
                <a:gd name="T51" fmla="*/ 125 h 141"/>
                <a:gd name="T52" fmla="*/ 38 w 80"/>
                <a:gd name="T53" fmla="*/ 123 h 141"/>
                <a:gd name="T54" fmla="*/ 40 w 80"/>
                <a:gd name="T55" fmla="*/ 12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4" name="Freeform 420">
              <a:extLst>
                <a:ext uri="{FF2B5EF4-FFF2-40B4-BE49-F238E27FC236}">
                  <a16:creationId xmlns:a16="http://schemas.microsoft.com/office/drawing/2014/main" id="{92170A2F-D111-48B9-8A7D-916D17BEE7C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93 h 124"/>
                <a:gd name="T2" fmla="*/ 0 w 259"/>
                <a:gd name="T3" fmla="*/ 96 h 124"/>
                <a:gd name="T4" fmla="*/ 2 w 259"/>
                <a:gd name="T5" fmla="*/ 100 h 124"/>
                <a:gd name="T6" fmla="*/ 4 w 259"/>
                <a:gd name="T7" fmla="*/ 103 h 124"/>
                <a:gd name="T8" fmla="*/ 6 w 259"/>
                <a:gd name="T9" fmla="*/ 106 h 124"/>
                <a:gd name="T10" fmla="*/ 14 w 259"/>
                <a:gd name="T11" fmla="*/ 111 h 124"/>
                <a:gd name="T12" fmla="*/ 23 w 259"/>
                <a:gd name="T13" fmla="*/ 115 h 124"/>
                <a:gd name="T14" fmla="*/ 31 w 259"/>
                <a:gd name="T15" fmla="*/ 120 h 124"/>
                <a:gd name="T16" fmla="*/ 41 w 259"/>
                <a:gd name="T17" fmla="*/ 122 h 124"/>
                <a:gd name="T18" fmla="*/ 51 w 259"/>
                <a:gd name="T19" fmla="*/ 124 h 124"/>
                <a:gd name="T20" fmla="*/ 60 w 259"/>
                <a:gd name="T21" fmla="*/ 124 h 124"/>
                <a:gd name="T22" fmla="*/ 68 w 259"/>
                <a:gd name="T23" fmla="*/ 124 h 124"/>
                <a:gd name="T24" fmla="*/ 75 w 259"/>
                <a:gd name="T25" fmla="*/ 123 h 124"/>
                <a:gd name="T26" fmla="*/ 81 w 259"/>
                <a:gd name="T27" fmla="*/ 122 h 124"/>
                <a:gd name="T28" fmla="*/ 87 w 259"/>
                <a:gd name="T29" fmla="*/ 120 h 124"/>
                <a:gd name="T30" fmla="*/ 97 w 259"/>
                <a:gd name="T31" fmla="*/ 114 h 124"/>
                <a:gd name="T32" fmla="*/ 106 w 259"/>
                <a:gd name="T33" fmla="*/ 108 h 124"/>
                <a:gd name="T34" fmla="*/ 115 w 259"/>
                <a:gd name="T35" fmla="*/ 103 h 124"/>
                <a:gd name="T36" fmla="*/ 125 w 259"/>
                <a:gd name="T37" fmla="*/ 98 h 124"/>
                <a:gd name="T38" fmla="*/ 130 w 259"/>
                <a:gd name="T39" fmla="*/ 96 h 124"/>
                <a:gd name="T40" fmla="*/ 137 w 259"/>
                <a:gd name="T41" fmla="*/ 94 h 124"/>
                <a:gd name="T42" fmla="*/ 145 w 259"/>
                <a:gd name="T43" fmla="*/ 93 h 124"/>
                <a:gd name="T44" fmla="*/ 152 w 259"/>
                <a:gd name="T45" fmla="*/ 93 h 124"/>
                <a:gd name="T46" fmla="*/ 162 w 259"/>
                <a:gd name="T47" fmla="*/ 94 h 124"/>
                <a:gd name="T48" fmla="*/ 171 w 259"/>
                <a:gd name="T49" fmla="*/ 96 h 124"/>
                <a:gd name="T50" fmla="*/ 180 w 259"/>
                <a:gd name="T51" fmla="*/ 99 h 124"/>
                <a:gd name="T52" fmla="*/ 188 w 259"/>
                <a:gd name="T53" fmla="*/ 103 h 124"/>
                <a:gd name="T54" fmla="*/ 204 w 259"/>
                <a:gd name="T55" fmla="*/ 111 h 124"/>
                <a:gd name="T56" fmla="*/ 219 w 259"/>
                <a:gd name="T57" fmla="*/ 117 h 124"/>
                <a:gd name="T58" fmla="*/ 259 w 259"/>
                <a:gd name="T59" fmla="*/ 117 h 124"/>
                <a:gd name="T60" fmla="*/ 259 w 259"/>
                <a:gd name="T61" fmla="*/ 99 h 124"/>
                <a:gd name="T62" fmla="*/ 252 w 259"/>
                <a:gd name="T63" fmla="*/ 98 h 124"/>
                <a:gd name="T64" fmla="*/ 244 w 259"/>
                <a:gd name="T65" fmla="*/ 96 h 124"/>
                <a:gd name="T66" fmla="*/ 236 w 259"/>
                <a:gd name="T67" fmla="*/ 94 h 124"/>
                <a:gd name="T68" fmla="*/ 226 w 259"/>
                <a:gd name="T69" fmla="*/ 93 h 124"/>
                <a:gd name="T70" fmla="*/ 230 w 259"/>
                <a:gd name="T71" fmla="*/ 85 h 124"/>
                <a:gd name="T72" fmla="*/ 236 w 259"/>
                <a:gd name="T73" fmla="*/ 79 h 124"/>
                <a:gd name="T74" fmla="*/ 240 w 259"/>
                <a:gd name="T75" fmla="*/ 74 h 124"/>
                <a:gd name="T76" fmla="*/ 246 w 259"/>
                <a:gd name="T77" fmla="*/ 69 h 124"/>
                <a:gd name="T78" fmla="*/ 238 w 259"/>
                <a:gd name="T79" fmla="*/ 61 h 124"/>
                <a:gd name="T80" fmla="*/ 230 w 259"/>
                <a:gd name="T81" fmla="*/ 56 h 124"/>
                <a:gd name="T82" fmla="*/ 222 w 259"/>
                <a:gd name="T83" fmla="*/ 50 h 124"/>
                <a:gd name="T84" fmla="*/ 214 w 259"/>
                <a:gd name="T85" fmla="*/ 46 h 124"/>
                <a:gd name="T86" fmla="*/ 197 w 259"/>
                <a:gd name="T87" fmla="*/ 37 h 124"/>
                <a:gd name="T88" fmla="*/ 182 w 259"/>
                <a:gd name="T89" fmla="*/ 30 h 124"/>
                <a:gd name="T90" fmla="*/ 166 w 259"/>
                <a:gd name="T91" fmla="*/ 23 h 124"/>
                <a:gd name="T92" fmla="*/ 153 w 259"/>
                <a:gd name="T93" fmla="*/ 17 h 124"/>
                <a:gd name="T94" fmla="*/ 147 w 259"/>
                <a:gd name="T95" fmla="*/ 13 h 124"/>
                <a:gd name="T96" fmla="*/ 141 w 259"/>
                <a:gd name="T97" fmla="*/ 10 h 124"/>
                <a:gd name="T98" fmla="*/ 137 w 259"/>
                <a:gd name="T99" fmla="*/ 5 h 124"/>
                <a:gd name="T100" fmla="*/ 132 w 259"/>
                <a:gd name="T101" fmla="*/ 0 h 124"/>
                <a:gd name="T102" fmla="*/ 124 w 259"/>
                <a:gd name="T103" fmla="*/ 3 h 124"/>
                <a:gd name="T104" fmla="*/ 114 w 259"/>
                <a:gd name="T105" fmla="*/ 7 h 124"/>
                <a:gd name="T106" fmla="*/ 105 w 259"/>
                <a:gd name="T107" fmla="*/ 12 h 124"/>
                <a:gd name="T108" fmla="*/ 95 w 259"/>
                <a:gd name="T109" fmla="*/ 17 h 124"/>
                <a:gd name="T110" fmla="*/ 75 w 259"/>
                <a:gd name="T111" fmla="*/ 29 h 124"/>
                <a:gd name="T112" fmla="*/ 57 w 259"/>
                <a:gd name="T113" fmla="*/ 42 h 124"/>
                <a:gd name="T114" fmla="*/ 38 w 259"/>
                <a:gd name="T115" fmla="*/ 56 h 124"/>
                <a:gd name="T116" fmla="*/ 23 w 259"/>
                <a:gd name="T117" fmla="*/ 70 h 124"/>
                <a:gd name="T118" fmla="*/ 9 w 259"/>
                <a:gd name="T119" fmla="*/ 83 h 124"/>
                <a:gd name="T120" fmla="*/ 0 w 259"/>
                <a:gd name="T121" fmla="*/ 9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5" name="Freeform 421">
              <a:extLst>
                <a:ext uri="{FF2B5EF4-FFF2-40B4-BE49-F238E27FC236}">
                  <a16:creationId xmlns:a16="http://schemas.microsoft.com/office/drawing/2014/main" id="{BF86A4B8-6506-49D6-8A49-B9F05E3F4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32 h 57"/>
                <a:gd name="T2" fmla="*/ 7 w 119"/>
                <a:gd name="T3" fmla="*/ 35 h 57"/>
                <a:gd name="T4" fmla="*/ 14 w 119"/>
                <a:gd name="T5" fmla="*/ 38 h 57"/>
                <a:gd name="T6" fmla="*/ 20 w 119"/>
                <a:gd name="T7" fmla="*/ 42 h 57"/>
                <a:gd name="T8" fmla="*/ 26 w 119"/>
                <a:gd name="T9" fmla="*/ 47 h 57"/>
                <a:gd name="T10" fmla="*/ 32 w 119"/>
                <a:gd name="T11" fmla="*/ 51 h 57"/>
                <a:gd name="T12" fmla="*/ 36 w 119"/>
                <a:gd name="T13" fmla="*/ 54 h 57"/>
                <a:gd name="T14" fmla="*/ 41 w 119"/>
                <a:gd name="T15" fmla="*/ 56 h 57"/>
                <a:gd name="T16" fmla="*/ 47 w 119"/>
                <a:gd name="T17" fmla="*/ 57 h 57"/>
                <a:gd name="T18" fmla="*/ 55 w 119"/>
                <a:gd name="T19" fmla="*/ 57 h 57"/>
                <a:gd name="T20" fmla="*/ 62 w 119"/>
                <a:gd name="T21" fmla="*/ 56 h 57"/>
                <a:gd name="T22" fmla="*/ 70 w 119"/>
                <a:gd name="T23" fmla="*/ 55 h 57"/>
                <a:gd name="T24" fmla="*/ 77 w 119"/>
                <a:gd name="T25" fmla="*/ 53 h 57"/>
                <a:gd name="T26" fmla="*/ 83 w 119"/>
                <a:gd name="T27" fmla="*/ 50 h 57"/>
                <a:gd name="T28" fmla="*/ 89 w 119"/>
                <a:gd name="T29" fmla="*/ 48 h 57"/>
                <a:gd name="T30" fmla="*/ 93 w 119"/>
                <a:gd name="T31" fmla="*/ 44 h 57"/>
                <a:gd name="T32" fmla="*/ 97 w 119"/>
                <a:gd name="T33" fmla="*/ 40 h 57"/>
                <a:gd name="T34" fmla="*/ 106 w 119"/>
                <a:gd name="T35" fmla="*/ 32 h 57"/>
                <a:gd name="T36" fmla="*/ 112 w 119"/>
                <a:gd name="T37" fmla="*/ 23 h 57"/>
                <a:gd name="T38" fmla="*/ 116 w 119"/>
                <a:gd name="T39" fmla="*/ 13 h 57"/>
                <a:gd name="T40" fmla="*/ 119 w 119"/>
                <a:gd name="T41" fmla="*/ 1 h 57"/>
                <a:gd name="T42" fmla="*/ 101 w 119"/>
                <a:gd name="T43" fmla="*/ 0 h 57"/>
                <a:gd name="T44" fmla="*/ 82 w 119"/>
                <a:gd name="T45" fmla="*/ 0 h 57"/>
                <a:gd name="T46" fmla="*/ 63 w 119"/>
                <a:gd name="T47" fmla="*/ 2 h 57"/>
                <a:gd name="T48" fmla="*/ 45 w 119"/>
                <a:gd name="T49" fmla="*/ 5 h 57"/>
                <a:gd name="T50" fmla="*/ 36 w 119"/>
                <a:gd name="T51" fmla="*/ 7 h 57"/>
                <a:gd name="T52" fmla="*/ 28 w 119"/>
                <a:gd name="T53" fmla="*/ 10 h 57"/>
                <a:gd name="T54" fmla="*/ 22 w 119"/>
                <a:gd name="T55" fmla="*/ 13 h 57"/>
                <a:gd name="T56" fmla="*/ 15 w 119"/>
                <a:gd name="T57" fmla="*/ 16 h 57"/>
                <a:gd name="T58" fmla="*/ 10 w 119"/>
                <a:gd name="T59" fmla="*/ 19 h 57"/>
                <a:gd name="T60" fmla="*/ 5 w 119"/>
                <a:gd name="T61" fmla="*/ 23 h 57"/>
                <a:gd name="T62" fmla="*/ 2 w 119"/>
                <a:gd name="T63" fmla="*/ 27 h 57"/>
                <a:gd name="T64" fmla="*/ 0 w 119"/>
                <a:gd name="T65" fmla="*/ 3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6" name="Freeform 422">
              <a:extLst>
                <a:ext uri="{FF2B5EF4-FFF2-40B4-BE49-F238E27FC236}">
                  <a16:creationId xmlns:a16="http://schemas.microsoft.com/office/drawing/2014/main" id="{D9C2460B-C275-423C-84FB-B48C27554F7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50 h 52"/>
                <a:gd name="T2" fmla="*/ 6 w 107"/>
                <a:gd name="T3" fmla="*/ 51 h 52"/>
                <a:gd name="T4" fmla="*/ 9 w 107"/>
                <a:gd name="T5" fmla="*/ 52 h 52"/>
                <a:gd name="T6" fmla="*/ 13 w 107"/>
                <a:gd name="T7" fmla="*/ 52 h 52"/>
                <a:gd name="T8" fmla="*/ 17 w 107"/>
                <a:gd name="T9" fmla="*/ 52 h 52"/>
                <a:gd name="T10" fmla="*/ 24 w 107"/>
                <a:gd name="T11" fmla="*/ 50 h 52"/>
                <a:gd name="T12" fmla="*/ 34 w 107"/>
                <a:gd name="T13" fmla="*/ 50 h 52"/>
                <a:gd name="T14" fmla="*/ 43 w 107"/>
                <a:gd name="T15" fmla="*/ 49 h 52"/>
                <a:gd name="T16" fmla="*/ 53 w 107"/>
                <a:gd name="T17" fmla="*/ 48 h 52"/>
                <a:gd name="T18" fmla="*/ 62 w 107"/>
                <a:gd name="T19" fmla="*/ 47 h 52"/>
                <a:gd name="T20" fmla="*/ 70 w 107"/>
                <a:gd name="T21" fmla="*/ 43 h 52"/>
                <a:gd name="T22" fmla="*/ 79 w 107"/>
                <a:gd name="T23" fmla="*/ 40 h 52"/>
                <a:gd name="T24" fmla="*/ 88 w 107"/>
                <a:gd name="T25" fmla="*/ 36 h 52"/>
                <a:gd name="T26" fmla="*/ 97 w 107"/>
                <a:gd name="T27" fmla="*/ 31 h 52"/>
                <a:gd name="T28" fmla="*/ 107 w 107"/>
                <a:gd name="T29" fmla="*/ 24 h 52"/>
                <a:gd name="T30" fmla="*/ 107 w 107"/>
                <a:gd name="T31" fmla="*/ 0 h 52"/>
                <a:gd name="T32" fmla="*/ 98 w 107"/>
                <a:gd name="T33" fmla="*/ 1 h 52"/>
                <a:gd name="T34" fmla="*/ 86 w 107"/>
                <a:gd name="T35" fmla="*/ 3 h 52"/>
                <a:gd name="T36" fmla="*/ 72 w 107"/>
                <a:gd name="T37" fmla="*/ 7 h 52"/>
                <a:gd name="T38" fmla="*/ 56 w 107"/>
                <a:gd name="T39" fmla="*/ 13 h 52"/>
                <a:gd name="T40" fmla="*/ 41 w 107"/>
                <a:gd name="T41" fmla="*/ 20 h 52"/>
                <a:gd name="T42" fmla="*/ 25 w 107"/>
                <a:gd name="T43" fmla="*/ 28 h 52"/>
                <a:gd name="T44" fmla="*/ 19 w 107"/>
                <a:gd name="T45" fmla="*/ 33 h 52"/>
                <a:gd name="T46" fmla="*/ 12 w 107"/>
                <a:gd name="T47" fmla="*/ 38 h 52"/>
                <a:gd name="T48" fmla="*/ 6 w 107"/>
                <a:gd name="T49" fmla="*/ 43 h 52"/>
                <a:gd name="T50" fmla="*/ 0 w 107"/>
                <a:gd name="T51" fmla="*/ 5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7" name="Freeform 423">
              <a:extLst>
                <a:ext uri="{FF2B5EF4-FFF2-40B4-BE49-F238E27FC236}">
                  <a16:creationId xmlns:a16="http://schemas.microsoft.com/office/drawing/2014/main" id="{85785AD0-3496-4BEE-98AC-93530FEA29B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27 w 246"/>
                <a:gd name="T1" fmla="*/ 99 h 99"/>
                <a:gd name="T2" fmla="*/ 22 w 246"/>
                <a:gd name="T3" fmla="*/ 97 h 99"/>
                <a:gd name="T4" fmla="*/ 17 w 246"/>
                <a:gd name="T5" fmla="*/ 96 h 99"/>
                <a:gd name="T6" fmla="*/ 12 w 246"/>
                <a:gd name="T7" fmla="*/ 93 h 99"/>
                <a:gd name="T8" fmla="*/ 9 w 246"/>
                <a:gd name="T9" fmla="*/ 90 h 99"/>
                <a:gd name="T10" fmla="*/ 6 w 246"/>
                <a:gd name="T11" fmla="*/ 86 h 99"/>
                <a:gd name="T12" fmla="*/ 2 w 246"/>
                <a:gd name="T13" fmla="*/ 82 h 99"/>
                <a:gd name="T14" fmla="*/ 1 w 246"/>
                <a:gd name="T15" fmla="*/ 78 h 99"/>
                <a:gd name="T16" fmla="*/ 0 w 246"/>
                <a:gd name="T17" fmla="*/ 73 h 99"/>
                <a:gd name="T18" fmla="*/ 0 w 246"/>
                <a:gd name="T19" fmla="*/ 69 h 99"/>
                <a:gd name="T20" fmla="*/ 1 w 246"/>
                <a:gd name="T21" fmla="*/ 65 h 99"/>
                <a:gd name="T22" fmla="*/ 3 w 246"/>
                <a:gd name="T23" fmla="*/ 60 h 99"/>
                <a:gd name="T24" fmla="*/ 5 w 246"/>
                <a:gd name="T25" fmla="*/ 56 h 99"/>
                <a:gd name="T26" fmla="*/ 10 w 246"/>
                <a:gd name="T27" fmla="*/ 49 h 99"/>
                <a:gd name="T28" fmla="*/ 18 w 246"/>
                <a:gd name="T29" fmla="*/ 41 h 99"/>
                <a:gd name="T30" fmla="*/ 25 w 246"/>
                <a:gd name="T31" fmla="*/ 34 h 99"/>
                <a:gd name="T32" fmla="*/ 35 w 246"/>
                <a:gd name="T33" fmla="*/ 28 h 99"/>
                <a:gd name="T34" fmla="*/ 46 w 246"/>
                <a:gd name="T35" fmla="*/ 23 h 99"/>
                <a:gd name="T36" fmla="*/ 57 w 246"/>
                <a:gd name="T37" fmla="*/ 18 h 99"/>
                <a:gd name="T38" fmla="*/ 69 w 246"/>
                <a:gd name="T39" fmla="*/ 14 h 99"/>
                <a:gd name="T40" fmla="*/ 81 w 246"/>
                <a:gd name="T41" fmla="*/ 10 h 99"/>
                <a:gd name="T42" fmla="*/ 92 w 246"/>
                <a:gd name="T43" fmla="*/ 7 h 99"/>
                <a:gd name="T44" fmla="*/ 104 w 246"/>
                <a:gd name="T45" fmla="*/ 4 h 99"/>
                <a:gd name="T46" fmla="*/ 124 w 246"/>
                <a:gd name="T47" fmla="*/ 1 h 99"/>
                <a:gd name="T48" fmla="*/ 140 w 246"/>
                <a:gd name="T49" fmla="*/ 0 h 99"/>
                <a:gd name="T50" fmla="*/ 168 w 246"/>
                <a:gd name="T51" fmla="*/ 0 h 99"/>
                <a:gd name="T52" fmla="*/ 193 w 246"/>
                <a:gd name="T53" fmla="*/ 1 h 99"/>
                <a:gd name="T54" fmla="*/ 219 w 246"/>
                <a:gd name="T55" fmla="*/ 2 h 99"/>
                <a:gd name="T56" fmla="*/ 246 w 246"/>
                <a:gd name="T57" fmla="*/ 6 h 99"/>
                <a:gd name="T58" fmla="*/ 244 w 246"/>
                <a:gd name="T59" fmla="*/ 11 h 99"/>
                <a:gd name="T60" fmla="*/ 241 w 246"/>
                <a:gd name="T61" fmla="*/ 15 h 99"/>
                <a:gd name="T62" fmla="*/ 236 w 246"/>
                <a:gd name="T63" fmla="*/ 20 h 99"/>
                <a:gd name="T64" fmla="*/ 231 w 246"/>
                <a:gd name="T65" fmla="*/ 26 h 99"/>
                <a:gd name="T66" fmla="*/ 215 w 246"/>
                <a:gd name="T67" fmla="*/ 36 h 99"/>
                <a:gd name="T68" fmla="*/ 199 w 246"/>
                <a:gd name="T69" fmla="*/ 46 h 99"/>
                <a:gd name="T70" fmla="*/ 180 w 246"/>
                <a:gd name="T71" fmla="*/ 55 h 99"/>
                <a:gd name="T72" fmla="*/ 162 w 246"/>
                <a:gd name="T73" fmla="*/ 61 h 99"/>
                <a:gd name="T74" fmla="*/ 152 w 246"/>
                <a:gd name="T75" fmla="*/ 64 h 99"/>
                <a:gd name="T76" fmla="*/ 143 w 246"/>
                <a:gd name="T77" fmla="*/ 66 h 99"/>
                <a:gd name="T78" fmla="*/ 134 w 246"/>
                <a:gd name="T79" fmla="*/ 67 h 99"/>
                <a:gd name="T80" fmla="*/ 126 w 246"/>
                <a:gd name="T81" fmla="*/ 67 h 99"/>
                <a:gd name="T82" fmla="*/ 120 w 246"/>
                <a:gd name="T83" fmla="*/ 67 h 99"/>
                <a:gd name="T84" fmla="*/ 110 w 246"/>
                <a:gd name="T85" fmla="*/ 67 h 99"/>
                <a:gd name="T86" fmla="*/ 100 w 246"/>
                <a:gd name="T87" fmla="*/ 67 h 99"/>
                <a:gd name="T88" fmla="*/ 93 w 246"/>
                <a:gd name="T89" fmla="*/ 67 h 99"/>
                <a:gd name="T90" fmla="*/ 88 w 246"/>
                <a:gd name="T91" fmla="*/ 69 h 99"/>
                <a:gd name="T92" fmla="*/ 80 w 246"/>
                <a:gd name="T93" fmla="*/ 72 h 99"/>
                <a:gd name="T94" fmla="*/ 72 w 246"/>
                <a:gd name="T95" fmla="*/ 77 h 99"/>
                <a:gd name="T96" fmla="*/ 63 w 246"/>
                <a:gd name="T97" fmla="*/ 83 h 99"/>
                <a:gd name="T98" fmla="*/ 53 w 246"/>
                <a:gd name="T99" fmla="*/ 88 h 99"/>
                <a:gd name="T100" fmla="*/ 44 w 246"/>
                <a:gd name="T101" fmla="*/ 93 h 99"/>
                <a:gd name="T102" fmla="*/ 35 w 246"/>
                <a:gd name="T103" fmla="*/ 96 h 99"/>
                <a:gd name="T104" fmla="*/ 27 w 246"/>
                <a:gd name="T10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8" name="Freeform 424">
              <a:extLst>
                <a:ext uri="{FF2B5EF4-FFF2-40B4-BE49-F238E27FC236}">
                  <a16:creationId xmlns:a16="http://schemas.microsoft.com/office/drawing/2014/main" id="{A94A1F62-2959-42E7-8735-A784FE386C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33 w 233"/>
                <a:gd name="T1" fmla="*/ 88 h 123"/>
                <a:gd name="T2" fmla="*/ 10 w 233"/>
                <a:gd name="T3" fmla="*/ 78 h 123"/>
                <a:gd name="T4" fmla="*/ 0 w 233"/>
                <a:gd name="T5" fmla="*/ 55 h 123"/>
                <a:gd name="T6" fmla="*/ 20 w 233"/>
                <a:gd name="T7" fmla="*/ 37 h 123"/>
                <a:gd name="T8" fmla="*/ 40 w 233"/>
                <a:gd name="T9" fmla="*/ 37 h 123"/>
                <a:gd name="T10" fmla="*/ 61 w 233"/>
                <a:gd name="T11" fmla="*/ 37 h 123"/>
                <a:gd name="T12" fmla="*/ 72 w 233"/>
                <a:gd name="T13" fmla="*/ 36 h 123"/>
                <a:gd name="T14" fmla="*/ 83 w 233"/>
                <a:gd name="T15" fmla="*/ 33 h 123"/>
                <a:gd name="T16" fmla="*/ 104 w 233"/>
                <a:gd name="T17" fmla="*/ 23 h 123"/>
                <a:gd name="T18" fmla="*/ 123 w 233"/>
                <a:gd name="T19" fmla="*/ 11 h 123"/>
                <a:gd name="T20" fmla="*/ 146 w 233"/>
                <a:gd name="T21" fmla="*/ 0 h 123"/>
                <a:gd name="T22" fmla="*/ 161 w 233"/>
                <a:gd name="T23" fmla="*/ 8 h 123"/>
                <a:gd name="T24" fmla="*/ 181 w 233"/>
                <a:gd name="T25" fmla="*/ 12 h 123"/>
                <a:gd name="T26" fmla="*/ 190 w 233"/>
                <a:gd name="T27" fmla="*/ 10 h 123"/>
                <a:gd name="T28" fmla="*/ 201 w 233"/>
                <a:gd name="T29" fmla="*/ 6 h 123"/>
                <a:gd name="T30" fmla="*/ 213 w 233"/>
                <a:gd name="T31" fmla="*/ 0 h 123"/>
                <a:gd name="T32" fmla="*/ 232 w 233"/>
                <a:gd name="T33" fmla="*/ 6 h 123"/>
                <a:gd name="T34" fmla="*/ 228 w 233"/>
                <a:gd name="T35" fmla="*/ 18 h 123"/>
                <a:gd name="T36" fmla="*/ 219 w 233"/>
                <a:gd name="T37" fmla="*/ 25 h 123"/>
                <a:gd name="T38" fmla="*/ 207 w 233"/>
                <a:gd name="T39" fmla="*/ 30 h 123"/>
                <a:gd name="T40" fmla="*/ 201 w 233"/>
                <a:gd name="T41" fmla="*/ 43 h 123"/>
                <a:gd name="T42" fmla="*/ 206 w 233"/>
                <a:gd name="T43" fmla="*/ 62 h 123"/>
                <a:gd name="T44" fmla="*/ 185 w 233"/>
                <a:gd name="T45" fmla="*/ 85 h 123"/>
                <a:gd name="T46" fmla="*/ 157 w 233"/>
                <a:gd name="T47" fmla="*/ 96 h 123"/>
                <a:gd name="T48" fmla="*/ 139 w 233"/>
                <a:gd name="T49" fmla="*/ 98 h 123"/>
                <a:gd name="T50" fmla="*/ 116 w 233"/>
                <a:gd name="T51" fmla="*/ 100 h 123"/>
                <a:gd name="T52" fmla="*/ 96 w 233"/>
                <a:gd name="T53" fmla="*/ 106 h 123"/>
                <a:gd name="T54" fmla="*/ 82 w 233"/>
                <a:gd name="T55" fmla="*/ 115 h 123"/>
                <a:gd name="T56" fmla="*/ 67 w 233"/>
                <a:gd name="T57" fmla="*/ 122 h 123"/>
                <a:gd name="T58" fmla="*/ 58 w 233"/>
                <a:gd name="T59" fmla="*/ 122 h 123"/>
                <a:gd name="T60" fmla="*/ 53 w 233"/>
                <a:gd name="T61" fmla="*/ 115 h 123"/>
                <a:gd name="T62" fmla="*/ 48 w 233"/>
                <a:gd name="T63" fmla="*/ 10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19" name="Freeform 425">
              <a:extLst>
                <a:ext uri="{FF2B5EF4-FFF2-40B4-BE49-F238E27FC236}">
                  <a16:creationId xmlns:a16="http://schemas.microsoft.com/office/drawing/2014/main" id="{F1AF84E3-19CF-4D9F-A611-53AB6A58056F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147 h 172"/>
                <a:gd name="T2" fmla="*/ 3 w 484"/>
                <a:gd name="T3" fmla="*/ 156 h 172"/>
                <a:gd name="T4" fmla="*/ 9 w 484"/>
                <a:gd name="T5" fmla="*/ 162 h 172"/>
                <a:gd name="T6" fmla="*/ 17 w 484"/>
                <a:gd name="T7" fmla="*/ 167 h 172"/>
                <a:gd name="T8" fmla="*/ 31 w 484"/>
                <a:gd name="T9" fmla="*/ 170 h 172"/>
                <a:gd name="T10" fmla="*/ 51 w 484"/>
                <a:gd name="T11" fmla="*/ 172 h 172"/>
                <a:gd name="T12" fmla="*/ 73 w 484"/>
                <a:gd name="T13" fmla="*/ 172 h 172"/>
                <a:gd name="T14" fmla="*/ 99 w 484"/>
                <a:gd name="T15" fmla="*/ 167 h 172"/>
                <a:gd name="T16" fmla="*/ 139 w 484"/>
                <a:gd name="T17" fmla="*/ 156 h 172"/>
                <a:gd name="T18" fmla="*/ 189 w 484"/>
                <a:gd name="T19" fmla="*/ 135 h 172"/>
                <a:gd name="T20" fmla="*/ 240 w 484"/>
                <a:gd name="T21" fmla="*/ 113 h 172"/>
                <a:gd name="T22" fmla="*/ 287 w 484"/>
                <a:gd name="T23" fmla="*/ 100 h 172"/>
                <a:gd name="T24" fmla="*/ 350 w 484"/>
                <a:gd name="T25" fmla="*/ 87 h 172"/>
                <a:gd name="T26" fmla="*/ 401 w 484"/>
                <a:gd name="T27" fmla="*/ 75 h 172"/>
                <a:gd name="T28" fmla="*/ 434 w 484"/>
                <a:gd name="T29" fmla="*/ 64 h 172"/>
                <a:gd name="T30" fmla="*/ 461 w 484"/>
                <a:gd name="T31" fmla="*/ 52 h 172"/>
                <a:gd name="T32" fmla="*/ 475 w 484"/>
                <a:gd name="T33" fmla="*/ 42 h 172"/>
                <a:gd name="T34" fmla="*/ 482 w 484"/>
                <a:gd name="T35" fmla="*/ 35 h 172"/>
                <a:gd name="T36" fmla="*/ 449 w 484"/>
                <a:gd name="T37" fmla="*/ 26 h 172"/>
                <a:gd name="T38" fmla="*/ 387 w 484"/>
                <a:gd name="T39" fmla="*/ 16 h 172"/>
                <a:gd name="T40" fmla="*/ 331 w 484"/>
                <a:gd name="T41" fmla="*/ 6 h 172"/>
                <a:gd name="T42" fmla="*/ 272 w 484"/>
                <a:gd name="T43" fmla="*/ 0 h 172"/>
                <a:gd name="T44" fmla="*/ 225 w 484"/>
                <a:gd name="T45" fmla="*/ 0 h 172"/>
                <a:gd name="T46" fmla="*/ 203 w 484"/>
                <a:gd name="T47" fmla="*/ 4 h 172"/>
                <a:gd name="T48" fmla="*/ 186 w 484"/>
                <a:gd name="T49" fmla="*/ 8 h 172"/>
                <a:gd name="T50" fmla="*/ 176 w 484"/>
                <a:gd name="T51" fmla="*/ 6 h 172"/>
                <a:gd name="T52" fmla="*/ 169 w 484"/>
                <a:gd name="T53" fmla="*/ 3 h 172"/>
                <a:gd name="T54" fmla="*/ 165 w 484"/>
                <a:gd name="T55" fmla="*/ 8 h 172"/>
                <a:gd name="T56" fmla="*/ 161 w 484"/>
                <a:gd name="T57" fmla="*/ 24 h 172"/>
                <a:gd name="T58" fmla="*/ 154 w 484"/>
                <a:gd name="T59" fmla="*/ 36 h 172"/>
                <a:gd name="T60" fmla="*/ 144 w 484"/>
                <a:gd name="T61" fmla="*/ 46 h 172"/>
                <a:gd name="T62" fmla="*/ 127 w 484"/>
                <a:gd name="T63" fmla="*/ 58 h 172"/>
                <a:gd name="T64" fmla="*/ 97 w 484"/>
                <a:gd name="T65" fmla="*/ 69 h 172"/>
                <a:gd name="T66" fmla="*/ 66 w 484"/>
                <a:gd name="T67" fmla="*/ 78 h 172"/>
                <a:gd name="T68" fmla="*/ 38 w 484"/>
                <a:gd name="T69" fmla="*/ 88 h 172"/>
                <a:gd name="T70" fmla="*/ 19 w 484"/>
                <a:gd name="T71" fmla="*/ 98 h 172"/>
                <a:gd name="T72" fmla="*/ 10 w 484"/>
                <a:gd name="T73" fmla="*/ 107 h 172"/>
                <a:gd name="T74" fmla="*/ 3 w 484"/>
                <a:gd name="T75" fmla="*/ 119 h 172"/>
                <a:gd name="T76" fmla="*/ 0 w 484"/>
                <a:gd name="T77" fmla="*/ 13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20" name="Freeform 426">
              <a:extLst>
                <a:ext uri="{FF2B5EF4-FFF2-40B4-BE49-F238E27FC236}">
                  <a16:creationId xmlns:a16="http://schemas.microsoft.com/office/drawing/2014/main" id="{7A4946B3-11F8-4E75-8A78-AE5E14247A82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317 w 684"/>
                <a:gd name="T1" fmla="*/ 5 h 240"/>
                <a:gd name="T2" fmla="*/ 304 w 684"/>
                <a:gd name="T3" fmla="*/ 27 h 240"/>
                <a:gd name="T4" fmla="*/ 297 w 684"/>
                <a:gd name="T5" fmla="*/ 41 h 240"/>
                <a:gd name="T6" fmla="*/ 299 w 684"/>
                <a:gd name="T7" fmla="*/ 43 h 240"/>
                <a:gd name="T8" fmla="*/ 337 w 684"/>
                <a:gd name="T9" fmla="*/ 39 h 240"/>
                <a:gd name="T10" fmla="*/ 372 w 684"/>
                <a:gd name="T11" fmla="*/ 19 h 240"/>
                <a:gd name="T12" fmla="*/ 379 w 684"/>
                <a:gd name="T13" fmla="*/ 38 h 240"/>
                <a:gd name="T14" fmla="*/ 377 w 684"/>
                <a:gd name="T15" fmla="*/ 55 h 240"/>
                <a:gd name="T16" fmla="*/ 405 w 684"/>
                <a:gd name="T17" fmla="*/ 69 h 240"/>
                <a:gd name="T18" fmla="*/ 511 w 684"/>
                <a:gd name="T19" fmla="*/ 51 h 240"/>
                <a:gd name="T20" fmla="*/ 514 w 684"/>
                <a:gd name="T21" fmla="*/ 70 h 240"/>
                <a:gd name="T22" fmla="*/ 541 w 684"/>
                <a:gd name="T23" fmla="*/ 63 h 240"/>
                <a:gd name="T24" fmla="*/ 557 w 684"/>
                <a:gd name="T25" fmla="*/ 45 h 240"/>
                <a:gd name="T26" fmla="*/ 558 w 684"/>
                <a:gd name="T27" fmla="*/ 19 h 240"/>
                <a:gd name="T28" fmla="*/ 563 w 684"/>
                <a:gd name="T29" fmla="*/ 8 h 240"/>
                <a:gd name="T30" fmla="*/ 579 w 684"/>
                <a:gd name="T31" fmla="*/ 0 h 240"/>
                <a:gd name="T32" fmla="*/ 624 w 684"/>
                <a:gd name="T33" fmla="*/ 3 h 240"/>
                <a:gd name="T34" fmla="*/ 645 w 684"/>
                <a:gd name="T35" fmla="*/ 0 h 240"/>
                <a:gd name="T36" fmla="*/ 657 w 684"/>
                <a:gd name="T37" fmla="*/ 39 h 240"/>
                <a:gd name="T38" fmla="*/ 653 w 684"/>
                <a:gd name="T39" fmla="*/ 70 h 240"/>
                <a:gd name="T40" fmla="*/ 637 w 684"/>
                <a:gd name="T41" fmla="*/ 101 h 240"/>
                <a:gd name="T42" fmla="*/ 618 w 684"/>
                <a:gd name="T43" fmla="*/ 124 h 240"/>
                <a:gd name="T44" fmla="*/ 648 w 684"/>
                <a:gd name="T45" fmla="*/ 137 h 240"/>
                <a:gd name="T46" fmla="*/ 672 w 684"/>
                <a:gd name="T47" fmla="*/ 145 h 240"/>
                <a:gd name="T48" fmla="*/ 684 w 684"/>
                <a:gd name="T49" fmla="*/ 180 h 240"/>
                <a:gd name="T50" fmla="*/ 639 w 684"/>
                <a:gd name="T51" fmla="*/ 185 h 240"/>
                <a:gd name="T52" fmla="*/ 608 w 684"/>
                <a:gd name="T53" fmla="*/ 181 h 240"/>
                <a:gd name="T54" fmla="*/ 574 w 684"/>
                <a:gd name="T55" fmla="*/ 180 h 240"/>
                <a:gd name="T56" fmla="*/ 564 w 684"/>
                <a:gd name="T57" fmla="*/ 184 h 240"/>
                <a:gd name="T58" fmla="*/ 542 w 684"/>
                <a:gd name="T59" fmla="*/ 200 h 240"/>
                <a:gd name="T60" fmla="*/ 524 w 684"/>
                <a:gd name="T61" fmla="*/ 209 h 240"/>
                <a:gd name="T62" fmla="*/ 493 w 684"/>
                <a:gd name="T63" fmla="*/ 209 h 240"/>
                <a:gd name="T64" fmla="*/ 452 w 684"/>
                <a:gd name="T65" fmla="*/ 204 h 240"/>
                <a:gd name="T66" fmla="*/ 422 w 684"/>
                <a:gd name="T67" fmla="*/ 198 h 240"/>
                <a:gd name="T68" fmla="*/ 337 w 684"/>
                <a:gd name="T69" fmla="*/ 211 h 240"/>
                <a:gd name="T70" fmla="*/ 231 w 684"/>
                <a:gd name="T71" fmla="*/ 230 h 240"/>
                <a:gd name="T72" fmla="*/ 169 w 684"/>
                <a:gd name="T73" fmla="*/ 238 h 240"/>
                <a:gd name="T74" fmla="*/ 124 w 684"/>
                <a:gd name="T75" fmla="*/ 238 h 240"/>
                <a:gd name="T76" fmla="*/ 100 w 684"/>
                <a:gd name="T77" fmla="*/ 228 h 240"/>
                <a:gd name="T78" fmla="*/ 67 w 684"/>
                <a:gd name="T79" fmla="*/ 208 h 240"/>
                <a:gd name="T80" fmla="*/ 29 w 684"/>
                <a:gd name="T81" fmla="*/ 196 h 240"/>
                <a:gd name="T82" fmla="*/ 0 w 684"/>
                <a:gd name="T83" fmla="*/ 173 h 240"/>
                <a:gd name="T84" fmla="*/ 64 w 684"/>
                <a:gd name="T85" fmla="*/ 159 h 240"/>
                <a:gd name="T86" fmla="*/ 100 w 684"/>
                <a:gd name="T87" fmla="*/ 154 h 240"/>
                <a:gd name="T88" fmla="*/ 156 w 684"/>
                <a:gd name="T89" fmla="*/ 160 h 240"/>
                <a:gd name="T90" fmla="*/ 201 w 684"/>
                <a:gd name="T91" fmla="*/ 165 h 240"/>
                <a:gd name="T92" fmla="*/ 224 w 684"/>
                <a:gd name="T93" fmla="*/ 162 h 240"/>
                <a:gd name="T94" fmla="*/ 26 w 684"/>
                <a:gd name="T95" fmla="*/ 136 h 240"/>
                <a:gd name="T96" fmla="*/ 52 w 684"/>
                <a:gd name="T97" fmla="*/ 128 h 240"/>
                <a:gd name="T98" fmla="*/ 109 w 684"/>
                <a:gd name="T99" fmla="*/ 117 h 240"/>
                <a:gd name="T100" fmla="*/ 165 w 684"/>
                <a:gd name="T101" fmla="*/ 108 h 240"/>
                <a:gd name="T102" fmla="*/ 187 w 684"/>
                <a:gd name="T103" fmla="*/ 99 h 240"/>
                <a:gd name="T104" fmla="*/ 166 w 684"/>
                <a:gd name="T105" fmla="*/ 93 h 240"/>
                <a:gd name="T106" fmla="*/ 125 w 684"/>
                <a:gd name="T107" fmla="*/ 98 h 240"/>
                <a:gd name="T108" fmla="*/ 71 w 684"/>
                <a:gd name="T109" fmla="*/ 110 h 240"/>
                <a:gd name="T110" fmla="*/ 52 w 684"/>
                <a:gd name="T111" fmla="*/ 106 h 240"/>
                <a:gd name="T112" fmla="*/ 55 w 684"/>
                <a:gd name="T113" fmla="*/ 90 h 240"/>
                <a:gd name="T114" fmla="*/ 54 w 684"/>
                <a:gd name="T115" fmla="*/ 81 h 240"/>
                <a:gd name="T116" fmla="*/ 59 w 684"/>
                <a:gd name="T117" fmla="*/ 7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21" name="Freeform 427">
              <a:extLst>
                <a:ext uri="{FF2B5EF4-FFF2-40B4-BE49-F238E27FC236}">
                  <a16:creationId xmlns:a16="http://schemas.microsoft.com/office/drawing/2014/main" id="{B578BD0F-948F-419A-8867-9AB660FE5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180 w 332"/>
                <a:gd name="T1" fmla="*/ 38 h 287"/>
                <a:gd name="T2" fmla="*/ 202 w 332"/>
                <a:gd name="T3" fmla="*/ 24 h 287"/>
                <a:gd name="T4" fmla="*/ 226 w 332"/>
                <a:gd name="T5" fmla="*/ 7 h 287"/>
                <a:gd name="T6" fmla="*/ 240 w 332"/>
                <a:gd name="T7" fmla="*/ 1 h 287"/>
                <a:gd name="T8" fmla="*/ 246 w 332"/>
                <a:gd name="T9" fmla="*/ 1 h 287"/>
                <a:gd name="T10" fmla="*/ 245 w 332"/>
                <a:gd name="T11" fmla="*/ 12 h 287"/>
                <a:gd name="T12" fmla="*/ 234 w 332"/>
                <a:gd name="T13" fmla="*/ 33 h 287"/>
                <a:gd name="T14" fmla="*/ 217 w 332"/>
                <a:gd name="T15" fmla="*/ 55 h 287"/>
                <a:gd name="T16" fmla="*/ 202 w 332"/>
                <a:gd name="T17" fmla="*/ 67 h 287"/>
                <a:gd name="T18" fmla="*/ 191 w 332"/>
                <a:gd name="T19" fmla="*/ 71 h 287"/>
                <a:gd name="T20" fmla="*/ 191 w 332"/>
                <a:gd name="T21" fmla="*/ 73 h 287"/>
                <a:gd name="T22" fmla="*/ 201 w 332"/>
                <a:gd name="T23" fmla="*/ 74 h 287"/>
                <a:gd name="T24" fmla="*/ 216 w 332"/>
                <a:gd name="T25" fmla="*/ 72 h 287"/>
                <a:gd name="T26" fmla="*/ 224 w 332"/>
                <a:gd name="T27" fmla="*/ 77 h 287"/>
                <a:gd name="T28" fmla="*/ 217 w 332"/>
                <a:gd name="T29" fmla="*/ 88 h 287"/>
                <a:gd name="T30" fmla="*/ 214 w 332"/>
                <a:gd name="T31" fmla="*/ 97 h 287"/>
                <a:gd name="T32" fmla="*/ 217 w 332"/>
                <a:gd name="T33" fmla="*/ 105 h 287"/>
                <a:gd name="T34" fmla="*/ 249 w 332"/>
                <a:gd name="T35" fmla="*/ 113 h 287"/>
                <a:gd name="T36" fmla="*/ 308 w 332"/>
                <a:gd name="T37" fmla="*/ 124 h 287"/>
                <a:gd name="T38" fmla="*/ 322 w 332"/>
                <a:gd name="T39" fmla="*/ 131 h 287"/>
                <a:gd name="T40" fmla="*/ 315 w 332"/>
                <a:gd name="T41" fmla="*/ 140 h 287"/>
                <a:gd name="T42" fmla="*/ 303 w 332"/>
                <a:gd name="T43" fmla="*/ 149 h 287"/>
                <a:gd name="T44" fmla="*/ 299 w 332"/>
                <a:gd name="T45" fmla="*/ 154 h 287"/>
                <a:gd name="T46" fmla="*/ 302 w 332"/>
                <a:gd name="T47" fmla="*/ 160 h 287"/>
                <a:gd name="T48" fmla="*/ 308 w 332"/>
                <a:gd name="T49" fmla="*/ 168 h 287"/>
                <a:gd name="T50" fmla="*/ 319 w 332"/>
                <a:gd name="T51" fmla="*/ 176 h 287"/>
                <a:gd name="T52" fmla="*/ 329 w 332"/>
                <a:gd name="T53" fmla="*/ 184 h 287"/>
                <a:gd name="T54" fmla="*/ 290 w 332"/>
                <a:gd name="T55" fmla="*/ 211 h 287"/>
                <a:gd name="T56" fmla="*/ 241 w 332"/>
                <a:gd name="T57" fmla="*/ 241 h 287"/>
                <a:gd name="T58" fmla="*/ 207 w 332"/>
                <a:gd name="T59" fmla="*/ 268 h 287"/>
                <a:gd name="T60" fmla="*/ 173 w 332"/>
                <a:gd name="T61" fmla="*/ 244 h 287"/>
                <a:gd name="T62" fmla="*/ 182 w 332"/>
                <a:gd name="T63" fmla="*/ 243 h 287"/>
                <a:gd name="T64" fmla="*/ 189 w 332"/>
                <a:gd name="T65" fmla="*/ 240 h 287"/>
                <a:gd name="T66" fmla="*/ 200 w 332"/>
                <a:gd name="T67" fmla="*/ 232 h 287"/>
                <a:gd name="T68" fmla="*/ 149 w 332"/>
                <a:gd name="T69" fmla="*/ 232 h 287"/>
                <a:gd name="T70" fmla="*/ 101 w 332"/>
                <a:gd name="T71" fmla="*/ 232 h 287"/>
                <a:gd name="T72" fmla="*/ 58 w 332"/>
                <a:gd name="T73" fmla="*/ 232 h 287"/>
                <a:gd name="T74" fmla="*/ 27 w 332"/>
                <a:gd name="T75" fmla="*/ 232 h 287"/>
                <a:gd name="T76" fmla="*/ 11 w 332"/>
                <a:gd name="T77" fmla="*/ 227 h 287"/>
                <a:gd name="T78" fmla="*/ 3 w 332"/>
                <a:gd name="T79" fmla="*/ 222 h 287"/>
                <a:gd name="T80" fmla="*/ 0 w 332"/>
                <a:gd name="T81" fmla="*/ 213 h 287"/>
                <a:gd name="T82" fmla="*/ 4 w 332"/>
                <a:gd name="T83" fmla="*/ 205 h 287"/>
                <a:gd name="T84" fmla="*/ 13 w 332"/>
                <a:gd name="T85" fmla="*/ 197 h 287"/>
                <a:gd name="T86" fmla="*/ 41 w 332"/>
                <a:gd name="T87" fmla="*/ 179 h 287"/>
                <a:gd name="T88" fmla="*/ 73 w 332"/>
                <a:gd name="T89" fmla="*/ 162 h 287"/>
                <a:gd name="T90" fmla="*/ 85 w 332"/>
                <a:gd name="T91" fmla="*/ 152 h 287"/>
                <a:gd name="T92" fmla="*/ 93 w 332"/>
                <a:gd name="T93" fmla="*/ 145 h 287"/>
                <a:gd name="T94" fmla="*/ 106 w 332"/>
                <a:gd name="T95" fmla="*/ 130 h 287"/>
                <a:gd name="T96" fmla="*/ 116 w 332"/>
                <a:gd name="T97" fmla="*/ 114 h 287"/>
                <a:gd name="T98" fmla="*/ 130 w 332"/>
                <a:gd name="T99" fmla="*/ 79 h 287"/>
                <a:gd name="T100" fmla="*/ 138 w 332"/>
                <a:gd name="T101" fmla="*/ 64 h 287"/>
                <a:gd name="T102" fmla="*/ 147 w 332"/>
                <a:gd name="T103" fmla="*/ 52 h 287"/>
                <a:gd name="T104" fmla="*/ 158 w 332"/>
                <a:gd name="T105" fmla="*/ 43 h 287"/>
                <a:gd name="T106" fmla="*/ 173 w 332"/>
                <a:gd name="T107" fmla="*/ 4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22" name="Freeform 428">
              <a:extLst>
                <a:ext uri="{FF2B5EF4-FFF2-40B4-BE49-F238E27FC236}">
                  <a16:creationId xmlns:a16="http://schemas.microsoft.com/office/drawing/2014/main" id="{D95CF348-B6DD-42F7-B0F6-C0F57D80DDFC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106 w 345"/>
                <a:gd name="T1" fmla="*/ 86 h 86"/>
                <a:gd name="T2" fmla="*/ 119 w 345"/>
                <a:gd name="T3" fmla="*/ 81 h 86"/>
                <a:gd name="T4" fmla="*/ 133 w 345"/>
                <a:gd name="T5" fmla="*/ 76 h 86"/>
                <a:gd name="T6" fmla="*/ 148 w 345"/>
                <a:gd name="T7" fmla="*/ 72 h 86"/>
                <a:gd name="T8" fmla="*/ 164 w 345"/>
                <a:gd name="T9" fmla="*/ 69 h 86"/>
                <a:gd name="T10" fmla="*/ 197 w 345"/>
                <a:gd name="T11" fmla="*/ 63 h 86"/>
                <a:gd name="T12" fmla="*/ 231 w 345"/>
                <a:gd name="T13" fmla="*/ 57 h 86"/>
                <a:gd name="T14" fmla="*/ 247 w 345"/>
                <a:gd name="T15" fmla="*/ 53 h 86"/>
                <a:gd name="T16" fmla="*/ 264 w 345"/>
                <a:gd name="T17" fmla="*/ 50 h 86"/>
                <a:gd name="T18" fmla="*/ 279 w 345"/>
                <a:gd name="T19" fmla="*/ 46 h 86"/>
                <a:gd name="T20" fmla="*/ 294 w 345"/>
                <a:gd name="T21" fmla="*/ 40 h 86"/>
                <a:gd name="T22" fmla="*/ 309 w 345"/>
                <a:gd name="T23" fmla="*/ 35 h 86"/>
                <a:gd name="T24" fmla="*/ 322 w 345"/>
                <a:gd name="T25" fmla="*/ 28 h 86"/>
                <a:gd name="T26" fmla="*/ 334 w 345"/>
                <a:gd name="T27" fmla="*/ 21 h 86"/>
                <a:gd name="T28" fmla="*/ 345 w 345"/>
                <a:gd name="T29" fmla="*/ 13 h 86"/>
                <a:gd name="T30" fmla="*/ 335 w 345"/>
                <a:gd name="T31" fmla="*/ 12 h 86"/>
                <a:gd name="T32" fmla="*/ 326 w 345"/>
                <a:gd name="T33" fmla="*/ 11 h 86"/>
                <a:gd name="T34" fmla="*/ 317 w 345"/>
                <a:gd name="T35" fmla="*/ 9 h 86"/>
                <a:gd name="T36" fmla="*/ 309 w 345"/>
                <a:gd name="T37" fmla="*/ 6 h 86"/>
                <a:gd name="T38" fmla="*/ 300 w 345"/>
                <a:gd name="T39" fmla="*/ 4 h 86"/>
                <a:gd name="T40" fmla="*/ 291 w 345"/>
                <a:gd name="T41" fmla="*/ 2 h 86"/>
                <a:gd name="T42" fmla="*/ 281 w 345"/>
                <a:gd name="T43" fmla="*/ 1 h 86"/>
                <a:gd name="T44" fmla="*/ 272 w 345"/>
                <a:gd name="T45" fmla="*/ 0 h 86"/>
                <a:gd name="T46" fmla="*/ 259 w 345"/>
                <a:gd name="T47" fmla="*/ 1 h 86"/>
                <a:gd name="T48" fmla="*/ 245 w 345"/>
                <a:gd name="T49" fmla="*/ 3 h 86"/>
                <a:gd name="T50" fmla="*/ 227 w 345"/>
                <a:gd name="T51" fmla="*/ 5 h 86"/>
                <a:gd name="T52" fmla="*/ 209 w 345"/>
                <a:gd name="T53" fmla="*/ 9 h 86"/>
                <a:gd name="T54" fmla="*/ 168 w 345"/>
                <a:gd name="T55" fmla="*/ 18 h 86"/>
                <a:gd name="T56" fmla="*/ 126 w 345"/>
                <a:gd name="T57" fmla="*/ 29 h 86"/>
                <a:gd name="T58" fmla="*/ 104 w 345"/>
                <a:gd name="T59" fmla="*/ 36 h 86"/>
                <a:gd name="T60" fmla="*/ 85 w 345"/>
                <a:gd name="T61" fmla="*/ 42 h 86"/>
                <a:gd name="T62" fmla="*/ 66 w 345"/>
                <a:gd name="T63" fmla="*/ 50 h 86"/>
                <a:gd name="T64" fmla="*/ 47 w 345"/>
                <a:gd name="T65" fmla="*/ 58 h 86"/>
                <a:gd name="T66" fmla="*/ 32 w 345"/>
                <a:gd name="T67" fmla="*/ 65 h 86"/>
                <a:gd name="T68" fmla="*/ 19 w 345"/>
                <a:gd name="T69" fmla="*/ 72 h 86"/>
                <a:gd name="T70" fmla="*/ 8 w 345"/>
                <a:gd name="T71" fmla="*/ 79 h 86"/>
                <a:gd name="T72" fmla="*/ 0 w 345"/>
                <a:gd name="T73" fmla="*/ 86 h 86"/>
                <a:gd name="T74" fmla="*/ 106 w 34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23" name="Freeform 429">
              <a:extLst>
                <a:ext uri="{FF2B5EF4-FFF2-40B4-BE49-F238E27FC236}">
                  <a16:creationId xmlns:a16="http://schemas.microsoft.com/office/drawing/2014/main" id="{B37256C4-C753-4282-9494-EB1C9A840CA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19 w 464"/>
                <a:gd name="T1" fmla="*/ 86 h 130"/>
                <a:gd name="T2" fmla="*/ 77 w 464"/>
                <a:gd name="T3" fmla="*/ 81 h 130"/>
                <a:gd name="T4" fmla="*/ 103 w 464"/>
                <a:gd name="T5" fmla="*/ 81 h 130"/>
                <a:gd name="T6" fmla="*/ 92 w 464"/>
                <a:gd name="T7" fmla="*/ 89 h 130"/>
                <a:gd name="T8" fmla="*/ 81 w 464"/>
                <a:gd name="T9" fmla="*/ 100 h 130"/>
                <a:gd name="T10" fmla="*/ 73 w 464"/>
                <a:gd name="T11" fmla="*/ 112 h 130"/>
                <a:gd name="T12" fmla="*/ 73 w 464"/>
                <a:gd name="T13" fmla="*/ 119 h 130"/>
                <a:gd name="T14" fmla="*/ 79 w 464"/>
                <a:gd name="T15" fmla="*/ 124 h 130"/>
                <a:gd name="T16" fmla="*/ 92 w 464"/>
                <a:gd name="T17" fmla="*/ 129 h 130"/>
                <a:gd name="T18" fmla="*/ 109 w 464"/>
                <a:gd name="T19" fmla="*/ 129 h 130"/>
                <a:gd name="T20" fmla="*/ 128 w 464"/>
                <a:gd name="T21" fmla="*/ 127 h 130"/>
                <a:gd name="T22" fmla="*/ 157 w 464"/>
                <a:gd name="T23" fmla="*/ 119 h 130"/>
                <a:gd name="T24" fmla="*/ 196 w 464"/>
                <a:gd name="T25" fmla="*/ 108 h 130"/>
                <a:gd name="T26" fmla="*/ 226 w 464"/>
                <a:gd name="T27" fmla="*/ 101 h 130"/>
                <a:gd name="T28" fmla="*/ 248 w 464"/>
                <a:gd name="T29" fmla="*/ 99 h 130"/>
                <a:gd name="T30" fmla="*/ 266 w 464"/>
                <a:gd name="T31" fmla="*/ 99 h 130"/>
                <a:gd name="T32" fmla="*/ 304 w 464"/>
                <a:gd name="T33" fmla="*/ 99 h 130"/>
                <a:gd name="T34" fmla="*/ 333 w 464"/>
                <a:gd name="T35" fmla="*/ 98 h 130"/>
                <a:gd name="T36" fmla="*/ 376 w 464"/>
                <a:gd name="T37" fmla="*/ 93 h 130"/>
                <a:gd name="T38" fmla="*/ 415 w 464"/>
                <a:gd name="T39" fmla="*/ 83 h 130"/>
                <a:gd name="T40" fmla="*/ 449 w 464"/>
                <a:gd name="T41" fmla="*/ 66 h 130"/>
                <a:gd name="T42" fmla="*/ 455 w 464"/>
                <a:gd name="T43" fmla="*/ 51 h 130"/>
                <a:gd name="T44" fmla="*/ 439 w 464"/>
                <a:gd name="T45" fmla="*/ 48 h 130"/>
                <a:gd name="T46" fmla="*/ 413 w 464"/>
                <a:gd name="T47" fmla="*/ 48 h 130"/>
                <a:gd name="T48" fmla="*/ 396 w 464"/>
                <a:gd name="T49" fmla="*/ 46 h 130"/>
                <a:gd name="T50" fmla="*/ 406 w 464"/>
                <a:gd name="T51" fmla="*/ 36 h 130"/>
                <a:gd name="T52" fmla="*/ 413 w 464"/>
                <a:gd name="T53" fmla="*/ 22 h 130"/>
                <a:gd name="T54" fmla="*/ 418 w 464"/>
                <a:gd name="T55" fmla="*/ 7 h 130"/>
                <a:gd name="T56" fmla="*/ 378 w 464"/>
                <a:gd name="T57" fmla="*/ 0 h 130"/>
                <a:gd name="T58" fmla="*/ 360 w 464"/>
                <a:gd name="T59" fmla="*/ 19 h 130"/>
                <a:gd name="T60" fmla="*/ 343 w 464"/>
                <a:gd name="T61" fmla="*/ 41 h 130"/>
                <a:gd name="T62" fmla="*/ 323 w 464"/>
                <a:gd name="T63" fmla="*/ 59 h 130"/>
                <a:gd name="T64" fmla="*/ 312 w 464"/>
                <a:gd name="T65" fmla="*/ 65 h 130"/>
                <a:gd name="T66" fmla="*/ 298 w 464"/>
                <a:gd name="T67" fmla="*/ 68 h 130"/>
                <a:gd name="T68" fmla="*/ 278 w 464"/>
                <a:gd name="T69" fmla="*/ 66 h 130"/>
                <a:gd name="T70" fmla="*/ 262 w 464"/>
                <a:gd name="T71" fmla="*/ 63 h 130"/>
                <a:gd name="T72" fmla="*/ 239 w 464"/>
                <a:gd name="T73" fmla="*/ 54 h 130"/>
                <a:gd name="T74" fmla="*/ 205 w 464"/>
                <a:gd name="T75" fmla="*/ 31 h 130"/>
                <a:gd name="T76" fmla="*/ 180 w 464"/>
                <a:gd name="T77" fmla="*/ 29 h 130"/>
                <a:gd name="T78" fmla="*/ 150 w 464"/>
                <a:gd name="T79" fmla="*/ 31 h 130"/>
                <a:gd name="T80" fmla="*/ 117 w 464"/>
                <a:gd name="T81" fmla="*/ 37 h 130"/>
                <a:gd name="T82" fmla="*/ 85 w 464"/>
                <a:gd name="T83" fmla="*/ 45 h 130"/>
                <a:gd name="T84" fmla="*/ 54 w 464"/>
                <a:gd name="T85" fmla="*/ 54 h 130"/>
                <a:gd name="T86" fmla="*/ 29 w 464"/>
                <a:gd name="T87" fmla="*/ 65 h 130"/>
                <a:gd name="T88" fmla="*/ 9 w 464"/>
                <a:gd name="T89" fmla="*/ 77 h 130"/>
                <a:gd name="T90" fmla="*/ 0 w 464"/>
                <a:gd name="T91" fmla="*/ 8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24" name="Freeform 430">
              <a:extLst>
                <a:ext uri="{FF2B5EF4-FFF2-40B4-BE49-F238E27FC236}">
                  <a16:creationId xmlns:a16="http://schemas.microsoft.com/office/drawing/2014/main" id="{688DA5C8-567E-4339-A424-D0416E78FF5C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63 w 472"/>
                <a:gd name="T1" fmla="*/ 0 h 92"/>
                <a:gd name="T2" fmla="*/ 44 w 472"/>
                <a:gd name="T3" fmla="*/ 0 h 92"/>
                <a:gd name="T4" fmla="*/ 24 w 472"/>
                <a:gd name="T5" fmla="*/ 0 h 92"/>
                <a:gd name="T6" fmla="*/ 12 w 472"/>
                <a:gd name="T7" fmla="*/ 3 h 92"/>
                <a:gd name="T8" fmla="*/ 7 w 472"/>
                <a:gd name="T9" fmla="*/ 8 h 92"/>
                <a:gd name="T10" fmla="*/ 7 w 472"/>
                <a:gd name="T11" fmla="*/ 16 h 92"/>
                <a:gd name="T12" fmla="*/ 10 w 472"/>
                <a:gd name="T13" fmla="*/ 23 h 92"/>
                <a:gd name="T14" fmla="*/ 15 w 472"/>
                <a:gd name="T15" fmla="*/ 32 h 92"/>
                <a:gd name="T16" fmla="*/ 14 w 472"/>
                <a:gd name="T17" fmla="*/ 41 h 92"/>
                <a:gd name="T18" fmla="*/ 4 w 472"/>
                <a:gd name="T19" fmla="*/ 50 h 92"/>
                <a:gd name="T20" fmla="*/ 1 w 472"/>
                <a:gd name="T21" fmla="*/ 57 h 92"/>
                <a:gd name="T22" fmla="*/ 2 w 472"/>
                <a:gd name="T23" fmla="*/ 64 h 92"/>
                <a:gd name="T24" fmla="*/ 14 w 472"/>
                <a:gd name="T25" fmla="*/ 69 h 92"/>
                <a:gd name="T26" fmla="*/ 48 w 472"/>
                <a:gd name="T27" fmla="*/ 76 h 92"/>
                <a:gd name="T28" fmla="*/ 109 w 472"/>
                <a:gd name="T29" fmla="*/ 85 h 92"/>
                <a:gd name="T30" fmla="*/ 167 w 472"/>
                <a:gd name="T31" fmla="*/ 91 h 92"/>
                <a:gd name="T32" fmla="*/ 365 w 472"/>
                <a:gd name="T33" fmla="*/ 92 h 92"/>
                <a:gd name="T34" fmla="*/ 374 w 472"/>
                <a:gd name="T35" fmla="*/ 81 h 92"/>
                <a:gd name="T36" fmla="*/ 385 w 472"/>
                <a:gd name="T37" fmla="*/ 75 h 92"/>
                <a:gd name="T38" fmla="*/ 397 w 472"/>
                <a:gd name="T39" fmla="*/ 73 h 92"/>
                <a:gd name="T40" fmla="*/ 411 w 472"/>
                <a:gd name="T41" fmla="*/ 73 h 92"/>
                <a:gd name="T42" fmla="*/ 441 w 472"/>
                <a:gd name="T43" fmla="*/ 76 h 92"/>
                <a:gd name="T44" fmla="*/ 456 w 472"/>
                <a:gd name="T45" fmla="*/ 76 h 92"/>
                <a:gd name="T46" fmla="*/ 472 w 472"/>
                <a:gd name="T47" fmla="*/ 73 h 92"/>
                <a:gd name="T48" fmla="*/ 465 w 472"/>
                <a:gd name="T49" fmla="*/ 33 h 92"/>
                <a:gd name="T50" fmla="*/ 453 w 472"/>
                <a:gd name="T51" fmla="*/ 26 h 92"/>
                <a:gd name="T52" fmla="*/ 443 w 472"/>
                <a:gd name="T53" fmla="*/ 18 h 92"/>
                <a:gd name="T54" fmla="*/ 432 w 472"/>
                <a:gd name="T55" fmla="*/ 13 h 92"/>
                <a:gd name="T56" fmla="*/ 416 w 472"/>
                <a:gd name="T57" fmla="*/ 12 h 92"/>
                <a:gd name="T58" fmla="*/ 396 w 472"/>
                <a:gd name="T59" fmla="*/ 15 h 92"/>
                <a:gd name="T60" fmla="*/ 367 w 472"/>
                <a:gd name="T61" fmla="*/ 22 h 92"/>
                <a:gd name="T62" fmla="*/ 328 w 472"/>
                <a:gd name="T63" fmla="*/ 33 h 92"/>
                <a:gd name="T64" fmla="*/ 298 w 472"/>
                <a:gd name="T65" fmla="*/ 39 h 92"/>
                <a:gd name="T66" fmla="*/ 276 w 472"/>
                <a:gd name="T67" fmla="*/ 42 h 92"/>
                <a:gd name="T68" fmla="*/ 236 w 472"/>
                <a:gd name="T69" fmla="*/ 42 h 92"/>
                <a:gd name="T70" fmla="*/ 191 w 472"/>
                <a:gd name="T71" fmla="*/ 42 h 92"/>
                <a:gd name="T72" fmla="*/ 156 w 472"/>
                <a:gd name="T73" fmla="*/ 42 h 92"/>
                <a:gd name="T74" fmla="*/ 120 w 472"/>
                <a:gd name="T75" fmla="*/ 42 h 92"/>
                <a:gd name="T76" fmla="*/ 91 w 472"/>
                <a:gd name="T77" fmla="*/ 41 h 92"/>
                <a:gd name="T78" fmla="*/ 78 w 472"/>
                <a:gd name="T79" fmla="*/ 36 h 92"/>
                <a:gd name="T80" fmla="*/ 70 w 472"/>
                <a:gd name="T81" fmla="*/ 27 h 92"/>
                <a:gd name="T82" fmla="*/ 67 w 472"/>
                <a:gd name="T83" fmla="*/ 17 h 92"/>
                <a:gd name="T84" fmla="*/ 69 w 472"/>
                <a:gd name="T85" fmla="*/ 8 h 92"/>
                <a:gd name="T86" fmla="*/ 74 w 472"/>
                <a:gd name="T87" fmla="*/ 2 h 92"/>
                <a:gd name="T88" fmla="*/ 74 w 472"/>
                <a:gd name="T8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25" name="Freeform 431">
              <a:extLst>
                <a:ext uri="{FF2B5EF4-FFF2-40B4-BE49-F238E27FC236}">
                  <a16:creationId xmlns:a16="http://schemas.microsoft.com/office/drawing/2014/main" id="{AE3B66BF-4591-4837-BBBA-56BD425EAD44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145 w 326"/>
                <a:gd name="T1" fmla="*/ 107 h 135"/>
                <a:gd name="T2" fmla="*/ 203 w 326"/>
                <a:gd name="T3" fmla="*/ 97 h 135"/>
                <a:gd name="T4" fmla="*/ 262 w 326"/>
                <a:gd name="T5" fmla="*/ 84 h 135"/>
                <a:gd name="T6" fmla="*/ 300 w 326"/>
                <a:gd name="T7" fmla="*/ 74 h 135"/>
                <a:gd name="T8" fmla="*/ 318 w 326"/>
                <a:gd name="T9" fmla="*/ 66 h 135"/>
                <a:gd name="T10" fmla="*/ 322 w 326"/>
                <a:gd name="T11" fmla="*/ 56 h 135"/>
                <a:gd name="T12" fmla="*/ 312 w 326"/>
                <a:gd name="T13" fmla="*/ 48 h 135"/>
                <a:gd name="T14" fmla="*/ 300 w 326"/>
                <a:gd name="T15" fmla="*/ 41 h 135"/>
                <a:gd name="T16" fmla="*/ 286 w 326"/>
                <a:gd name="T17" fmla="*/ 37 h 135"/>
                <a:gd name="T18" fmla="*/ 263 w 326"/>
                <a:gd name="T19" fmla="*/ 32 h 135"/>
                <a:gd name="T20" fmla="*/ 230 w 326"/>
                <a:gd name="T21" fmla="*/ 30 h 135"/>
                <a:gd name="T22" fmla="*/ 209 w 326"/>
                <a:gd name="T23" fmla="*/ 30 h 135"/>
                <a:gd name="T24" fmla="*/ 202 w 326"/>
                <a:gd name="T25" fmla="*/ 24 h 135"/>
                <a:gd name="T26" fmla="*/ 196 w 326"/>
                <a:gd name="T27" fmla="*/ 17 h 135"/>
                <a:gd name="T28" fmla="*/ 191 w 326"/>
                <a:gd name="T29" fmla="*/ 9 h 135"/>
                <a:gd name="T30" fmla="*/ 180 w 326"/>
                <a:gd name="T31" fmla="*/ 5 h 135"/>
                <a:gd name="T32" fmla="*/ 162 w 326"/>
                <a:gd name="T33" fmla="*/ 1 h 135"/>
                <a:gd name="T34" fmla="*/ 135 w 326"/>
                <a:gd name="T35" fmla="*/ 1 h 135"/>
                <a:gd name="T36" fmla="*/ 87 w 326"/>
                <a:gd name="T37" fmla="*/ 8 h 135"/>
                <a:gd name="T38" fmla="*/ 49 w 326"/>
                <a:gd name="T39" fmla="*/ 17 h 135"/>
                <a:gd name="T40" fmla="*/ 27 w 326"/>
                <a:gd name="T41" fmla="*/ 26 h 135"/>
                <a:gd name="T42" fmla="*/ 11 w 326"/>
                <a:gd name="T43" fmla="*/ 37 h 135"/>
                <a:gd name="T44" fmla="*/ 3 w 326"/>
                <a:gd name="T45" fmla="*/ 46 h 135"/>
                <a:gd name="T46" fmla="*/ 1 w 326"/>
                <a:gd name="T47" fmla="*/ 52 h 135"/>
                <a:gd name="T48" fmla="*/ 34 w 326"/>
                <a:gd name="T49" fmla="*/ 74 h 135"/>
                <a:gd name="T50" fmla="*/ 56 w 326"/>
                <a:gd name="T51" fmla="*/ 81 h 135"/>
                <a:gd name="T52" fmla="*/ 41 w 326"/>
                <a:gd name="T53" fmla="*/ 90 h 135"/>
                <a:gd name="T54" fmla="*/ 38 w 326"/>
                <a:gd name="T55" fmla="*/ 99 h 135"/>
                <a:gd name="T56" fmla="*/ 44 w 326"/>
                <a:gd name="T57" fmla="*/ 114 h 135"/>
                <a:gd name="T58" fmla="*/ 48 w 326"/>
                <a:gd name="T59" fmla="*/ 128 h 135"/>
                <a:gd name="T60" fmla="*/ 55 w 326"/>
                <a:gd name="T61" fmla="*/ 134 h 135"/>
                <a:gd name="T62" fmla="*/ 69 w 326"/>
                <a:gd name="T63" fmla="*/ 135 h 135"/>
                <a:gd name="T64" fmla="*/ 86 w 326"/>
                <a:gd name="T65" fmla="*/ 131 h 135"/>
                <a:gd name="T66" fmla="*/ 101 w 326"/>
                <a:gd name="T67" fmla="*/ 127 h 135"/>
                <a:gd name="T68" fmla="*/ 117 w 326"/>
                <a:gd name="T69" fmla="*/ 124 h 135"/>
                <a:gd name="T70" fmla="*/ 120 w 326"/>
                <a:gd name="T71" fmla="*/ 11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26" name="Freeform 432">
              <a:extLst>
                <a:ext uri="{FF2B5EF4-FFF2-40B4-BE49-F238E27FC236}">
                  <a16:creationId xmlns:a16="http://schemas.microsoft.com/office/drawing/2014/main" id="{3F3553CA-B655-4FED-BF8D-A88DE5CB9FF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46 w 159"/>
                <a:gd name="T1" fmla="*/ 53 h 56"/>
                <a:gd name="T2" fmla="*/ 40 w 159"/>
                <a:gd name="T3" fmla="*/ 52 h 56"/>
                <a:gd name="T4" fmla="*/ 34 w 159"/>
                <a:gd name="T5" fmla="*/ 49 h 56"/>
                <a:gd name="T6" fmla="*/ 26 w 159"/>
                <a:gd name="T7" fmla="*/ 45 h 56"/>
                <a:gd name="T8" fmla="*/ 18 w 159"/>
                <a:gd name="T9" fmla="*/ 38 h 56"/>
                <a:gd name="T10" fmla="*/ 10 w 159"/>
                <a:gd name="T11" fmla="*/ 31 h 56"/>
                <a:gd name="T12" fmla="*/ 5 w 159"/>
                <a:gd name="T13" fmla="*/ 24 h 56"/>
                <a:gd name="T14" fmla="*/ 3 w 159"/>
                <a:gd name="T15" fmla="*/ 21 h 56"/>
                <a:gd name="T16" fmla="*/ 1 w 159"/>
                <a:gd name="T17" fmla="*/ 17 h 56"/>
                <a:gd name="T18" fmla="*/ 0 w 159"/>
                <a:gd name="T19" fmla="*/ 13 h 56"/>
                <a:gd name="T20" fmla="*/ 0 w 159"/>
                <a:gd name="T21" fmla="*/ 10 h 56"/>
                <a:gd name="T22" fmla="*/ 21 w 159"/>
                <a:gd name="T23" fmla="*/ 10 h 56"/>
                <a:gd name="T24" fmla="*/ 39 w 159"/>
                <a:gd name="T25" fmla="*/ 10 h 56"/>
                <a:gd name="T26" fmla="*/ 52 w 159"/>
                <a:gd name="T27" fmla="*/ 10 h 56"/>
                <a:gd name="T28" fmla="*/ 59 w 159"/>
                <a:gd name="T29" fmla="*/ 10 h 56"/>
                <a:gd name="T30" fmla="*/ 83 w 159"/>
                <a:gd name="T31" fmla="*/ 6 h 56"/>
                <a:gd name="T32" fmla="*/ 117 w 159"/>
                <a:gd name="T33" fmla="*/ 0 h 56"/>
                <a:gd name="T34" fmla="*/ 125 w 159"/>
                <a:gd name="T35" fmla="*/ 0 h 56"/>
                <a:gd name="T36" fmla="*/ 132 w 159"/>
                <a:gd name="T37" fmla="*/ 0 h 56"/>
                <a:gd name="T38" fmla="*/ 140 w 159"/>
                <a:gd name="T39" fmla="*/ 0 h 56"/>
                <a:gd name="T40" fmla="*/ 147 w 159"/>
                <a:gd name="T41" fmla="*/ 2 h 56"/>
                <a:gd name="T42" fmla="*/ 151 w 159"/>
                <a:gd name="T43" fmla="*/ 5 h 56"/>
                <a:gd name="T44" fmla="*/ 155 w 159"/>
                <a:gd name="T45" fmla="*/ 9 h 56"/>
                <a:gd name="T46" fmla="*/ 158 w 159"/>
                <a:gd name="T47" fmla="*/ 15 h 56"/>
                <a:gd name="T48" fmla="*/ 159 w 159"/>
                <a:gd name="T49" fmla="*/ 22 h 56"/>
                <a:gd name="T50" fmla="*/ 158 w 159"/>
                <a:gd name="T51" fmla="*/ 30 h 56"/>
                <a:gd name="T52" fmla="*/ 155 w 159"/>
                <a:gd name="T53" fmla="*/ 37 h 56"/>
                <a:gd name="T54" fmla="*/ 151 w 159"/>
                <a:gd name="T55" fmla="*/ 44 h 56"/>
                <a:gd name="T56" fmla="*/ 146 w 159"/>
                <a:gd name="T57" fmla="*/ 48 h 56"/>
                <a:gd name="T58" fmla="*/ 139 w 159"/>
                <a:gd name="T59" fmla="*/ 52 h 56"/>
                <a:gd name="T60" fmla="*/ 132 w 159"/>
                <a:gd name="T61" fmla="*/ 54 h 56"/>
                <a:gd name="T62" fmla="*/ 124 w 159"/>
                <a:gd name="T63" fmla="*/ 55 h 56"/>
                <a:gd name="T64" fmla="*/ 115 w 159"/>
                <a:gd name="T65" fmla="*/ 56 h 56"/>
                <a:gd name="T66" fmla="*/ 77 w 159"/>
                <a:gd name="T67" fmla="*/ 55 h 56"/>
                <a:gd name="T68" fmla="*/ 46 w 159"/>
                <a:gd name="T69" fmla="*/ 5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27" name="Freeform 433">
              <a:extLst>
                <a:ext uri="{FF2B5EF4-FFF2-40B4-BE49-F238E27FC236}">
                  <a16:creationId xmlns:a16="http://schemas.microsoft.com/office/drawing/2014/main" id="{41B2F3D8-381A-4B00-A569-70D7FD24CF0E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2931 w 3734"/>
                <a:gd name="T1" fmla="*/ 1362 h 1644"/>
                <a:gd name="T2" fmla="*/ 2556 w 3734"/>
                <a:gd name="T3" fmla="*/ 1522 h 1644"/>
                <a:gd name="T4" fmla="*/ 2312 w 3734"/>
                <a:gd name="T5" fmla="*/ 1592 h 1644"/>
                <a:gd name="T6" fmla="*/ 2294 w 3734"/>
                <a:gd name="T7" fmla="*/ 1634 h 1644"/>
                <a:gd name="T8" fmla="*/ 2177 w 3734"/>
                <a:gd name="T9" fmla="*/ 1607 h 1644"/>
                <a:gd name="T10" fmla="*/ 2279 w 3734"/>
                <a:gd name="T11" fmla="*/ 1512 h 1644"/>
                <a:gd name="T12" fmla="*/ 2166 w 3734"/>
                <a:gd name="T13" fmla="*/ 1416 h 1644"/>
                <a:gd name="T14" fmla="*/ 2094 w 3734"/>
                <a:gd name="T15" fmla="*/ 1295 h 1644"/>
                <a:gd name="T16" fmla="*/ 1947 w 3734"/>
                <a:gd name="T17" fmla="*/ 1317 h 1644"/>
                <a:gd name="T18" fmla="*/ 1771 w 3734"/>
                <a:gd name="T19" fmla="*/ 1281 h 1644"/>
                <a:gd name="T20" fmla="*/ 261 w 3734"/>
                <a:gd name="T21" fmla="*/ 1235 h 1644"/>
                <a:gd name="T22" fmla="*/ 127 w 3734"/>
                <a:gd name="T23" fmla="*/ 1125 h 1644"/>
                <a:gd name="T24" fmla="*/ 151 w 3734"/>
                <a:gd name="T25" fmla="*/ 1040 h 1644"/>
                <a:gd name="T26" fmla="*/ 147 w 3734"/>
                <a:gd name="T27" fmla="*/ 927 h 1644"/>
                <a:gd name="T28" fmla="*/ 259 w 3734"/>
                <a:gd name="T29" fmla="*/ 859 h 1644"/>
                <a:gd name="T30" fmla="*/ 250 w 3734"/>
                <a:gd name="T31" fmla="*/ 747 h 1644"/>
                <a:gd name="T32" fmla="*/ 128 w 3734"/>
                <a:gd name="T33" fmla="*/ 665 h 1644"/>
                <a:gd name="T34" fmla="*/ 602 w 3734"/>
                <a:gd name="T35" fmla="*/ 114 h 1644"/>
                <a:gd name="T36" fmla="*/ 1146 w 3734"/>
                <a:gd name="T37" fmla="*/ 105 h 1644"/>
                <a:gd name="T38" fmla="*/ 1296 w 3734"/>
                <a:gd name="T39" fmla="*/ 117 h 1644"/>
                <a:gd name="T40" fmla="*/ 1641 w 3734"/>
                <a:gd name="T41" fmla="*/ 166 h 1644"/>
                <a:gd name="T42" fmla="*/ 1771 w 3734"/>
                <a:gd name="T43" fmla="*/ 206 h 1644"/>
                <a:gd name="T44" fmla="*/ 2076 w 3734"/>
                <a:gd name="T45" fmla="*/ 193 h 1644"/>
                <a:gd name="T46" fmla="*/ 2286 w 3734"/>
                <a:gd name="T47" fmla="*/ 216 h 1644"/>
                <a:gd name="T48" fmla="*/ 2365 w 3734"/>
                <a:gd name="T49" fmla="*/ 216 h 1644"/>
                <a:gd name="T50" fmla="*/ 2518 w 3734"/>
                <a:gd name="T51" fmla="*/ 123 h 1644"/>
                <a:gd name="T52" fmla="*/ 2587 w 3734"/>
                <a:gd name="T53" fmla="*/ 2 h 1644"/>
                <a:gd name="T54" fmla="*/ 2644 w 3734"/>
                <a:gd name="T55" fmla="*/ 105 h 1644"/>
                <a:gd name="T56" fmla="*/ 2664 w 3734"/>
                <a:gd name="T57" fmla="*/ 166 h 1644"/>
                <a:gd name="T58" fmla="*/ 2716 w 3734"/>
                <a:gd name="T59" fmla="*/ 196 h 1644"/>
                <a:gd name="T60" fmla="*/ 2891 w 3734"/>
                <a:gd name="T61" fmla="*/ 121 h 1644"/>
                <a:gd name="T62" fmla="*/ 3036 w 3734"/>
                <a:gd name="T63" fmla="*/ 135 h 1644"/>
                <a:gd name="T64" fmla="*/ 2883 w 3734"/>
                <a:gd name="T65" fmla="*/ 271 h 1644"/>
                <a:gd name="T66" fmla="*/ 2790 w 3734"/>
                <a:gd name="T67" fmla="*/ 289 h 1644"/>
                <a:gd name="T68" fmla="*/ 2569 w 3734"/>
                <a:gd name="T69" fmla="*/ 304 h 1644"/>
                <a:gd name="T70" fmla="*/ 2501 w 3734"/>
                <a:gd name="T71" fmla="*/ 402 h 1644"/>
                <a:gd name="T72" fmla="*/ 2333 w 3734"/>
                <a:gd name="T73" fmla="*/ 471 h 1644"/>
                <a:gd name="T74" fmla="*/ 2087 w 3734"/>
                <a:gd name="T75" fmla="*/ 625 h 1644"/>
                <a:gd name="T76" fmla="*/ 2106 w 3734"/>
                <a:gd name="T77" fmla="*/ 793 h 1644"/>
                <a:gd name="T78" fmla="*/ 2360 w 3734"/>
                <a:gd name="T79" fmla="*/ 907 h 1644"/>
                <a:gd name="T80" fmla="*/ 2443 w 3734"/>
                <a:gd name="T81" fmla="*/ 1059 h 1644"/>
                <a:gd name="T82" fmla="*/ 2614 w 3734"/>
                <a:gd name="T83" fmla="*/ 987 h 1644"/>
                <a:gd name="T84" fmla="*/ 2848 w 3734"/>
                <a:gd name="T85" fmla="*/ 785 h 1644"/>
                <a:gd name="T86" fmla="*/ 2896 w 3734"/>
                <a:gd name="T87" fmla="*/ 597 h 1644"/>
                <a:gd name="T88" fmla="*/ 3156 w 3734"/>
                <a:gd name="T89" fmla="*/ 500 h 1644"/>
                <a:gd name="T90" fmla="*/ 3276 w 3734"/>
                <a:gd name="T91" fmla="*/ 592 h 1644"/>
                <a:gd name="T92" fmla="*/ 3226 w 3734"/>
                <a:gd name="T93" fmla="*/ 736 h 1644"/>
                <a:gd name="T94" fmla="*/ 3492 w 3734"/>
                <a:gd name="T95" fmla="*/ 613 h 1644"/>
                <a:gd name="T96" fmla="*/ 3545 w 3734"/>
                <a:gd name="T97" fmla="*/ 774 h 1644"/>
                <a:gd name="T98" fmla="*/ 3662 w 3734"/>
                <a:gd name="T99" fmla="*/ 924 h 1644"/>
                <a:gd name="T100" fmla="*/ 3616 w 3734"/>
                <a:gd name="T101" fmla="*/ 961 h 1644"/>
                <a:gd name="T102" fmla="*/ 3694 w 3734"/>
                <a:gd name="T103" fmla="*/ 1028 h 1644"/>
                <a:gd name="T104" fmla="*/ 3556 w 3734"/>
                <a:gd name="T105" fmla="*/ 1108 h 1644"/>
                <a:gd name="T106" fmla="*/ 3151 w 3734"/>
                <a:gd name="T107" fmla="*/ 1168 h 1644"/>
                <a:gd name="T108" fmla="*/ 2853 w 3734"/>
                <a:gd name="T109" fmla="*/ 1335 h 1644"/>
                <a:gd name="T110" fmla="*/ 2905 w 3734"/>
                <a:gd name="T111" fmla="*/ 1337 h 1644"/>
                <a:gd name="T112" fmla="*/ 3216 w 3734"/>
                <a:gd name="T113" fmla="*/ 1256 h 1644"/>
                <a:gd name="T114" fmla="*/ 3066 w 3734"/>
                <a:gd name="T115" fmla="*/ 1298 h 1644"/>
                <a:gd name="T116" fmla="*/ 3138 w 3734"/>
                <a:gd name="T117" fmla="*/ 1391 h 1644"/>
                <a:gd name="T118" fmla="*/ 3248 w 3734"/>
                <a:gd name="T119" fmla="*/ 1473 h 1644"/>
                <a:gd name="T120" fmla="*/ 3018 w 3734"/>
                <a:gd name="T121" fmla="*/ 1564 h 1644"/>
                <a:gd name="T122" fmla="*/ 3189 w 3734"/>
                <a:gd name="T123" fmla="*/ 1466 h 1644"/>
                <a:gd name="T124" fmla="*/ 3016 w 3734"/>
                <a:gd name="T125" fmla="*/ 1484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80" name="Freeform 486">
            <a:extLst>
              <a:ext uri="{FF2B5EF4-FFF2-40B4-BE49-F238E27FC236}">
                <a16:creationId xmlns:a16="http://schemas.microsoft.com/office/drawing/2014/main" id="{8923D369-CBBF-471F-BCB2-238E47610237}"/>
              </a:ext>
            </a:extLst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8390308" y="2269131"/>
            <a:ext cx="103891" cy="60325"/>
          </a:xfrm>
          <a:custGeom>
            <a:avLst/>
            <a:gdLst>
              <a:gd name="T0" fmla="*/ 27 w 246"/>
              <a:gd name="T1" fmla="*/ 36 h 42"/>
              <a:gd name="T2" fmla="*/ 36 w 246"/>
              <a:gd name="T3" fmla="*/ 36 h 42"/>
              <a:gd name="T4" fmla="*/ 45 w 246"/>
              <a:gd name="T5" fmla="*/ 35 h 42"/>
              <a:gd name="T6" fmla="*/ 53 w 246"/>
              <a:gd name="T7" fmla="*/ 33 h 42"/>
              <a:gd name="T8" fmla="*/ 59 w 246"/>
              <a:gd name="T9" fmla="*/ 31 h 42"/>
              <a:gd name="T10" fmla="*/ 66 w 246"/>
              <a:gd name="T11" fmla="*/ 30 h 42"/>
              <a:gd name="T12" fmla="*/ 72 w 246"/>
              <a:gd name="T13" fmla="*/ 29 h 42"/>
              <a:gd name="T14" fmla="*/ 80 w 246"/>
              <a:gd name="T15" fmla="*/ 29 h 42"/>
              <a:gd name="T16" fmla="*/ 87 w 246"/>
              <a:gd name="T17" fmla="*/ 30 h 42"/>
              <a:gd name="T18" fmla="*/ 87 w 246"/>
              <a:gd name="T19" fmla="*/ 42 h 42"/>
              <a:gd name="T20" fmla="*/ 154 w 246"/>
              <a:gd name="T21" fmla="*/ 42 h 42"/>
              <a:gd name="T22" fmla="*/ 154 w 246"/>
              <a:gd name="T23" fmla="*/ 39 h 42"/>
              <a:gd name="T24" fmla="*/ 156 w 246"/>
              <a:gd name="T25" fmla="*/ 36 h 42"/>
              <a:gd name="T26" fmla="*/ 159 w 246"/>
              <a:gd name="T27" fmla="*/ 33 h 42"/>
              <a:gd name="T28" fmla="*/ 163 w 246"/>
              <a:gd name="T29" fmla="*/ 31 h 42"/>
              <a:gd name="T30" fmla="*/ 175 w 246"/>
              <a:gd name="T31" fmla="*/ 26 h 42"/>
              <a:gd name="T32" fmla="*/ 190 w 246"/>
              <a:gd name="T33" fmla="*/ 23 h 42"/>
              <a:gd name="T34" fmla="*/ 221 w 246"/>
              <a:gd name="T35" fmla="*/ 17 h 42"/>
              <a:gd name="T36" fmla="*/ 246 w 246"/>
              <a:gd name="T37" fmla="*/ 12 h 42"/>
              <a:gd name="T38" fmla="*/ 212 w 246"/>
              <a:gd name="T39" fmla="*/ 13 h 42"/>
              <a:gd name="T40" fmla="*/ 186 w 246"/>
              <a:gd name="T41" fmla="*/ 14 h 42"/>
              <a:gd name="T42" fmla="*/ 178 w 246"/>
              <a:gd name="T43" fmla="*/ 15 h 42"/>
              <a:gd name="T44" fmla="*/ 171 w 246"/>
              <a:gd name="T45" fmla="*/ 15 h 42"/>
              <a:gd name="T46" fmla="*/ 168 w 246"/>
              <a:gd name="T47" fmla="*/ 14 h 42"/>
              <a:gd name="T48" fmla="*/ 167 w 246"/>
              <a:gd name="T49" fmla="*/ 12 h 42"/>
              <a:gd name="T50" fmla="*/ 159 w 246"/>
              <a:gd name="T51" fmla="*/ 16 h 42"/>
              <a:gd name="T52" fmla="*/ 152 w 246"/>
              <a:gd name="T53" fmla="*/ 17 h 42"/>
              <a:gd name="T54" fmla="*/ 147 w 246"/>
              <a:gd name="T55" fmla="*/ 17 h 42"/>
              <a:gd name="T56" fmla="*/ 141 w 246"/>
              <a:gd name="T57" fmla="*/ 15 h 42"/>
              <a:gd name="T58" fmla="*/ 137 w 246"/>
              <a:gd name="T59" fmla="*/ 12 h 42"/>
              <a:gd name="T60" fmla="*/ 133 w 246"/>
              <a:gd name="T61" fmla="*/ 9 h 42"/>
              <a:gd name="T62" fmla="*/ 129 w 246"/>
              <a:gd name="T63" fmla="*/ 5 h 42"/>
              <a:gd name="T64" fmla="*/ 126 w 246"/>
              <a:gd name="T65" fmla="*/ 0 h 42"/>
              <a:gd name="T66" fmla="*/ 121 w 246"/>
              <a:gd name="T67" fmla="*/ 2 h 42"/>
              <a:gd name="T68" fmla="*/ 113 w 246"/>
              <a:gd name="T69" fmla="*/ 4 h 42"/>
              <a:gd name="T70" fmla="*/ 103 w 246"/>
              <a:gd name="T71" fmla="*/ 5 h 42"/>
              <a:gd name="T72" fmla="*/ 93 w 246"/>
              <a:gd name="T73" fmla="*/ 5 h 42"/>
              <a:gd name="T74" fmla="*/ 74 w 246"/>
              <a:gd name="T75" fmla="*/ 6 h 42"/>
              <a:gd name="T76" fmla="*/ 60 w 246"/>
              <a:gd name="T77" fmla="*/ 6 h 42"/>
              <a:gd name="T78" fmla="*/ 58 w 246"/>
              <a:gd name="T79" fmla="*/ 9 h 42"/>
              <a:gd name="T80" fmla="*/ 56 w 246"/>
              <a:gd name="T81" fmla="*/ 12 h 42"/>
              <a:gd name="T82" fmla="*/ 54 w 246"/>
              <a:gd name="T83" fmla="*/ 15 h 42"/>
              <a:gd name="T84" fmla="*/ 50 w 246"/>
              <a:gd name="T85" fmla="*/ 17 h 42"/>
              <a:gd name="T86" fmla="*/ 42 w 246"/>
              <a:gd name="T87" fmla="*/ 20 h 42"/>
              <a:gd name="T88" fmla="*/ 33 w 246"/>
              <a:gd name="T89" fmla="*/ 22 h 42"/>
              <a:gd name="T90" fmla="*/ 14 w 246"/>
              <a:gd name="T91" fmla="*/ 24 h 42"/>
              <a:gd name="T92" fmla="*/ 0 w 246"/>
              <a:gd name="T93" fmla="*/ 24 h 42"/>
              <a:gd name="T94" fmla="*/ 1 w 246"/>
              <a:gd name="T95" fmla="*/ 27 h 42"/>
              <a:gd name="T96" fmla="*/ 3 w 246"/>
              <a:gd name="T97" fmla="*/ 29 h 42"/>
              <a:gd name="T98" fmla="*/ 5 w 246"/>
              <a:gd name="T99" fmla="*/ 31 h 42"/>
              <a:gd name="T100" fmla="*/ 9 w 246"/>
              <a:gd name="T101" fmla="*/ 33 h 42"/>
              <a:gd name="T102" fmla="*/ 17 w 246"/>
              <a:gd name="T103" fmla="*/ 35 h 42"/>
              <a:gd name="T104" fmla="*/ 27 w 246"/>
              <a:gd name="T105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1" name="Freeform 487">
            <a:extLst>
              <a:ext uri="{FF2B5EF4-FFF2-40B4-BE49-F238E27FC236}">
                <a16:creationId xmlns:a16="http://schemas.microsoft.com/office/drawing/2014/main" id="{FE5F2CF4-8BAF-4C75-A4A1-C2625873E09E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8527811" y="2251668"/>
            <a:ext cx="61112" cy="57150"/>
          </a:xfrm>
          <a:custGeom>
            <a:avLst/>
            <a:gdLst>
              <a:gd name="T0" fmla="*/ 103 w 149"/>
              <a:gd name="T1" fmla="*/ 0 h 61"/>
              <a:gd name="T2" fmla="*/ 118 w 149"/>
              <a:gd name="T3" fmla="*/ 1 h 61"/>
              <a:gd name="T4" fmla="*/ 134 w 149"/>
              <a:gd name="T5" fmla="*/ 3 h 61"/>
              <a:gd name="T6" fmla="*/ 145 w 149"/>
              <a:gd name="T7" fmla="*/ 5 h 61"/>
              <a:gd name="T8" fmla="*/ 149 w 149"/>
              <a:gd name="T9" fmla="*/ 6 h 61"/>
              <a:gd name="T10" fmla="*/ 149 w 149"/>
              <a:gd name="T11" fmla="*/ 8 h 61"/>
              <a:gd name="T12" fmla="*/ 147 w 149"/>
              <a:gd name="T13" fmla="*/ 10 h 61"/>
              <a:gd name="T14" fmla="*/ 145 w 149"/>
              <a:gd name="T15" fmla="*/ 12 h 61"/>
              <a:gd name="T16" fmla="*/ 141 w 149"/>
              <a:gd name="T17" fmla="*/ 13 h 61"/>
              <a:gd name="T18" fmla="*/ 137 w 149"/>
              <a:gd name="T19" fmla="*/ 14 h 61"/>
              <a:gd name="T20" fmla="*/ 132 w 149"/>
              <a:gd name="T21" fmla="*/ 14 h 61"/>
              <a:gd name="T22" fmla="*/ 127 w 149"/>
              <a:gd name="T23" fmla="*/ 14 h 61"/>
              <a:gd name="T24" fmla="*/ 123 w 149"/>
              <a:gd name="T25" fmla="*/ 12 h 61"/>
              <a:gd name="T26" fmla="*/ 123 w 149"/>
              <a:gd name="T27" fmla="*/ 23 h 61"/>
              <a:gd name="T28" fmla="*/ 123 w 149"/>
              <a:gd name="T29" fmla="*/ 33 h 61"/>
              <a:gd name="T30" fmla="*/ 123 w 149"/>
              <a:gd name="T31" fmla="*/ 41 h 61"/>
              <a:gd name="T32" fmla="*/ 123 w 149"/>
              <a:gd name="T33" fmla="*/ 49 h 61"/>
              <a:gd name="T34" fmla="*/ 116 w 149"/>
              <a:gd name="T35" fmla="*/ 50 h 61"/>
              <a:gd name="T36" fmla="*/ 109 w 149"/>
              <a:gd name="T37" fmla="*/ 51 h 61"/>
              <a:gd name="T38" fmla="*/ 104 w 149"/>
              <a:gd name="T39" fmla="*/ 53 h 61"/>
              <a:gd name="T40" fmla="*/ 100 w 149"/>
              <a:gd name="T41" fmla="*/ 55 h 61"/>
              <a:gd name="T42" fmla="*/ 94 w 149"/>
              <a:gd name="T43" fmla="*/ 57 h 61"/>
              <a:gd name="T44" fmla="*/ 89 w 149"/>
              <a:gd name="T45" fmla="*/ 59 h 61"/>
              <a:gd name="T46" fmla="*/ 83 w 149"/>
              <a:gd name="T47" fmla="*/ 61 h 61"/>
              <a:gd name="T48" fmla="*/ 76 w 149"/>
              <a:gd name="T49" fmla="*/ 61 h 61"/>
              <a:gd name="T50" fmla="*/ 67 w 149"/>
              <a:gd name="T51" fmla="*/ 60 h 61"/>
              <a:gd name="T52" fmla="*/ 53 w 149"/>
              <a:gd name="T53" fmla="*/ 57 h 61"/>
              <a:gd name="T54" fmla="*/ 39 w 149"/>
              <a:gd name="T55" fmla="*/ 54 h 61"/>
              <a:gd name="T56" fmla="*/ 25 w 149"/>
              <a:gd name="T57" fmla="*/ 49 h 61"/>
              <a:gd name="T58" fmla="*/ 12 w 149"/>
              <a:gd name="T59" fmla="*/ 45 h 61"/>
              <a:gd name="T60" fmla="*/ 3 w 149"/>
              <a:gd name="T61" fmla="*/ 41 h 61"/>
              <a:gd name="T62" fmla="*/ 1 w 149"/>
              <a:gd name="T63" fmla="*/ 39 h 61"/>
              <a:gd name="T64" fmla="*/ 0 w 149"/>
              <a:gd name="T65" fmla="*/ 38 h 61"/>
              <a:gd name="T66" fmla="*/ 0 w 149"/>
              <a:gd name="T67" fmla="*/ 37 h 61"/>
              <a:gd name="T68" fmla="*/ 3 w 149"/>
              <a:gd name="T69" fmla="*/ 37 h 61"/>
              <a:gd name="T70" fmla="*/ 19 w 149"/>
              <a:gd name="T71" fmla="*/ 36 h 61"/>
              <a:gd name="T72" fmla="*/ 35 w 149"/>
              <a:gd name="T73" fmla="*/ 35 h 61"/>
              <a:gd name="T74" fmla="*/ 48 w 149"/>
              <a:gd name="T75" fmla="*/ 32 h 61"/>
              <a:gd name="T76" fmla="*/ 60 w 149"/>
              <a:gd name="T77" fmla="*/ 27 h 61"/>
              <a:gd name="T78" fmla="*/ 72 w 149"/>
              <a:gd name="T79" fmla="*/ 22 h 61"/>
              <a:gd name="T80" fmla="*/ 82 w 149"/>
              <a:gd name="T81" fmla="*/ 16 h 61"/>
              <a:gd name="T82" fmla="*/ 93 w 149"/>
              <a:gd name="T83" fmla="*/ 8 h 61"/>
              <a:gd name="T84" fmla="*/ 103 w 149"/>
              <a:gd name="T85" fmla="*/ 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2" name="Freeform 488">
            <a:extLst>
              <a:ext uri="{FF2B5EF4-FFF2-40B4-BE49-F238E27FC236}">
                <a16:creationId xmlns:a16="http://schemas.microsoft.com/office/drawing/2014/main" id="{1D1114B3-B28E-440E-B9D1-9385048A2EDD}"/>
              </a:ext>
            </a:extLst>
          </p:cNvPr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8562951" y="2259605"/>
            <a:ext cx="125281" cy="57150"/>
          </a:xfrm>
          <a:custGeom>
            <a:avLst/>
            <a:gdLst>
              <a:gd name="T0" fmla="*/ 133 w 299"/>
              <a:gd name="T1" fmla="*/ 72 h 74"/>
              <a:gd name="T2" fmla="*/ 154 w 299"/>
              <a:gd name="T3" fmla="*/ 65 h 74"/>
              <a:gd name="T4" fmla="*/ 178 w 299"/>
              <a:gd name="T5" fmla="*/ 54 h 74"/>
              <a:gd name="T6" fmla="*/ 199 w 299"/>
              <a:gd name="T7" fmla="*/ 42 h 74"/>
              <a:gd name="T8" fmla="*/ 207 w 299"/>
              <a:gd name="T9" fmla="*/ 40 h 74"/>
              <a:gd name="T10" fmla="*/ 211 w 299"/>
              <a:gd name="T11" fmla="*/ 46 h 74"/>
              <a:gd name="T12" fmla="*/ 220 w 299"/>
              <a:gd name="T13" fmla="*/ 51 h 74"/>
              <a:gd name="T14" fmla="*/ 243 w 299"/>
              <a:gd name="T15" fmla="*/ 55 h 74"/>
              <a:gd name="T16" fmla="*/ 269 w 299"/>
              <a:gd name="T17" fmla="*/ 55 h 74"/>
              <a:gd name="T18" fmla="*/ 286 w 299"/>
              <a:gd name="T19" fmla="*/ 55 h 74"/>
              <a:gd name="T20" fmla="*/ 293 w 299"/>
              <a:gd name="T21" fmla="*/ 46 h 74"/>
              <a:gd name="T22" fmla="*/ 298 w 299"/>
              <a:gd name="T23" fmla="*/ 31 h 74"/>
              <a:gd name="T24" fmla="*/ 279 w 299"/>
              <a:gd name="T25" fmla="*/ 25 h 74"/>
              <a:gd name="T26" fmla="*/ 244 w 299"/>
              <a:gd name="T27" fmla="*/ 25 h 74"/>
              <a:gd name="T28" fmla="*/ 225 w 299"/>
              <a:gd name="T29" fmla="*/ 25 h 74"/>
              <a:gd name="T30" fmla="*/ 214 w 299"/>
              <a:gd name="T31" fmla="*/ 27 h 74"/>
              <a:gd name="T32" fmla="*/ 204 w 299"/>
              <a:gd name="T33" fmla="*/ 33 h 74"/>
              <a:gd name="T34" fmla="*/ 172 w 299"/>
              <a:gd name="T35" fmla="*/ 37 h 74"/>
              <a:gd name="T36" fmla="*/ 176 w 299"/>
              <a:gd name="T37" fmla="*/ 28 h 74"/>
              <a:gd name="T38" fmla="*/ 180 w 299"/>
              <a:gd name="T39" fmla="*/ 21 h 74"/>
              <a:gd name="T40" fmla="*/ 194 w 299"/>
              <a:gd name="T41" fmla="*/ 13 h 74"/>
              <a:gd name="T42" fmla="*/ 210 w 299"/>
              <a:gd name="T43" fmla="*/ 9 h 74"/>
              <a:gd name="T44" fmla="*/ 225 w 299"/>
              <a:gd name="T45" fmla="*/ 0 h 74"/>
              <a:gd name="T46" fmla="*/ 185 w 299"/>
              <a:gd name="T47" fmla="*/ 3 h 74"/>
              <a:gd name="T48" fmla="*/ 157 w 299"/>
              <a:gd name="T49" fmla="*/ 11 h 74"/>
              <a:gd name="T50" fmla="*/ 134 w 299"/>
              <a:gd name="T51" fmla="*/ 25 h 74"/>
              <a:gd name="T52" fmla="*/ 114 w 299"/>
              <a:gd name="T53" fmla="*/ 40 h 74"/>
              <a:gd name="T54" fmla="*/ 100 w 299"/>
              <a:gd name="T55" fmla="*/ 53 h 74"/>
              <a:gd name="T56" fmla="*/ 87 w 299"/>
              <a:gd name="T57" fmla="*/ 59 h 74"/>
              <a:gd name="T58" fmla="*/ 64 w 299"/>
              <a:gd name="T59" fmla="*/ 63 h 74"/>
              <a:gd name="T60" fmla="*/ 32 w 299"/>
              <a:gd name="T61" fmla="*/ 64 h 74"/>
              <a:gd name="T62" fmla="*/ 12 w 299"/>
              <a:gd name="T63" fmla="*/ 67 h 74"/>
              <a:gd name="T64" fmla="*/ 2 w 299"/>
              <a:gd name="T65" fmla="*/ 70 h 74"/>
              <a:gd name="T66" fmla="*/ 39 w 299"/>
              <a:gd name="T67" fmla="*/ 74 h 74"/>
              <a:gd name="T68" fmla="*/ 102 w 299"/>
              <a:gd name="T69" fmla="*/ 7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5" name="Freeform 491">
            <a:extLst>
              <a:ext uri="{FF2B5EF4-FFF2-40B4-BE49-F238E27FC236}">
                <a16:creationId xmlns:a16="http://schemas.microsoft.com/office/drawing/2014/main" id="{533E879D-B52C-4286-AC3C-17DC6179523A}"/>
              </a:ext>
            </a:extLst>
          </p:cNvPr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9010600" y="2262781"/>
            <a:ext cx="13750" cy="60325"/>
          </a:xfrm>
          <a:custGeom>
            <a:avLst/>
            <a:gdLst>
              <a:gd name="T0" fmla="*/ 0 w 33"/>
              <a:gd name="T1" fmla="*/ 19 h 31"/>
              <a:gd name="T2" fmla="*/ 20 w 33"/>
              <a:gd name="T3" fmla="*/ 0 h 31"/>
              <a:gd name="T4" fmla="*/ 20 w 33"/>
              <a:gd name="T5" fmla="*/ 4 h 31"/>
              <a:gd name="T6" fmla="*/ 22 w 33"/>
              <a:gd name="T7" fmla="*/ 10 h 31"/>
              <a:gd name="T8" fmla="*/ 25 w 33"/>
              <a:gd name="T9" fmla="*/ 14 h 31"/>
              <a:gd name="T10" fmla="*/ 27 w 33"/>
              <a:gd name="T11" fmla="*/ 18 h 31"/>
              <a:gd name="T12" fmla="*/ 31 w 33"/>
              <a:gd name="T13" fmla="*/ 26 h 31"/>
              <a:gd name="T14" fmla="*/ 33 w 33"/>
              <a:gd name="T15" fmla="*/ 31 h 31"/>
              <a:gd name="T16" fmla="*/ 0 w 33"/>
              <a:gd name="T17" fmla="*/ 31 h 31"/>
              <a:gd name="T18" fmla="*/ 0 w 33"/>
              <a:gd name="T19" fmla="*/ 25 h 31"/>
              <a:gd name="T20" fmla="*/ 0 w 33"/>
              <a:gd name="T21" fmla="*/ 19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7" name="Freeform 493">
            <a:extLst>
              <a:ext uri="{FF2B5EF4-FFF2-40B4-BE49-F238E27FC236}">
                <a16:creationId xmlns:a16="http://schemas.microsoft.com/office/drawing/2014/main" id="{05CD2457-1B7D-4C19-A2E9-11AB415362D6}"/>
              </a:ext>
            </a:extLst>
          </p:cNvPr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9201576" y="2262781"/>
            <a:ext cx="90141" cy="60325"/>
          </a:xfrm>
          <a:custGeom>
            <a:avLst/>
            <a:gdLst>
              <a:gd name="T0" fmla="*/ 61 w 213"/>
              <a:gd name="T1" fmla="*/ 0 h 62"/>
              <a:gd name="T2" fmla="*/ 83 w 213"/>
              <a:gd name="T3" fmla="*/ 0 h 62"/>
              <a:gd name="T4" fmla="*/ 105 w 213"/>
              <a:gd name="T5" fmla="*/ 1 h 62"/>
              <a:gd name="T6" fmla="*/ 127 w 213"/>
              <a:gd name="T7" fmla="*/ 3 h 62"/>
              <a:gd name="T8" fmla="*/ 146 w 213"/>
              <a:gd name="T9" fmla="*/ 7 h 62"/>
              <a:gd name="T10" fmla="*/ 166 w 213"/>
              <a:gd name="T11" fmla="*/ 11 h 62"/>
              <a:gd name="T12" fmla="*/ 184 w 213"/>
              <a:gd name="T13" fmla="*/ 16 h 62"/>
              <a:gd name="T14" fmla="*/ 191 w 213"/>
              <a:gd name="T15" fmla="*/ 19 h 62"/>
              <a:gd name="T16" fmla="*/ 199 w 213"/>
              <a:gd name="T17" fmla="*/ 23 h 62"/>
              <a:gd name="T18" fmla="*/ 207 w 213"/>
              <a:gd name="T19" fmla="*/ 27 h 62"/>
              <a:gd name="T20" fmla="*/ 213 w 213"/>
              <a:gd name="T21" fmla="*/ 31 h 62"/>
              <a:gd name="T22" fmla="*/ 211 w 213"/>
              <a:gd name="T23" fmla="*/ 35 h 62"/>
              <a:gd name="T24" fmla="*/ 207 w 213"/>
              <a:gd name="T25" fmla="*/ 38 h 62"/>
              <a:gd name="T26" fmla="*/ 201 w 213"/>
              <a:gd name="T27" fmla="*/ 41 h 62"/>
              <a:gd name="T28" fmla="*/ 195 w 213"/>
              <a:gd name="T29" fmla="*/ 44 h 62"/>
              <a:gd name="T30" fmla="*/ 177 w 213"/>
              <a:gd name="T31" fmla="*/ 49 h 62"/>
              <a:gd name="T32" fmla="*/ 156 w 213"/>
              <a:gd name="T33" fmla="*/ 53 h 62"/>
              <a:gd name="T34" fmla="*/ 135 w 213"/>
              <a:gd name="T35" fmla="*/ 57 h 62"/>
              <a:gd name="T36" fmla="*/ 114 w 213"/>
              <a:gd name="T37" fmla="*/ 59 h 62"/>
              <a:gd name="T38" fmla="*/ 95 w 213"/>
              <a:gd name="T39" fmla="*/ 62 h 62"/>
              <a:gd name="T40" fmla="*/ 80 w 213"/>
              <a:gd name="T41" fmla="*/ 62 h 62"/>
              <a:gd name="T42" fmla="*/ 62 w 213"/>
              <a:gd name="T43" fmla="*/ 62 h 62"/>
              <a:gd name="T44" fmla="*/ 43 w 213"/>
              <a:gd name="T45" fmla="*/ 59 h 62"/>
              <a:gd name="T46" fmla="*/ 33 w 213"/>
              <a:gd name="T47" fmla="*/ 59 h 62"/>
              <a:gd name="T48" fmla="*/ 23 w 213"/>
              <a:gd name="T49" fmla="*/ 59 h 62"/>
              <a:gd name="T50" fmla="*/ 12 w 213"/>
              <a:gd name="T51" fmla="*/ 60 h 62"/>
              <a:gd name="T52" fmla="*/ 0 w 213"/>
              <a:gd name="T53" fmla="*/ 62 h 62"/>
              <a:gd name="T54" fmla="*/ 6 w 213"/>
              <a:gd name="T55" fmla="*/ 50 h 62"/>
              <a:gd name="T56" fmla="*/ 11 w 213"/>
              <a:gd name="T57" fmla="*/ 39 h 62"/>
              <a:gd name="T58" fmla="*/ 17 w 213"/>
              <a:gd name="T59" fmla="*/ 29 h 62"/>
              <a:gd name="T60" fmla="*/ 23 w 213"/>
              <a:gd name="T61" fmla="*/ 20 h 62"/>
              <a:gd name="T62" fmla="*/ 27 w 213"/>
              <a:gd name="T63" fmla="*/ 16 h 62"/>
              <a:gd name="T64" fmla="*/ 30 w 213"/>
              <a:gd name="T65" fmla="*/ 12 h 62"/>
              <a:gd name="T66" fmla="*/ 34 w 213"/>
              <a:gd name="T67" fmla="*/ 9 h 62"/>
              <a:gd name="T68" fmla="*/ 39 w 213"/>
              <a:gd name="T69" fmla="*/ 6 h 62"/>
              <a:gd name="T70" fmla="*/ 43 w 213"/>
              <a:gd name="T71" fmla="*/ 3 h 62"/>
              <a:gd name="T72" fmla="*/ 49 w 213"/>
              <a:gd name="T73" fmla="*/ 1 h 62"/>
              <a:gd name="T74" fmla="*/ 54 w 213"/>
              <a:gd name="T75" fmla="*/ 0 h 62"/>
              <a:gd name="T76" fmla="*/ 61 w 213"/>
              <a:gd name="T77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" name="Freeform 5">
            <a:extLst>
              <a:ext uri="{FF2B5EF4-FFF2-40B4-BE49-F238E27FC236}">
                <a16:creationId xmlns:a16="http://schemas.microsoft.com/office/drawing/2014/main" id="{52A24B13-3EBC-404C-A743-C1B076758395}"/>
              </a:ext>
            </a:extLst>
          </p:cNvPr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4557702" y="1829684"/>
            <a:ext cx="754739" cy="446088"/>
          </a:xfrm>
          <a:custGeom>
            <a:avLst/>
            <a:gdLst>
              <a:gd name="T0" fmla="*/ 1395 w 1808"/>
              <a:gd name="T1" fmla="*/ 807 h 850"/>
              <a:gd name="T2" fmla="*/ 1394 w 1808"/>
              <a:gd name="T3" fmla="*/ 753 h 850"/>
              <a:gd name="T4" fmla="*/ 1373 w 1808"/>
              <a:gd name="T5" fmla="*/ 648 h 850"/>
              <a:gd name="T6" fmla="*/ 1323 w 1808"/>
              <a:gd name="T7" fmla="*/ 641 h 850"/>
              <a:gd name="T8" fmla="*/ 1264 w 1808"/>
              <a:gd name="T9" fmla="*/ 639 h 850"/>
              <a:gd name="T10" fmla="*/ 1134 w 1808"/>
              <a:gd name="T11" fmla="*/ 582 h 850"/>
              <a:gd name="T12" fmla="*/ 973 w 1808"/>
              <a:gd name="T13" fmla="*/ 537 h 850"/>
              <a:gd name="T14" fmla="*/ 943 w 1808"/>
              <a:gd name="T15" fmla="*/ 504 h 850"/>
              <a:gd name="T16" fmla="*/ 901 w 1808"/>
              <a:gd name="T17" fmla="*/ 516 h 850"/>
              <a:gd name="T18" fmla="*/ 849 w 1808"/>
              <a:gd name="T19" fmla="*/ 570 h 850"/>
              <a:gd name="T20" fmla="*/ 675 w 1808"/>
              <a:gd name="T21" fmla="*/ 619 h 850"/>
              <a:gd name="T22" fmla="*/ 678 w 1808"/>
              <a:gd name="T23" fmla="*/ 578 h 850"/>
              <a:gd name="T24" fmla="*/ 721 w 1808"/>
              <a:gd name="T25" fmla="*/ 548 h 850"/>
              <a:gd name="T26" fmla="*/ 786 w 1808"/>
              <a:gd name="T27" fmla="*/ 545 h 850"/>
              <a:gd name="T28" fmla="*/ 724 w 1808"/>
              <a:gd name="T29" fmla="*/ 528 h 850"/>
              <a:gd name="T30" fmla="*/ 578 w 1808"/>
              <a:gd name="T31" fmla="*/ 589 h 850"/>
              <a:gd name="T32" fmla="*/ 547 w 1808"/>
              <a:gd name="T33" fmla="*/ 625 h 850"/>
              <a:gd name="T34" fmla="*/ 526 w 1808"/>
              <a:gd name="T35" fmla="*/ 650 h 850"/>
              <a:gd name="T36" fmla="*/ 452 w 1808"/>
              <a:gd name="T37" fmla="*/ 654 h 850"/>
              <a:gd name="T38" fmla="*/ 383 w 1808"/>
              <a:gd name="T39" fmla="*/ 702 h 850"/>
              <a:gd name="T40" fmla="*/ 252 w 1808"/>
              <a:gd name="T41" fmla="*/ 750 h 850"/>
              <a:gd name="T42" fmla="*/ 105 w 1808"/>
              <a:gd name="T43" fmla="*/ 807 h 850"/>
              <a:gd name="T44" fmla="*/ 4 w 1808"/>
              <a:gd name="T45" fmla="*/ 813 h 850"/>
              <a:gd name="T46" fmla="*/ 14 w 1808"/>
              <a:gd name="T47" fmla="*/ 789 h 850"/>
              <a:gd name="T48" fmla="*/ 127 w 1808"/>
              <a:gd name="T49" fmla="*/ 761 h 850"/>
              <a:gd name="T50" fmla="*/ 265 w 1808"/>
              <a:gd name="T51" fmla="*/ 696 h 850"/>
              <a:gd name="T52" fmla="*/ 300 w 1808"/>
              <a:gd name="T53" fmla="*/ 626 h 850"/>
              <a:gd name="T54" fmla="*/ 253 w 1808"/>
              <a:gd name="T55" fmla="*/ 657 h 850"/>
              <a:gd name="T56" fmla="*/ 150 w 1808"/>
              <a:gd name="T57" fmla="*/ 643 h 850"/>
              <a:gd name="T58" fmla="*/ 172 w 1808"/>
              <a:gd name="T59" fmla="*/ 610 h 850"/>
              <a:gd name="T60" fmla="*/ 240 w 1808"/>
              <a:gd name="T61" fmla="*/ 547 h 850"/>
              <a:gd name="T62" fmla="*/ 152 w 1808"/>
              <a:gd name="T63" fmla="*/ 575 h 850"/>
              <a:gd name="T64" fmla="*/ 143 w 1808"/>
              <a:gd name="T65" fmla="*/ 536 h 850"/>
              <a:gd name="T66" fmla="*/ 346 w 1808"/>
              <a:gd name="T67" fmla="*/ 380 h 850"/>
              <a:gd name="T68" fmla="*/ 444 w 1808"/>
              <a:gd name="T69" fmla="*/ 382 h 850"/>
              <a:gd name="T70" fmla="*/ 569 w 1808"/>
              <a:gd name="T71" fmla="*/ 349 h 850"/>
              <a:gd name="T72" fmla="*/ 592 w 1808"/>
              <a:gd name="T73" fmla="*/ 306 h 850"/>
              <a:gd name="T74" fmla="*/ 506 w 1808"/>
              <a:gd name="T75" fmla="*/ 331 h 850"/>
              <a:gd name="T76" fmla="*/ 438 w 1808"/>
              <a:gd name="T77" fmla="*/ 318 h 850"/>
              <a:gd name="T78" fmla="*/ 472 w 1808"/>
              <a:gd name="T79" fmla="*/ 287 h 850"/>
              <a:gd name="T80" fmla="*/ 711 w 1808"/>
              <a:gd name="T81" fmla="*/ 238 h 850"/>
              <a:gd name="T82" fmla="*/ 749 w 1808"/>
              <a:gd name="T83" fmla="*/ 210 h 850"/>
              <a:gd name="T84" fmla="*/ 684 w 1808"/>
              <a:gd name="T85" fmla="*/ 176 h 850"/>
              <a:gd name="T86" fmla="*/ 739 w 1808"/>
              <a:gd name="T87" fmla="*/ 109 h 850"/>
              <a:gd name="T88" fmla="*/ 988 w 1808"/>
              <a:gd name="T89" fmla="*/ 27 h 850"/>
              <a:gd name="T90" fmla="*/ 1157 w 1808"/>
              <a:gd name="T91" fmla="*/ 9 h 850"/>
              <a:gd name="T92" fmla="*/ 1277 w 1808"/>
              <a:gd name="T93" fmla="*/ 2 h 850"/>
              <a:gd name="T94" fmla="*/ 1354 w 1808"/>
              <a:gd name="T95" fmla="*/ 10 h 850"/>
              <a:gd name="T96" fmla="*/ 1516 w 1808"/>
              <a:gd name="T97" fmla="*/ 34 h 850"/>
              <a:gd name="T98" fmla="*/ 1761 w 1808"/>
              <a:gd name="T99" fmla="*/ 41 h 850"/>
              <a:gd name="T100" fmla="*/ 1287 w 1808"/>
              <a:gd name="T101" fmla="*/ 540 h 850"/>
              <a:gd name="T102" fmla="*/ 1321 w 1808"/>
              <a:gd name="T103" fmla="*/ 571 h 850"/>
              <a:gd name="T104" fmla="*/ 1327 w 1808"/>
              <a:gd name="T105" fmla="*/ 601 h 850"/>
              <a:gd name="T106" fmla="*/ 1382 w 1808"/>
              <a:gd name="T107" fmla="*/ 599 h 850"/>
              <a:gd name="T108" fmla="*/ 1429 w 1808"/>
              <a:gd name="T109" fmla="*/ 577 h 850"/>
              <a:gd name="T110" fmla="*/ 1475 w 1808"/>
              <a:gd name="T111" fmla="*/ 667 h 850"/>
              <a:gd name="T112" fmla="*/ 1462 w 1808"/>
              <a:gd name="T113" fmla="*/ 706 h 850"/>
              <a:gd name="T114" fmla="*/ 1449 w 1808"/>
              <a:gd name="T115" fmla="*/ 742 h 850"/>
              <a:gd name="T116" fmla="*/ 1477 w 1808"/>
              <a:gd name="T117" fmla="*/ 783 h 850"/>
              <a:gd name="T118" fmla="*/ 1477 w 1808"/>
              <a:gd name="T119" fmla="*/ 811 h 850"/>
              <a:gd name="T120" fmla="*/ 1426 w 1808"/>
              <a:gd name="T121" fmla="*/ 848 h 8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" name="Freeform 6">
            <a:extLst>
              <a:ext uri="{FF2B5EF4-FFF2-40B4-BE49-F238E27FC236}">
                <a16:creationId xmlns:a16="http://schemas.microsoft.com/office/drawing/2014/main" id="{763ECCDE-2EAC-4A74-9F1C-9CFE3D6A5268}"/>
              </a:ext>
            </a:extLst>
          </p:cNvPr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5000767" y="2445634"/>
            <a:ext cx="1329196" cy="769938"/>
          </a:xfrm>
          <a:custGeom>
            <a:avLst/>
            <a:gdLst>
              <a:gd name="T0" fmla="*/ 2928 w 3175"/>
              <a:gd name="T1" fmla="*/ 353 h 1472"/>
              <a:gd name="T2" fmla="*/ 2896 w 3175"/>
              <a:gd name="T3" fmla="*/ 440 h 1472"/>
              <a:gd name="T4" fmla="*/ 2843 w 3175"/>
              <a:gd name="T5" fmla="*/ 462 h 1472"/>
              <a:gd name="T6" fmla="*/ 2667 w 3175"/>
              <a:gd name="T7" fmla="*/ 566 h 1472"/>
              <a:gd name="T8" fmla="*/ 2595 w 3175"/>
              <a:gd name="T9" fmla="*/ 585 h 1472"/>
              <a:gd name="T10" fmla="*/ 2570 w 3175"/>
              <a:gd name="T11" fmla="*/ 677 h 1472"/>
              <a:gd name="T12" fmla="*/ 2514 w 3175"/>
              <a:gd name="T13" fmla="*/ 621 h 1472"/>
              <a:gd name="T14" fmla="*/ 2499 w 3175"/>
              <a:gd name="T15" fmla="*/ 690 h 1472"/>
              <a:gd name="T16" fmla="*/ 2465 w 3175"/>
              <a:gd name="T17" fmla="*/ 744 h 1472"/>
              <a:gd name="T18" fmla="*/ 2471 w 3175"/>
              <a:gd name="T19" fmla="*/ 823 h 1472"/>
              <a:gd name="T20" fmla="*/ 2332 w 3175"/>
              <a:gd name="T21" fmla="*/ 928 h 1472"/>
              <a:gd name="T22" fmla="*/ 2165 w 3175"/>
              <a:gd name="T23" fmla="*/ 1045 h 1472"/>
              <a:gd name="T24" fmla="*/ 2112 w 3175"/>
              <a:gd name="T25" fmla="*/ 1195 h 1472"/>
              <a:gd name="T26" fmla="*/ 2103 w 3175"/>
              <a:gd name="T27" fmla="*/ 1457 h 1472"/>
              <a:gd name="T28" fmla="*/ 2026 w 3175"/>
              <a:gd name="T29" fmla="*/ 1414 h 1472"/>
              <a:gd name="T30" fmla="*/ 1993 w 3175"/>
              <a:gd name="T31" fmla="*/ 1326 h 1472"/>
              <a:gd name="T32" fmla="*/ 1959 w 3175"/>
              <a:gd name="T33" fmla="*/ 1184 h 1472"/>
              <a:gd name="T34" fmla="*/ 1832 w 3175"/>
              <a:gd name="T35" fmla="*/ 1168 h 1472"/>
              <a:gd name="T36" fmla="*/ 1653 w 3175"/>
              <a:gd name="T37" fmla="*/ 1143 h 1472"/>
              <a:gd name="T38" fmla="*/ 1616 w 3175"/>
              <a:gd name="T39" fmla="*/ 1186 h 1472"/>
              <a:gd name="T40" fmla="*/ 1548 w 3175"/>
              <a:gd name="T41" fmla="*/ 1238 h 1472"/>
              <a:gd name="T42" fmla="*/ 1436 w 3175"/>
              <a:gd name="T43" fmla="*/ 1192 h 1472"/>
              <a:gd name="T44" fmla="*/ 1231 w 3175"/>
              <a:gd name="T45" fmla="*/ 1272 h 1472"/>
              <a:gd name="T46" fmla="*/ 1160 w 3175"/>
              <a:gd name="T47" fmla="*/ 1392 h 1472"/>
              <a:gd name="T48" fmla="*/ 1080 w 3175"/>
              <a:gd name="T49" fmla="*/ 1382 h 1472"/>
              <a:gd name="T50" fmla="*/ 1037 w 3175"/>
              <a:gd name="T51" fmla="*/ 1227 h 1472"/>
              <a:gd name="T52" fmla="*/ 940 w 3175"/>
              <a:gd name="T53" fmla="*/ 1190 h 1472"/>
              <a:gd name="T54" fmla="*/ 867 w 3175"/>
              <a:gd name="T55" fmla="*/ 1219 h 1472"/>
              <a:gd name="T56" fmla="*/ 782 w 3175"/>
              <a:gd name="T57" fmla="*/ 1087 h 1472"/>
              <a:gd name="T58" fmla="*/ 670 w 3175"/>
              <a:gd name="T59" fmla="*/ 1065 h 1472"/>
              <a:gd name="T60" fmla="*/ 462 w 3175"/>
              <a:gd name="T61" fmla="*/ 1065 h 1472"/>
              <a:gd name="T62" fmla="*/ 220 w 3175"/>
              <a:gd name="T63" fmla="*/ 1016 h 1472"/>
              <a:gd name="T64" fmla="*/ 88 w 3175"/>
              <a:gd name="T65" fmla="*/ 920 h 1472"/>
              <a:gd name="T66" fmla="*/ 39 w 3175"/>
              <a:gd name="T67" fmla="*/ 848 h 1472"/>
              <a:gd name="T68" fmla="*/ 29 w 3175"/>
              <a:gd name="T69" fmla="*/ 662 h 1472"/>
              <a:gd name="T70" fmla="*/ 0 w 3175"/>
              <a:gd name="T71" fmla="*/ 604 h 1472"/>
              <a:gd name="T72" fmla="*/ 141 w 3175"/>
              <a:gd name="T73" fmla="*/ 336 h 1472"/>
              <a:gd name="T74" fmla="*/ 247 w 3175"/>
              <a:gd name="T75" fmla="*/ 176 h 1472"/>
              <a:gd name="T76" fmla="*/ 355 w 3175"/>
              <a:gd name="T77" fmla="*/ 102 h 1472"/>
              <a:gd name="T78" fmla="*/ 376 w 3175"/>
              <a:gd name="T79" fmla="*/ 120 h 1472"/>
              <a:gd name="T80" fmla="*/ 1827 w 3175"/>
              <a:gd name="T81" fmla="*/ 0 h 1472"/>
              <a:gd name="T82" fmla="*/ 1926 w 3175"/>
              <a:gd name="T83" fmla="*/ 55 h 1472"/>
              <a:gd name="T84" fmla="*/ 2015 w 3175"/>
              <a:gd name="T85" fmla="*/ 69 h 1472"/>
              <a:gd name="T86" fmla="*/ 1929 w 3175"/>
              <a:gd name="T87" fmla="*/ 128 h 1472"/>
              <a:gd name="T88" fmla="*/ 1977 w 3175"/>
              <a:gd name="T89" fmla="*/ 166 h 1472"/>
              <a:gd name="T90" fmla="*/ 2094 w 3175"/>
              <a:gd name="T91" fmla="*/ 155 h 1472"/>
              <a:gd name="T92" fmla="*/ 2284 w 3175"/>
              <a:gd name="T93" fmla="*/ 193 h 1472"/>
              <a:gd name="T94" fmla="*/ 2217 w 3175"/>
              <a:gd name="T95" fmla="*/ 204 h 1472"/>
              <a:gd name="T96" fmla="*/ 2087 w 3175"/>
              <a:gd name="T97" fmla="*/ 264 h 1472"/>
              <a:gd name="T98" fmla="*/ 2021 w 3175"/>
              <a:gd name="T99" fmla="*/ 355 h 1472"/>
              <a:gd name="T100" fmla="*/ 2012 w 3175"/>
              <a:gd name="T101" fmla="*/ 451 h 1472"/>
              <a:gd name="T102" fmla="*/ 2076 w 3175"/>
              <a:gd name="T103" fmla="*/ 417 h 1472"/>
              <a:gd name="T104" fmla="*/ 2205 w 3175"/>
              <a:gd name="T105" fmla="*/ 252 h 1472"/>
              <a:gd name="T106" fmla="*/ 2267 w 3175"/>
              <a:gd name="T107" fmla="*/ 303 h 1472"/>
              <a:gd name="T108" fmla="*/ 2299 w 3175"/>
              <a:gd name="T109" fmla="*/ 394 h 1472"/>
              <a:gd name="T110" fmla="*/ 2206 w 3175"/>
              <a:gd name="T111" fmla="*/ 454 h 1472"/>
              <a:gd name="T112" fmla="*/ 2317 w 3175"/>
              <a:gd name="T113" fmla="*/ 457 h 1472"/>
              <a:gd name="T114" fmla="*/ 2570 w 3175"/>
              <a:gd name="T115" fmla="*/ 373 h 1472"/>
              <a:gd name="T116" fmla="*/ 2730 w 3175"/>
              <a:gd name="T117" fmla="*/ 252 h 1472"/>
              <a:gd name="T118" fmla="*/ 3016 w 3175"/>
              <a:gd name="T119" fmla="*/ 203 h 1472"/>
              <a:gd name="T120" fmla="*/ 3136 w 3175"/>
              <a:gd name="T121" fmla="*/ 118 h 1472"/>
              <a:gd name="T122" fmla="*/ 3149 w 3175"/>
              <a:gd name="T123" fmla="*/ 184 h 14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9" y="394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6" name="Freeform 7">
            <a:extLst>
              <a:ext uri="{FF2B5EF4-FFF2-40B4-BE49-F238E27FC236}">
                <a16:creationId xmlns:a16="http://schemas.microsoft.com/office/drawing/2014/main" id="{6BD2C481-CD59-448D-8DA8-F33833E875BC}"/>
              </a:ext>
            </a:extLst>
          </p:cNvPr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5802868" y="3996622"/>
            <a:ext cx="326952" cy="590550"/>
          </a:xfrm>
          <a:custGeom>
            <a:avLst/>
            <a:gdLst>
              <a:gd name="T0" fmla="*/ 583 w 784"/>
              <a:gd name="T1" fmla="*/ 277 h 1128"/>
              <a:gd name="T2" fmla="*/ 549 w 784"/>
              <a:gd name="T3" fmla="*/ 295 h 1128"/>
              <a:gd name="T4" fmla="*/ 484 w 784"/>
              <a:gd name="T5" fmla="*/ 387 h 1128"/>
              <a:gd name="T6" fmla="*/ 465 w 784"/>
              <a:gd name="T7" fmla="*/ 457 h 1128"/>
              <a:gd name="T8" fmla="*/ 481 w 784"/>
              <a:gd name="T9" fmla="*/ 522 h 1128"/>
              <a:gd name="T10" fmla="*/ 530 w 784"/>
              <a:gd name="T11" fmla="*/ 591 h 1128"/>
              <a:gd name="T12" fmla="*/ 579 w 784"/>
              <a:gd name="T13" fmla="*/ 616 h 1128"/>
              <a:gd name="T14" fmla="*/ 625 w 784"/>
              <a:gd name="T15" fmla="*/ 600 h 1128"/>
              <a:gd name="T16" fmla="*/ 654 w 784"/>
              <a:gd name="T17" fmla="*/ 653 h 1128"/>
              <a:gd name="T18" fmla="*/ 672 w 784"/>
              <a:gd name="T19" fmla="*/ 683 h 1128"/>
              <a:gd name="T20" fmla="*/ 714 w 784"/>
              <a:gd name="T21" fmla="*/ 687 h 1128"/>
              <a:gd name="T22" fmla="*/ 749 w 784"/>
              <a:gd name="T23" fmla="*/ 712 h 1128"/>
              <a:gd name="T24" fmla="*/ 770 w 784"/>
              <a:gd name="T25" fmla="*/ 756 h 1128"/>
              <a:gd name="T26" fmla="*/ 761 w 784"/>
              <a:gd name="T27" fmla="*/ 790 h 1128"/>
              <a:gd name="T28" fmla="*/ 760 w 784"/>
              <a:gd name="T29" fmla="*/ 825 h 1128"/>
              <a:gd name="T30" fmla="*/ 772 w 784"/>
              <a:gd name="T31" fmla="*/ 882 h 1128"/>
              <a:gd name="T32" fmla="*/ 758 w 784"/>
              <a:gd name="T33" fmla="*/ 932 h 1128"/>
              <a:gd name="T34" fmla="*/ 770 w 784"/>
              <a:gd name="T35" fmla="*/ 994 h 1128"/>
              <a:gd name="T36" fmla="*/ 763 w 784"/>
              <a:gd name="T37" fmla="*/ 1054 h 1128"/>
              <a:gd name="T38" fmla="*/ 691 w 784"/>
              <a:gd name="T39" fmla="*/ 1122 h 1128"/>
              <a:gd name="T40" fmla="*/ 648 w 784"/>
              <a:gd name="T41" fmla="*/ 1103 h 1128"/>
              <a:gd name="T42" fmla="*/ 602 w 784"/>
              <a:gd name="T43" fmla="*/ 1056 h 1128"/>
              <a:gd name="T44" fmla="*/ 463 w 784"/>
              <a:gd name="T45" fmla="*/ 998 h 1128"/>
              <a:gd name="T46" fmla="*/ 425 w 784"/>
              <a:gd name="T47" fmla="*/ 967 h 1128"/>
              <a:gd name="T48" fmla="*/ 331 w 784"/>
              <a:gd name="T49" fmla="*/ 894 h 1128"/>
              <a:gd name="T50" fmla="*/ 318 w 784"/>
              <a:gd name="T51" fmla="*/ 867 h 1128"/>
              <a:gd name="T52" fmla="*/ 328 w 784"/>
              <a:gd name="T53" fmla="*/ 815 h 1128"/>
              <a:gd name="T54" fmla="*/ 290 w 784"/>
              <a:gd name="T55" fmla="*/ 778 h 1128"/>
              <a:gd name="T56" fmla="*/ 259 w 784"/>
              <a:gd name="T57" fmla="*/ 745 h 1128"/>
              <a:gd name="T58" fmla="*/ 243 w 784"/>
              <a:gd name="T59" fmla="*/ 689 h 1128"/>
              <a:gd name="T60" fmla="*/ 153 w 784"/>
              <a:gd name="T61" fmla="*/ 530 h 1128"/>
              <a:gd name="T62" fmla="*/ 120 w 784"/>
              <a:gd name="T63" fmla="*/ 487 h 1128"/>
              <a:gd name="T64" fmla="*/ 90 w 784"/>
              <a:gd name="T65" fmla="*/ 432 h 1128"/>
              <a:gd name="T66" fmla="*/ 22 w 784"/>
              <a:gd name="T67" fmla="*/ 397 h 1128"/>
              <a:gd name="T68" fmla="*/ 0 w 784"/>
              <a:gd name="T69" fmla="*/ 363 h 1128"/>
              <a:gd name="T70" fmla="*/ 13 w 784"/>
              <a:gd name="T71" fmla="*/ 276 h 1128"/>
              <a:gd name="T72" fmla="*/ 28 w 784"/>
              <a:gd name="T73" fmla="*/ 246 h 1128"/>
              <a:gd name="T74" fmla="*/ 72 w 784"/>
              <a:gd name="T75" fmla="*/ 222 h 1128"/>
              <a:gd name="T76" fmla="*/ 95 w 784"/>
              <a:gd name="T77" fmla="*/ 272 h 1128"/>
              <a:gd name="T78" fmla="*/ 158 w 784"/>
              <a:gd name="T79" fmla="*/ 307 h 1128"/>
              <a:gd name="T80" fmla="*/ 184 w 784"/>
              <a:gd name="T81" fmla="*/ 271 h 1128"/>
              <a:gd name="T82" fmla="*/ 201 w 784"/>
              <a:gd name="T83" fmla="*/ 225 h 1128"/>
              <a:gd name="T84" fmla="*/ 270 w 784"/>
              <a:gd name="T85" fmla="*/ 170 h 1128"/>
              <a:gd name="T86" fmla="*/ 344 w 784"/>
              <a:gd name="T87" fmla="*/ 120 h 1128"/>
              <a:gd name="T88" fmla="*/ 357 w 784"/>
              <a:gd name="T89" fmla="*/ 70 h 1128"/>
              <a:gd name="T90" fmla="*/ 347 w 784"/>
              <a:gd name="T91" fmla="*/ 5 h 1128"/>
              <a:gd name="T92" fmla="*/ 422 w 784"/>
              <a:gd name="T93" fmla="*/ 53 h 1128"/>
              <a:gd name="T94" fmla="*/ 467 w 784"/>
              <a:gd name="T95" fmla="*/ 107 h 1128"/>
              <a:gd name="T96" fmla="*/ 506 w 784"/>
              <a:gd name="T97" fmla="*/ 154 h 1128"/>
              <a:gd name="T98" fmla="*/ 561 w 784"/>
              <a:gd name="T99" fmla="*/ 157 h 1128"/>
              <a:gd name="T100" fmla="*/ 617 w 784"/>
              <a:gd name="T101" fmla="*/ 149 h 1128"/>
              <a:gd name="T102" fmla="*/ 640 w 784"/>
              <a:gd name="T103" fmla="*/ 156 h 1128"/>
              <a:gd name="T104" fmla="*/ 654 w 784"/>
              <a:gd name="T105" fmla="*/ 193 h 1128"/>
              <a:gd name="T106" fmla="*/ 627 w 784"/>
              <a:gd name="T107" fmla="*/ 210 h 1128"/>
              <a:gd name="T108" fmla="*/ 627 w 784"/>
              <a:gd name="T109" fmla="*/ 240 h 11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7" name="Freeform 8">
            <a:extLst>
              <a:ext uri="{FF2B5EF4-FFF2-40B4-BE49-F238E27FC236}">
                <a16:creationId xmlns:a16="http://schemas.microsoft.com/office/drawing/2014/main" id="{CD05AA23-1D9D-4DA1-92C4-356725157764}"/>
              </a:ext>
            </a:extLst>
          </p:cNvPr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6091625" y="4560184"/>
            <a:ext cx="252088" cy="1130300"/>
          </a:xfrm>
          <a:custGeom>
            <a:avLst/>
            <a:gdLst>
              <a:gd name="T0" fmla="*/ 418 w 598"/>
              <a:gd name="T1" fmla="*/ 2021 h 2158"/>
              <a:gd name="T2" fmla="*/ 342 w 598"/>
              <a:gd name="T3" fmla="*/ 1955 h 2158"/>
              <a:gd name="T4" fmla="*/ 339 w 598"/>
              <a:gd name="T5" fmla="*/ 1893 h 2158"/>
              <a:gd name="T6" fmla="*/ 345 w 598"/>
              <a:gd name="T7" fmla="*/ 1843 h 2158"/>
              <a:gd name="T8" fmla="*/ 362 w 598"/>
              <a:gd name="T9" fmla="*/ 1791 h 2158"/>
              <a:gd name="T10" fmla="*/ 354 w 598"/>
              <a:gd name="T11" fmla="*/ 1740 h 2158"/>
              <a:gd name="T12" fmla="*/ 332 w 598"/>
              <a:gd name="T13" fmla="*/ 1683 h 2158"/>
              <a:gd name="T14" fmla="*/ 303 w 598"/>
              <a:gd name="T15" fmla="*/ 1581 h 2158"/>
              <a:gd name="T16" fmla="*/ 226 w 598"/>
              <a:gd name="T17" fmla="*/ 1460 h 2158"/>
              <a:gd name="T18" fmla="*/ 206 w 598"/>
              <a:gd name="T19" fmla="*/ 1381 h 2158"/>
              <a:gd name="T20" fmla="*/ 217 w 598"/>
              <a:gd name="T21" fmla="*/ 1299 h 2158"/>
              <a:gd name="T22" fmla="*/ 208 w 598"/>
              <a:gd name="T23" fmla="*/ 1235 h 2158"/>
              <a:gd name="T24" fmla="*/ 185 w 598"/>
              <a:gd name="T25" fmla="*/ 1165 h 2158"/>
              <a:gd name="T26" fmla="*/ 211 w 598"/>
              <a:gd name="T27" fmla="*/ 1123 h 2158"/>
              <a:gd name="T28" fmla="*/ 195 w 598"/>
              <a:gd name="T29" fmla="*/ 1082 h 2158"/>
              <a:gd name="T30" fmla="*/ 211 w 598"/>
              <a:gd name="T31" fmla="*/ 1025 h 2158"/>
              <a:gd name="T32" fmla="*/ 210 w 598"/>
              <a:gd name="T33" fmla="*/ 993 h 2158"/>
              <a:gd name="T34" fmla="*/ 187 w 598"/>
              <a:gd name="T35" fmla="*/ 927 h 2158"/>
              <a:gd name="T36" fmla="*/ 136 w 598"/>
              <a:gd name="T37" fmla="*/ 852 h 2158"/>
              <a:gd name="T38" fmla="*/ 134 w 598"/>
              <a:gd name="T39" fmla="*/ 686 h 2158"/>
              <a:gd name="T40" fmla="*/ 183 w 598"/>
              <a:gd name="T41" fmla="*/ 584 h 2158"/>
              <a:gd name="T42" fmla="*/ 189 w 598"/>
              <a:gd name="T43" fmla="*/ 522 h 2158"/>
              <a:gd name="T44" fmla="*/ 160 w 598"/>
              <a:gd name="T45" fmla="*/ 459 h 2158"/>
              <a:gd name="T46" fmla="*/ 182 w 598"/>
              <a:gd name="T47" fmla="*/ 406 h 2158"/>
              <a:gd name="T48" fmla="*/ 229 w 598"/>
              <a:gd name="T49" fmla="*/ 346 h 2158"/>
              <a:gd name="T50" fmla="*/ 200 w 598"/>
              <a:gd name="T51" fmla="*/ 308 h 2158"/>
              <a:gd name="T52" fmla="*/ 148 w 598"/>
              <a:gd name="T53" fmla="*/ 222 h 2158"/>
              <a:gd name="T54" fmla="*/ 129 w 598"/>
              <a:gd name="T55" fmla="*/ 125 h 2158"/>
              <a:gd name="T56" fmla="*/ 91 w 598"/>
              <a:gd name="T57" fmla="*/ 37 h 2158"/>
              <a:gd name="T58" fmla="*/ 0 w 598"/>
              <a:gd name="T59" fmla="*/ 44 h 2158"/>
              <a:gd name="T60" fmla="*/ 31 w 598"/>
              <a:gd name="T61" fmla="*/ 200 h 2158"/>
              <a:gd name="T62" fmla="*/ 42 w 598"/>
              <a:gd name="T63" fmla="*/ 304 h 2158"/>
              <a:gd name="T64" fmla="*/ 27 w 598"/>
              <a:gd name="T65" fmla="*/ 374 h 2158"/>
              <a:gd name="T66" fmla="*/ 52 w 598"/>
              <a:gd name="T67" fmla="*/ 524 h 2158"/>
              <a:gd name="T68" fmla="*/ 46 w 598"/>
              <a:gd name="T69" fmla="*/ 649 h 2158"/>
              <a:gd name="T70" fmla="*/ 36 w 598"/>
              <a:gd name="T71" fmla="*/ 718 h 2158"/>
              <a:gd name="T72" fmla="*/ 52 w 598"/>
              <a:gd name="T73" fmla="*/ 767 h 2158"/>
              <a:gd name="T74" fmla="*/ 64 w 598"/>
              <a:gd name="T75" fmla="*/ 871 h 2158"/>
              <a:gd name="T76" fmla="*/ 81 w 598"/>
              <a:gd name="T77" fmla="*/ 913 h 2158"/>
              <a:gd name="T78" fmla="*/ 73 w 598"/>
              <a:gd name="T79" fmla="*/ 1045 h 2158"/>
              <a:gd name="T80" fmla="*/ 63 w 598"/>
              <a:gd name="T81" fmla="*/ 1152 h 2158"/>
              <a:gd name="T82" fmla="*/ 40 w 598"/>
              <a:gd name="T83" fmla="*/ 1188 h 2158"/>
              <a:gd name="T84" fmla="*/ 60 w 598"/>
              <a:gd name="T85" fmla="*/ 1258 h 2158"/>
              <a:gd name="T86" fmla="*/ 106 w 598"/>
              <a:gd name="T87" fmla="*/ 1343 h 2158"/>
              <a:gd name="T88" fmla="*/ 93 w 598"/>
              <a:gd name="T89" fmla="*/ 1396 h 2158"/>
              <a:gd name="T90" fmla="*/ 106 w 598"/>
              <a:gd name="T91" fmla="*/ 1449 h 2158"/>
              <a:gd name="T92" fmla="*/ 164 w 598"/>
              <a:gd name="T93" fmla="*/ 1467 h 2158"/>
              <a:gd name="T94" fmla="*/ 209 w 598"/>
              <a:gd name="T95" fmla="*/ 1621 h 2158"/>
              <a:gd name="T96" fmla="*/ 227 w 598"/>
              <a:gd name="T97" fmla="*/ 1709 h 2158"/>
              <a:gd name="T98" fmla="*/ 151 w 598"/>
              <a:gd name="T99" fmla="*/ 1749 h 2158"/>
              <a:gd name="T100" fmla="*/ 207 w 598"/>
              <a:gd name="T101" fmla="*/ 1776 h 2158"/>
              <a:gd name="T102" fmla="*/ 250 w 598"/>
              <a:gd name="T103" fmla="*/ 1820 h 2158"/>
              <a:gd name="T104" fmla="*/ 275 w 598"/>
              <a:gd name="T105" fmla="*/ 1871 h 2158"/>
              <a:gd name="T106" fmla="*/ 308 w 598"/>
              <a:gd name="T107" fmla="*/ 1961 h 2158"/>
              <a:gd name="T108" fmla="*/ 359 w 598"/>
              <a:gd name="T109" fmla="*/ 2013 h 2158"/>
              <a:gd name="T110" fmla="*/ 393 w 598"/>
              <a:gd name="T111" fmla="*/ 2048 h 2158"/>
              <a:gd name="T112" fmla="*/ 424 w 598"/>
              <a:gd name="T113" fmla="*/ 2074 h 2158"/>
              <a:gd name="T114" fmla="*/ 465 w 598"/>
              <a:gd name="T115" fmla="*/ 2110 h 2158"/>
              <a:gd name="T116" fmla="*/ 519 w 598"/>
              <a:gd name="T117" fmla="*/ 2140 h 2158"/>
              <a:gd name="T118" fmla="*/ 538 w 598"/>
              <a:gd name="T119" fmla="*/ 2151 h 2158"/>
              <a:gd name="T120" fmla="*/ 586 w 598"/>
              <a:gd name="T121" fmla="*/ 2098 h 2158"/>
              <a:gd name="T122" fmla="*/ 591 w 598"/>
              <a:gd name="T123" fmla="*/ 2071 h 215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" name="Freeform 9">
            <a:extLst>
              <a:ext uri="{FF2B5EF4-FFF2-40B4-BE49-F238E27FC236}">
                <a16:creationId xmlns:a16="http://schemas.microsoft.com/office/drawing/2014/main" id="{5EEDA301-4250-4E46-AE79-E4B4C7043848}"/>
              </a:ext>
            </a:extLst>
          </p:cNvPr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5999956" y="3842635"/>
            <a:ext cx="930437" cy="1203325"/>
          </a:xfrm>
          <a:custGeom>
            <a:avLst/>
            <a:gdLst>
              <a:gd name="T0" fmla="*/ 440 w 2226"/>
              <a:gd name="T1" fmla="*/ 896 h 2292"/>
              <a:gd name="T2" fmla="*/ 505 w 2226"/>
              <a:gd name="T3" fmla="*/ 985 h 2292"/>
              <a:gd name="T4" fmla="*/ 572 w 2226"/>
              <a:gd name="T5" fmla="*/ 1054 h 2292"/>
              <a:gd name="T6" fmla="*/ 716 w 2226"/>
              <a:gd name="T7" fmla="*/ 1098 h 2292"/>
              <a:gd name="T8" fmla="*/ 798 w 2226"/>
              <a:gd name="T9" fmla="*/ 1204 h 2292"/>
              <a:gd name="T10" fmla="*/ 846 w 2226"/>
              <a:gd name="T11" fmla="*/ 1292 h 2292"/>
              <a:gd name="T12" fmla="*/ 939 w 2226"/>
              <a:gd name="T13" fmla="*/ 1355 h 2292"/>
              <a:gd name="T14" fmla="*/ 957 w 2226"/>
              <a:gd name="T15" fmla="*/ 1466 h 2292"/>
              <a:gd name="T16" fmla="*/ 976 w 2226"/>
              <a:gd name="T17" fmla="*/ 1541 h 2292"/>
              <a:gd name="T18" fmla="*/ 992 w 2226"/>
              <a:gd name="T19" fmla="*/ 1632 h 2292"/>
              <a:gd name="T20" fmla="*/ 1131 w 2226"/>
              <a:gd name="T21" fmla="*/ 1698 h 2292"/>
              <a:gd name="T22" fmla="*/ 1193 w 2226"/>
              <a:gd name="T23" fmla="*/ 1805 h 2292"/>
              <a:gd name="T24" fmla="*/ 1243 w 2226"/>
              <a:gd name="T25" fmla="*/ 1864 h 2292"/>
              <a:gd name="T26" fmla="*/ 1183 w 2226"/>
              <a:gd name="T27" fmla="*/ 2003 h 2292"/>
              <a:gd name="T28" fmla="*/ 1084 w 2226"/>
              <a:gd name="T29" fmla="*/ 2128 h 2292"/>
              <a:gd name="T30" fmla="*/ 1180 w 2226"/>
              <a:gd name="T31" fmla="*/ 2161 h 2292"/>
              <a:gd name="T32" fmla="*/ 1296 w 2226"/>
              <a:gd name="T33" fmla="*/ 2234 h 2292"/>
              <a:gd name="T34" fmla="*/ 1419 w 2226"/>
              <a:gd name="T35" fmla="*/ 2198 h 2292"/>
              <a:gd name="T36" fmla="*/ 1518 w 2226"/>
              <a:gd name="T37" fmla="*/ 2036 h 2292"/>
              <a:gd name="T38" fmla="*/ 1512 w 2226"/>
              <a:gd name="T39" fmla="*/ 1918 h 2292"/>
              <a:gd name="T40" fmla="*/ 1561 w 2226"/>
              <a:gd name="T41" fmla="*/ 1793 h 2292"/>
              <a:gd name="T42" fmla="*/ 1706 w 2226"/>
              <a:gd name="T43" fmla="*/ 1727 h 2292"/>
              <a:gd name="T44" fmla="*/ 1798 w 2226"/>
              <a:gd name="T45" fmla="*/ 1681 h 2292"/>
              <a:gd name="T46" fmla="*/ 1897 w 2226"/>
              <a:gd name="T47" fmla="*/ 1641 h 2292"/>
              <a:gd name="T48" fmla="*/ 1982 w 2226"/>
              <a:gd name="T49" fmla="*/ 1400 h 2292"/>
              <a:gd name="T50" fmla="*/ 2014 w 2226"/>
              <a:gd name="T51" fmla="*/ 1288 h 2292"/>
              <a:gd name="T52" fmla="*/ 2002 w 2226"/>
              <a:gd name="T53" fmla="*/ 1090 h 2292"/>
              <a:gd name="T54" fmla="*/ 2073 w 2226"/>
              <a:gd name="T55" fmla="*/ 1009 h 2292"/>
              <a:gd name="T56" fmla="*/ 2190 w 2226"/>
              <a:gd name="T57" fmla="*/ 877 h 2292"/>
              <a:gd name="T58" fmla="*/ 2222 w 2226"/>
              <a:gd name="T59" fmla="*/ 732 h 2292"/>
              <a:gd name="T60" fmla="*/ 2157 w 2226"/>
              <a:gd name="T61" fmla="*/ 599 h 2292"/>
              <a:gd name="T62" fmla="*/ 2059 w 2226"/>
              <a:gd name="T63" fmla="*/ 563 h 2292"/>
              <a:gd name="T64" fmla="*/ 1921 w 2226"/>
              <a:gd name="T65" fmla="*/ 462 h 2292"/>
              <a:gd name="T66" fmla="*/ 1742 w 2226"/>
              <a:gd name="T67" fmla="*/ 450 h 2292"/>
              <a:gd name="T68" fmla="*/ 1670 w 2226"/>
              <a:gd name="T69" fmla="*/ 447 h 2292"/>
              <a:gd name="T70" fmla="*/ 1636 w 2226"/>
              <a:gd name="T71" fmla="*/ 394 h 2292"/>
              <a:gd name="T72" fmla="*/ 1512 w 2226"/>
              <a:gd name="T73" fmla="*/ 348 h 2292"/>
              <a:gd name="T74" fmla="*/ 1411 w 2226"/>
              <a:gd name="T75" fmla="*/ 409 h 2292"/>
              <a:gd name="T76" fmla="*/ 1338 w 2226"/>
              <a:gd name="T77" fmla="*/ 405 h 2292"/>
              <a:gd name="T78" fmla="*/ 1247 w 2226"/>
              <a:gd name="T79" fmla="*/ 384 h 2292"/>
              <a:gd name="T80" fmla="*/ 1317 w 2226"/>
              <a:gd name="T81" fmla="*/ 268 h 2292"/>
              <a:gd name="T82" fmla="*/ 1338 w 2226"/>
              <a:gd name="T83" fmla="*/ 184 h 2292"/>
              <a:gd name="T84" fmla="*/ 1291 w 2226"/>
              <a:gd name="T85" fmla="*/ 68 h 2292"/>
              <a:gd name="T86" fmla="*/ 1124 w 2226"/>
              <a:gd name="T87" fmla="*/ 135 h 2292"/>
              <a:gd name="T88" fmla="*/ 1003 w 2226"/>
              <a:gd name="T89" fmla="*/ 170 h 2292"/>
              <a:gd name="T90" fmla="*/ 960 w 2226"/>
              <a:gd name="T91" fmla="*/ 187 h 2292"/>
              <a:gd name="T92" fmla="*/ 812 w 2226"/>
              <a:gd name="T93" fmla="*/ 176 h 2292"/>
              <a:gd name="T94" fmla="*/ 811 w 2226"/>
              <a:gd name="T95" fmla="*/ 67 h 2292"/>
              <a:gd name="T96" fmla="*/ 745 w 2226"/>
              <a:gd name="T97" fmla="*/ 0 h 2292"/>
              <a:gd name="T98" fmla="*/ 700 w 2226"/>
              <a:gd name="T99" fmla="*/ 31 h 2292"/>
              <a:gd name="T100" fmla="*/ 589 w 2226"/>
              <a:gd name="T101" fmla="*/ 70 h 2292"/>
              <a:gd name="T102" fmla="*/ 560 w 2226"/>
              <a:gd name="T103" fmla="*/ 198 h 2292"/>
              <a:gd name="T104" fmla="*/ 453 w 2226"/>
              <a:gd name="T105" fmla="*/ 258 h 2292"/>
              <a:gd name="T106" fmla="*/ 286 w 2226"/>
              <a:gd name="T107" fmla="*/ 197 h 2292"/>
              <a:gd name="T108" fmla="*/ 253 w 2226"/>
              <a:gd name="T109" fmla="*/ 240 h 2292"/>
              <a:gd name="T110" fmla="*/ 198 w 2226"/>
              <a:gd name="T111" fmla="*/ 311 h 2292"/>
              <a:gd name="T112" fmla="*/ 246 w 2226"/>
              <a:gd name="T113" fmla="*/ 388 h 2292"/>
              <a:gd name="T114" fmla="*/ 194 w 2226"/>
              <a:gd name="T115" fmla="*/ 560 h 2292"/>
              <a:gd name="T116" fmla="*/ 100 w 2226"/>
              <a:gd name="T117" fmla="*/ 567 h 2292"/>
              <a:gd name="T118" fmla="*/ 16 w 2226"/>
              <a:gd name="T119" fmla="*/ 687 h 2292"/>
              <a:gd name="T120" fmla="*/ 22 w 2226"/>
              <a:gd name="T121" fmla="*/ 824 h 2292"/>
              <a:gd name="T122" fmla="*/ 120 w 2226"/>
              <a:gd name="T123" fmla="*/ 905 h 2292"/>
              <a:gd name="T124" fmla="*/ 191 w 2226"/>
              <a:gd name="T125" fmla="*/ 949 h 22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9" name="Freeform 10">
            <a:extLst>
              <a:ext uri="{FF2B5EF4-FFF2-40B4-BE49-F238E27FC236}">
                <a16:creationId xmlns:a16="http://schemas.microsoft.com/office/drawing/2014/main" id="{A8F6D89B-733B-429D-9383-129561F4656F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8033472" y="2788535"/>
            <a:ext cx="67224" cy="49213"/>
          </a:xfrm>
          <a:custGeom>
            <a:avLst/>
            <a:gdLst>
              <a:gd name="T0" fmla="*/ 94 w 161"/>
              <a:gd name="T1" fmla="*/ 0 h 93"/>
              <a:gd name="T2" fmla="*/ 107 w 161"/>
              <a:gd name="T3" fmla="*/ 18 h 93"/>
              <a:gd name="T4" fmla="*/ 112 w 161"/>
              <a:gd name="T5" fmla="*/ 12 h 93"/>
              <a:gd name="T6" fmla="*/ 117 w 161"/>
              <a:gd name="T7" fmla="*/ 8 h 93"/>
              <a:gd name="T8" fmla="*/ 122 w 161"/>
              <a:gd name="T9" fmla="*/ 5 h 93"/>
              <a:gd name="T10" fmla="*/ 127 w 161"/>
              <a:gd name="T11" fmla="*/ 3 h 93"/>
              <a:gd name="T12" fmla="*/ 137 w 161"/>
              <a:gd name="T13" fmla="*/ 1 h 93"/>
              <a:gd name="T14" fmla="*/ 148 w 161"/>
              <a:gd name="T15" fmla="*/ 0 h 93"/>
              <a:gd name="T16" fmla="*/ 151 w 161"/>
              <a:gd name="T17" fmla="*/ 0 h 93"/>
              <a:gd name="T18" fmla="*/ 161 w 161"/>
              <a:gd name="T19" fmla="*/ 0 h 93"/>
              <a:gd name="T20" fmla="*/ 161 w 161"/>
              <a:gd name="T21" fmla="*/ 92 h 93"/>
              <a:gd name="T22" fmla="*/ 155 w 161"/>
              <a:gd name="T23" fmla="*/ 93 h 93"/>
              <a:gd name="T24" fmla="*/ 150 w 161"/>
              <a:gd name="T25" fmla="*/ 93 h 93"/>
              <a:gd name="T26" fmla="*/ 145 w 161"/>
              <a:gd name="T27" fmla="*/ 92 h 93"/>
              <a:gd name="T28" fmla="*/ 140 w 161"/>
              <a:gd name="T29" fmla="*/ 91 h 93"/>
              <a:gd name="T30" fmla="*/ 129 w 161"/>
              <a:gd name="T31" fmla="*/ 88 h 93"/>
              <a:gd name="T32" fmla="*/ 120 w 161"/>
              <a:gd name="T33" fmla="*/ 82 h 93"/>
              <a:gd name="T34" fmla="*/ 111 w 161"/>
              <a:gd name="T35" fmla="*/ 75 h 93"/>
              <a:gd name="T36" fmla="*/ 104 w 161"/>
              <a:gd name="T37" fmla="*/ 67 h 93"/>
              <a:gd name="T38" fmla="*/ 97 w 161"/>
              <a:gd name="T39" fmla="*/ 59 h 93"/>
              <a:gd name="T40" fmla="*/ 94 w 161"/>
              <a:gd name="T41" fmla="*/ 49 h 93"/>
              <a:gd name="T42" fmla="*/ 92 w 161"/>
              <a:gd name="T43" fmla="*/ 50 h 93"/>
              <a:gd name="T44" fmla="*/ 89 w 161"/>
              <a:gd name="T45" fmla="*/ 51 h 93"/>
              <a:gd name="T46" fmla="*/ 86 w 161"/>
              <a:gd name="T47" fmla="*/ 51 h 93"/>
              <a:gd name="T48" fmla="*/ 84 w 161"/>
              <a:gd name="T49" fmla="*/ 51 h 93"/>
              <a:gd name="T50" fmla="*/ 78 w 161"/>
              <a:gd name="T51" fmla="*/ 50 h 93"/>
              <a:gd name="T52" fmla="*/ 74 w 161"/>
              <a:gd name="T53" fmla="*/ 49 h 93"/>
              <a:gd name="T54" fmla="*/ 65 w 161"/>
              <a:gd name="T55" fmla="*/ 48 h 93"/>
              <a:gd name="T56" fmla="*/ 55 w 161"/>
              <a:gd name="T57" fmla="*/ 45 h 93"/>
              <a:gd name="T58" fmla="*/ 44 w 161"/>
              <a:gd name="T59" fmla="*/ 40 h 93"/>
              <a:gd name="T60" fmla="*/ 32 w 161"/>
              <a:gd name="T61" fmla="*/ 34 h 93"/>
              <a:gd name="T62" fmla="*/ 21 w 161"/>
              <a:gd name="T63" fmla="*/ 26 h 93"/>
              <a:gd name="T64" fmla="*/ 12 w 161"/>
              <a:gd name="T65" fmla="*/ 18 h 93"/>
              <a:gd name="T66" fmla="*/ 8 w 161"/>
              <a:gd name="T67" fmla="*/ 14 h 93"/>
              <a:gd name="T68" fmla="*/ 5 w 161"/>
              <a:gd name="T69" fmla="*/ 9 h 93"/>
              <a:gd name="T70" fmla="*/ 3 w 161"/>
              <a:gd name="T71" fmla="*/ 5 h 93"/>
              <a:gd name="T72" fmla="*/ 0 w 161"/>
              <a:gd name="T73" fmla="*/ 0 h 93"/>
              <a:gd name="T74" fmla="*/ 94 w 161"/>
              <a:gd name="T75" fmla="*/ 0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0" name="Freeform 11">
            <a:extLst>
              <a:ext uri="{FF2B5EF4-FFF2-40B4-BE49-F238E27FC236}">
                <a16:creationId xmlns:a16="http://schemas.microsoft.com/office/drawing/2014/main" id="{6CDF25D2-5619-4F29-9524-2ED7EF0800A2}"/>
              </a:ext>
            </a:extLst>
          </p:cNvPr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7550683" y="2663123"/>
            <a:ext cx="79446" cy="160337"/>
          </a:xfrm>
          <a:custGeom>
            <a:avLst/>
            <a:gdLst>
              <a:gd name="T0" fmla="*/ 38 w 192"/>
              <a:gd name="T1" fmla="*/ 3 h 307"/>
              <a:gd name="T2" fmla="*/ 37 w 192"/>
              <a:gd name="T3" fmla="*/ 0 h 307"/>
              <a:gd name="T4" fmla="*/ 57 w 192"/>
              <a:gd name="T5" fmla="*/ 3 h 307"/>
              <a:gd name="T6" fmla="*/ 110 w 192"/>
              <a:gd name="T7" fmla="*/ 14 h 307"/>
              <a:gd name="T8" fmla="*/ 155 w 192"/>
              <a:gd name="T9" fmla="*/ 25 h 307"/>
              <a:gd name="T10" fmla="*/ 181 w 192"/>
              <a:gd name="T11" fmla="*/ 28 h 307"/>
              <a:gd name="T12" fmla="*/ 192 w 192"/>
              <a:gd name="T13" fmla="*/ 35 h 307"/>
              <a:gd name="T14" fmla="*/ 188 w 192"/>
              <a:gd name="T15" fmla="*/ 47 h 307"/>
              <a:gd name="T16" fmla="*/ 175 w 192"/>
              <a:gd name="T17" fmla="*/ 82 h 307"/>
              <a:gd name="T18" fmla="*/ 158 w 192"/>
              <a:gd name="T19" fmla="*/ 127 h 307"/>
              <a:gd name="T20" fmla="*/ 147 w 192"/>
              <a:gd name="T21" fmla="*/ 165 h 307"/>
              <a:gd name="T22" fmla="*/ 146 w 192"/>
              <a:gd name="T23" fmla="*/ 207 h 307"/>
              <a:gd name="T24" fmla="*/ 144 w 192"/>
              <a:gd name="T25" fmla="*/ 249 h 307"/>
              <a:gd name="T26" fmla="*/ 134 w 192"/>
              <a:gd name="T27" fmla="*/ 277 h 307"/>
              <a:gd name="T28" fmla="*/ 106 w 192"/>
              <a:gd name="T29" fmla="*/ 296 h 307"/>
              <a:gd name="T30" fmla="*/ 83 w 192"/>
              <a:gd name="T31" fmla="*/ 303 h 307"/>
              <a:gd name="T32" fmla="*/ 72 w 192"/>
              <a:gd name="T33" fmla="*/ 307 h 307"/>
              <a:gd name="T34" fmla="*/ 52 w 192"/>
              <a:gd name="T35" fmla="*/ 305 h 307"/>
              <a:gd name="T36" fmla="*/ 32 w 192"/>
              <a:gd name="T37" fmla="*/ 291 h 307"/>
              <a:gd name="T38" fmla="*/ 30 w 192"/>
              <a:gd name="T39" fmla="*/ 277 h 307"/>
              <a:gd name="T40" fmla="*/ 22 w 192"/>
              <a:gd name="T41" fmla="*/ 257 h 307"/>
              <a:gd name="T42" fmla="*/ 10 w 192"/>
              <a:gd name="T43" fmla="*/ 231 h 307"/>
              <a:gd name="T44" fmla="*/ 2 w 192"/>
              <a:gd name="T45" fmla="*/ 211 h 307"/>
              <a:gd name="T46" fmla="*/ 0 w 192"/>
              <a:gd name="T47" fmla="*/ 197 h 307"/>
              <a:gd name="T48" fmla="*/ 0 w 192"/>
              <a:gd name="T49" fmla="*/ 180 h 307"/>
              <a:gd name="T50" fmla="*/ 2 w 192"/>
              <a:gd name="T51" fmla="*/ 165 h 307"/>
              <a:gd name="T52" fmla="*/ 11 w 192"/>
              <a:gd name="T53" fmla="*/ 145 h 307"/>
              <a:gd name="T54" fmla="*/ 33 w 192"/>
              <a:gd name="T55" fmla="*/ 109 h 307"/>
              <a:gd name="T56" fmla="*/ 48 w 192"/>
              <a:gd name="T57" fmla="*/ 81 h 307"/>
              <a:gd name="T58" fmla="*/ 52 w 192"/>
              <a:gd name="T59" fmla="*/ 62 h 307"/>
              <a:gd name="T60" fmla="*/ 53 w 192"/>
              <a:gd name="T61" fmla="*/ 41 h 307"/>
              <a:gd name="T62" fmla="*/ 55 w 192"/>
              <a:gd name="T63" fmla="*/ 30 h 307"/>
              <a:gd name="T64" fmla="*/ 57 w 192"/>
              <a:gd name="T65" fmla="*/ 26 h 307"/>
              <a:gd name="T66" fmla="*/ 60 w 192"/>
              <a:gd name="T67" fmla="*/ 22 h 307"/>
              <a:gd name="T68" fmla="*/ 44 w 192"/>
              <a:gd name="T69" fmla="*/ 7 h 3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1" name="Freeform 12">
            <a:extLst>
              <a:ext uri="{FF2B5EF4-FFF2-40B4-BE49-F238E27FC236}">
                <a16:creationId xmlns:a16="http://schemas.microsoft.com/office/drawing/2014/main" id="{521B8563-87FD-43AF-941D-4854E16299CF}"/>
              </a:ext>
            </a:extLst>
          </p:cNvPr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7628602" y="2148773"/>
            <a:ext cx="165004" cy="269875"/>
          </a:xfrm>
          <a:custGeom>
            <a:avLst/>
            <a:gdLst>
              <a:gd name="T0" fmla="*/ 26 w 398"/>
              <a:gd name="T1" fmla="*/ 2 h 518"/>
              <a:gd name="T2" fmla="*/ 95 w 398"/>
              <a:gd name="T3" fmla="*/ 13 h 518"/>
              <a:gd name="T4" fmla="*/ 116 w 398"/>
              <a:gd name="T5" fmla="*/ 23 h 518"/>
              <a:gd name="T6" fmla="*/ 80 w 398"/>
              <a:gd name="T7" fmla="*/ 47 h 518"/>
              <a:gd name="T8" fmla="*/ 64 w 398"/>
              <a:gd name="T9" fmla="*/ 62 h 518"/>
              <a:gd name="T10" fmla="*/ 77 w 398"/>
              <a:gd name="T11" fmla="*/ 69 h 518"/>
              <a:gd name="T12" fmla="*/ 167 w 398"/>
              <a:gd name="T13" fmla="*/ 79 h 518"/>
              <a:gd name="T14" fmla="*/ 210 w 398"/>
              <a:gd name="T15" fmla="*/ 109 h 518"/>
              <a:gd name="T16" fmla="*/ 154 w 398"/>
              <a:gd name="T17" fmla="*/ 127 h 518"/>
              <a:gd name="T18" fmla="*/ 147 w 398"/>
              <a:gd name="T19" fmla="*/ 138 h 518"/>
              <a:gd name="T20" fmla="*/ 191 w 398"/>
              <a:gd name="T21" fmla="*/ 143 h 518"/>
              <a:gd name="T22" fmla="*/ 211 w 398"/>
              <a:gd name="T23" fmla="*/ 156 h 518"/>
              <a:gd name="T24" fmla="*/ 243 w 398"/>
              <a:gd name="T25" fmla="*/ 191 h 518"/>
              <a:gd name="T26" fmla="*/ 258 w 398"/>
              <a:gd name="T27" fmla="*/ 212 h 518"/>
              <a:gd name="T28" fmla="*/ 260 w 398"/>
              <a:gd name="T29" fmla="*/ 237 h 518"/>
              <a:gd name="T30" fmla="*/ 272 w 398"/>
              <a:gd name="T31" fmla="*/ 254 h 518"/>
              <a:gd name="T32" fmla="*/ 286 w 398"/>
              <a:gd name="T33" fmla="*/ 279 h 518"/>
              <a:gd name="T34" fmla="*/ 306 w 398"/>
              <a:gd name="T35" fmla="*/ 297 h 518"/>
              <a:gd name="T36" fmla="*/ 327 w 398"/>
              <a:gd name="T37" fmla="*/ 320 h 518"/>
              <a:gd name="T38" fmla="*/ 346 w 398"/>
              <a:gd name="T39" fmla="*/ 337 h 518"/>
              <a:gd name="T40" fmla="*/ 370 w 398"/>
              <a:gd name="T41" fmla="*/ 341 h 518"/>
              <a:gd name="T42" fmla="*/ 396 w 398"/>
              <a:gd name="T43" fmla="*/ 365 h 518"/>
              <a:gd name="T44" fmla="*/ 395 w 398"/>
              <a:gd name="T45" fmla="*/ 395 h 518"/>
              <a:gd name="T46" fmla="*/ 382 w 398"/>
              <a:gd name="T47" fmla="*/ 404 h 518"/>
              <a:gd name="T48" fmla="*/ 367 w 398"/>
              <a:gd name="T49" fmla="*/ 415 h 518"/>
              <a:gd name="T50" fmla="*/ 368 w 398"/>
              <a:gd name="T51" fmla="*/ 426 h 518"/>
              <a:gd name="T52" fmla="*/ 376 w 398"/>
              <a:gd name="T53" fmla="*/ 443 h 518"/>
              <a:gd name="T54" fmla="*/ 359 w 398"/>
              <a:gd name="T55" fmla="*/ 463 h 518"/>
              <a:gd name="T56" fmla="*/ 146 w 398"/>
              <a:gd name="T57" fmla="*/ 500 h 518"/>
              <a:gd name="T58" fmla="*/ 68 w 398"/>
              <a:gd name="T59" fmla="*/ 508 h 518"/>
              <a:gd name="T60" fmla="*/ 53 w 398"/>
              <a:gd name="T61" fmla="*/ 518 h 518"/>
              <a:gd name="T62" fmla="*/ 58 w 398"/>
              <a:gd name="T63" fmla="*/ 493 h 518"/>
              <a:gd name="T64" fmla="*/ 71 w 398"/>
              <a:gd name="T65" fmla="*/ 476 h 518"/>
              <a:gd name="T66" fmla="*/ 114 w 398"/>
              <a:gd name="T67" fmla="*/ 458 h 518"/>
              <a:gd name="T68" fmla="*/ 172 w 398"/>
              <a:gd name="T69" fmla="*/ 439 h 518"/>
              <a:gd name="T70" fmla="*/ 179 w 398"/>
              <a:gd name="T71" fmla="*/ 426 h 518"/>
              <a:gd name="T72" fmla="*/ 171 w 398"/>
              <a:gd name="T73" fmla="*/ 434 h 518"/>
              <a:gd name="T74" fmla="*/ 111 w 398"/>
              <a:gd name="T75" fmla="*/ 432 h 518"/>
              <a:gd name="T76" fmla="*/ 76 w 398"/>
              <a:gd name="T77" fmla="*/ 420 h 518"/>
              <a:gd name="T78" fmla="*/ 77 w 398"/>
              <a:gd name="T79" fmla="*/ 402 h 518"/>
              <a:gd name="T80" fmla="*/ 95 w 398"/>
              <a:gd name="T81" fmla="*/ 391 h 518"/>
              <a:gd name="T82" fmla="*/ 87 w 398"/>
              <a:gd name="T83" fmla="*/ 352 h 518"/>
              <a:gd name="T84" fmla="*/ 105 w 398"/>
              <a:gd name="T85" fmla="*/ 329 h 518"/>
              <a:gd name="T86" fmla="*/ 154 w 398"/>
              <a:gd name="T87" fmla="*/ 309 h 518"/>
              <a:gd name="T88" fmla="*/ 172 w 398"/>
              <a:gd name="T89" fmla="*/ 291 h 518"/>
              <a:gd name="T90" fmla="*/ 148 w 398"/>
              <a:gd name="T91" fmla="*/ 271 h 518"/>
              <a:gd name="T92" fmla="*/ 139 w 398"/>
              <a:gd name="T93" fmla="*/ 247 h 518"/>
              <a:gd name="T94" fmla="*/ 94 w 398"/>
              <a:gd name="T95" fmla="*/ 239 h 518"/>
              <a:gd name="T96" fmla="*/ 80 w 398"/>
              <a:gd name="T97" fmla="*/ 216 h 518"/>
              <a:gd name="T98" fmla="*/ 90 w 398"/>
              <a:gd name="T99" fmla="*/ 192 h 518"/>
              <a:gd name="T100" fmla="*/ 100 w 398"/>
              <a:gd name="T101" fmla="*/ 168 h 518"/>
              <a:gd name="T102" fmla="*/ 73 w 398"/>
              <a:gd name="T103" fmla="*/ 186 h 518"/>
              <a:gd name="T104" fmla="*/ 22 w 398"/>
              <a:gd name="T105" fmla="*/ 162 h 518"/>
              <a:gd name="T106" fmla="*/ 20 w 398"/>
              <a:gd name="T107" fmla="*/ 142 h 518"/>
              <a:gd name="T108" fmla="*/ 14 w 398"/>
              <a:gd name="T109" fmla="*/ 131 h 518"/>
              <a:gd name="T110" fmla="*/ 20 w 398"/>
              <a:gd name="T111" fmla="*/ 63 h 518"/>
              <a:gd name="T112" fmla="*/ 19 w 398"/>
              <a:gd name="T113" fmla="*/ 49 h 518"/>
              <a:gd name="T114" fmla="*/ 4 w 398"/>
              <a:gd name="T115" fmla="*/ 40 h 518"/>
              <a:gd name="T116" fmla="*/ 20 w 398"/>
              <a:gd name="T117" fmla="*/ 19 h 518"/>
              <a:gd name="T118" fmla="*/ 3 w 398"/>
              <a:gd name="T119" fmla="*/ 9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2" name="Freeform 13">
            <a:extLst>
              <a:ext uri="{FF2B5EF4-FFF2-40B4-BE49-F238E27FC236}">
                <a16:creationId xmlns:a16="http://schemas.microsoft.com/office/drawing/2014/main" id="{81DA92C8-0C16-444A-A0CA-A7D19E3E3A6D}"/>
              </a:ext>
            </a:extLst>
          </p:cNvPr>
          <p:cNvSpPr>
            <a:spLocks/>
          </p:cNvSpPr>
          <p:nvPr>
            <p:custDataLst>
              <p:tags r:id="rId16"/>
            </p:custDataLst>
          </p:nvPr>
        </p:nvSpPr>
        <p:spPr bwMode="auto">
          <a:xfrm>
            <a:off x="7973888" y="2451984"/>
            <a:ext cx="163475" cy="76200"/>
          </a:xfrm>
          <a:custGeom>
            <a:avLst/>
            <a:gdLst>
              <a:gd name="T0" fmla="*/ 190 w 382"/>
              <a:gd name="T1" fmla="*/ 21 h 148"/>
              <a:gd name="T2" fmla="*/ 177 w 382"/>
              <a:gd name="T3" fmla="*/ 31 h 148"/>
              <a:gd name="T4" fmla="*/ 174 w 382"/>
              <a:gd name="T5" fmla="*/ 45 h 148"/>
              <a:gd name="T6" fmla="*/ 168 w 382"/>
              <a:gd name="T7" fmla="*/ 53 h 148"/>
              <a:gd name="T8" fmla="*/ 166 w 382"/>
              <a:gd name="T9" fmla="*/ 61 h 148"/>
              <a:gd name="T10" fmla="*/ 177 w 382"/>
              <a:gd name="T11" fmla="*/ 74 h 148"/>
              <a:gd name="T12" fmla="*/ 155 w 382"/>
              <a:gd name="T13" fmla="*/ 86 h 148"/>
              <a:gd name="T14" fmla="*/ 108 w 382"/>
              <a:gd name="T15" fmla="*/ 96 h 148"/>
              <a:gd name="T16" fmla="*/ 77 w 382"/>
              <a:gd name="T17" fmla="*/ 97 h 148"/>
              <a:gd name="T18" fmla="*/ 52 w 382"/>
              <a:gd name="T19" fmla="*/ 95 h 148"/>
              <a:gd name="T20" fmla="*/ 4 w 382"/>
              <a:gd name="T21" fmla="*/ 111 h 148"/>
              <a:gd name="T22" fmla="*/ 0 w 382"/>
              <a:gd name="T23" fmla="*/ 129 h 148"/>
              <a:gd name="T24" fmla="*/ 4 w 382"/>
              <a:gd name="T25" fmla="*/ 131 h 148"/>
              <a:gd name="T26" fmla="*/ 12 w 382"/>
              <a:gd name="T27" fmla="*/ 131 h 148"/>
              <a:gd name="T28" fmla="*/ 51 w 382"/>
              <a:gd name="T29" fmla="*/ 129 h 148"/>
              <a:gd name="T30" fmla="*/ 114 w 382"/>
              <a:gd name="T31" fmla="*/ 127 h 148"/>
              <a:gd name="T32" fmla="*/ 123 w 382"/>
              <a:gd name="T33" fmla="*/ 134 h 148"/>
              <a:gd name="T34" fmla="*/ 137 w 382"/>
              <a:gd name="T35" fmla="*/ 141 h 148"/>
              <a:gd name="T36" fmla="*/ 159 w 382"/>
              <a:gd name="T37" fmla="*/ 147 h 148"/>
              <a:gd name="T38" fmla="*/ 185 w 382"/>
              <a:gd name="T39" fmla="*/ 148 h 148"/>
              <a:gd name="T40" fmla="*/ 210 w 382"/>
              <a:gd name="T41" fmla="*/ 148 h 148"/>
              <a:gd name="T42" fmla="*/ 233 w 382"/>
              <a:gd name="T43" fmla="*/ 148 h 148"/>
              <a:gd name="T44" fmla="*/ 255 w 382"/>
              <a:gd name="T45" fmla="*/ 148 h 148"/>
              <a:gd name="T46" fmla="*/ 275 w 382"/>
              <a:gd name="T47" fmla="*/ 143 h 148"/>
              <a:gd name="T48" fmla="*/ 301 w 382"/>
              <a:gd name="T49" fmla="*/ 134 h 148"/>
              <a:gd name="T50" fmla="*/ 334 w 382"/>
              <a:gd name="T51" fmla="*/ 121 h 148"/>
              <a:gd name="T52" fmla="*/ 353 w 382"/>
              <a:gd name="T53" fmla="*/ 103 h 148"/>
              <a:gd name="T54" fmla="*/ 372 w 382"/>
              <a:gd name="T55" fmla="*/ 72 h 148"/>
              <a:gd name="T56" fmla="*/ 376 w 382"/>
              <a:gd name="T57" fmla="*/ 52 h 148"/>
              <a:gd name="T58" fmla="*/ 363 w 382"/>
              <a:gd name="T59" fmla="*/ 44 h 148"/>
              <a:gd name="T60" fmla="*/ 357 w 382"/>
              <a:gd name="T61" fmla="*/ 32 h 148"/>
              <a:gd name="T62" fmla="*/ 347 w 382"/>
              <a:gd name="T63" fmla="*/ 22 h 148"/>
              <a:gd name="T64" fmla="*/ 334 w 382"/>
              <a:gd name="T65" fmla="*/ 17 h 148"/>
              <a:gd name="T66" fmla="*/ 319 w 382"/>
              <a:gd name="T67" fmla="*/ 8 h 148"/>
              <a:gd name="T68" fmla="*/ 203 w 382"/>
              <a:gd name="T69" fmla="*/ 18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3" name="Freeform 14">
            <a:extLst>
              <a:ext uri="{FF2B5EF4-FFF2-40B4-BE49-F238E27FC236}">
                <a16:creationId xmlns:a16="http://schemas.microsoft.com/office/drawing/2014/main" id="{E474FC7D-91D5-4DD9-BD8D-A41916B13C49}"/>
              </a:ext>
            </a:extLst>
          </p:cNvPr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9410030" y="2301173"/>
            <a:ext cx="1232943" cy="1038225"/>
          </a:xfrm>
          <a:custGeom>
            <a:avLst/>
            <a:gdLst>
              <a:gd name="T0" fmla="*/ 373 w 2936"/>
              <a:gd name="T1" fmla="*/ 1071 h 1983"/>
              <a:gd name="T2" fmla="*/ 385 w 2936"/>
              <a:gd name="T3" fmla="*/ 1182 h 1983"/>
              <a:gd name="T4" fmla="*/ 478 w 2936"/>
              <a:gd name="T5" fmla="*/ 1358 h 1983"/>
              <a:gd name="T6" fmla="*/ 768 w 2936"/>
              <a:gd name="T7" fmla="*/ 1492 h 1983"/>
              <a:gd name="T8" fmla="*/ 1036 w 2936"/>
              <a:gd name="T9" fmla="*/ 1552 h 1983"/>
              <a:gd name="T10" fmla="*/ 1124 w 2936"/>
              <a:gd name="T11" fmla="*/ 1529 h 1983"/>
              <a:gd name="T12" fmla="*/ 1401 w 2936"/>
              <a:gd name="T13" fmla="*/ 1448 h 1983"/>
              <a:gd name="T14" fmla="*/ 1547 w 2936"/>
              <a:gd name="T15" fmla="*/ 1542 h 1983"/>
              <a:gd name="T16" fmla="*/ 1577 w 2936"/>
              <a:gd name="T17" fmla="*/ 1697 h 1983"/>
              <a:gd name="T18" fmla="*/ 1607 w 2936"/>
              <a:gd name="T19" fmla="*/ 1773 h 1983"/>
              <a:gd name="T20" fmla="*/ 1706 w 2936"/>
              <a:gd name="T21" fmla="*/ 1912 h 1983"/>
              <a:gd name="T22" fmla="*/ 1842 w 2936"/>
              <a:gd name="T23" fmla="*/ 1859 h 1983"/>
              <a:gd name="T24" fmla="*/ 2072 w 2936"/>
              <a:gd name="T25" fmla="*/ 1854 h 1983"/>
              <a:gd name="T26" fmla="*/ 2265 w 2936"/>
              <a:gd name="T27" fmla="*/ 1983 h 1983"/>
              <a:gd name="T28" fmla="*/ 2357 w 2936"/>
              <a:gd name="T29" fmla="*/ 1910 h 1983"/>
              <a:gd name="T30" fmla="*/ 2457 w 2936"/>
              <a:gd name="T31" fmla="*/ 1866 h 1983"/>
              <a:gd name="T32" fmla="*/ 2546 w 2936"/>
              <a:gd name="T33" fmla="*/ 1826 h 1983"/>
              <a:gd name="T34" fmla="*/ 2683 w 2936"/>
              <a:gd name="T35" fmla="*/ 1732 h 1983"/>
              <a:gd name="T36" fmla="*/ 2719 w 2936"/>
              <a:gd name="T37" fmla="*/ 1616 h 1983"/>
              <a:gd name="T38" fmla="*/ 2794 w 2936"/>
              <a:gd name="T39" fmla="*/ 1420 h 1983"/>
              <a:gd name="T40" fmla="*/ 2705 w 2936"/>
              <a:gd name="T41" fmla="*/ 1375 h 1983"/>
              <a:gd name="T42" fmla="*/ 2640 w 2936"/>
              <a:gd name="T43" fmla="*/ 1273 h 1983"/>
              <a:gd name="T44" fmla="*/ 2669 w 2936"/>
              <a:gd name="T45" fmla="*/ 1227 h 1983"/>
              <a:gd name="T46" fmla="*/ 2532 w 2936"/>
              <a:gd name="T47" fmla="*/ 1061 h 1983"/>
              <a:gd name="T48" fmla="*/ 2583 w 2936"/>
              <a:gd name="T49" fmla="*/ 993 h 1983"/>
              <a:gd name="T50" fmla="*/ 2453 w 2936"/>
              <a:gd name="T51" fmla="*/ 962 h 1983"/>
              <a:gd name="T52" fmla="*/ 2333 w 2936"/>
              <a:gd name="T53" fmla="*/ 887 h 1983"/>
              <a:gd name="T54" fmla="*/ 2368 w 2936"/>
              <a:gd name="T55" fmla="*/ 836 h 1983"/>
              <a:gd name="T56" fmla="*/ 2443 w 2936"/>
              <a:gd name="T57" fmla="*/ 756 h 1983"/>
              <a:gd name="T58" fmla="*/ 2496 w 2936"/>
              <a:gd name="T59" fmla="*/ 780 h 1983"/>
              <a:gd name="T60" fmla="*/ 2532 w 2936"/>
              <a:gd name="T61" fmla="*/ 853 h 1983"/>
              <a:gd name="T62" fmla="*/ 2689 w 2936"/>
              <a:gd name="T63" fmla="*/ 763 h 1983"/>
              <a:gd name="T64" fmla="*/ 2828 w 2936"/>
              <a:gd name="T65" fmla="*/ 673 h 1983"/>
              <a:gd name="T66" fmla="*/ 2886 w 2936"/>
              <a:gd name="T67" fmla="*/ 564 h 1983"/>
              <a:gd name="T68" fmla="*/ 2928 w 2936"/>
              <a:gd name="T69" fmla="*/ 494 h 1983"/>
              <a:gd name="T70" fmla="*/ 2893 w 2936"/>
              <a:gd name="T71" fmla="*/ 307 h 1983"/>
              <a:gd name="T72" fmla="*/ 2722 w 2936"/>
              <a:gd name="T73" fmla="*/ 341 h 1983"/>
              <a:gd name="T74" fmla="*/ 2461 w 2936"/>
              <a:gd name="T75" fmla="*/ 205 h 1983"/>
              <a:gd name="T76" fmla="*/ 2300 w 2936"/>
              <a:gd name="T77" fmla="*/ 89 h 1983"/>
              <a:gd name="T78" fmla="*/ 1980 w 2936"/>
              <a:gd name="T79" fmla="*/ 53 h 1983"/>
              <a:gd name="T80" fmla="*/ 2007 w 2936"/>
              <a:gd name="T81" fmla="*/ 155 h 1983"/>
              <a:gd name="T82" fmla="*/ 1952 w 2936"/>
              <a:gd name="T83" fmla="*/ 227 h 1983"/>
              <a:gd name="T84" fmla="*/ 2025 w 2936"/>
              <a:gd name="T85" fmla="*/ 350 h 1983"/>
              <a:gd name="T86" fmla="*/ 2146 w 2936"/>
              <a:gd name="T87" fmla="*/ 370 h 1983"/>
              <a:gd name="T88" fmla="*/ 2041 w 2936"/>
              <a:gd name="T89" fmla="*/ 455 h 1983"/>
              <a:gd name="T90" fmla="*/ 1891 w 2936"/>
              <a:gd name="T91" fmla="*/ 570 h 1983"/>
              <a:gd name="T92" fmla="*/ 1630 w 2936"/>
              <a:gd name="T93" fmla="*/ 713 h 1983"/>
              <a:gd name="T94" fmla="*/ 1228 w 2936"/>
              <a:gd name="T95" fmla="*/ 659 h 1983"/>
              <a:gd name="T96" fmla="*/ 1036 w 2936"/>
              <a:gd name="T97" fmla="*/ 560 h 1983"/>
              <a:gd name="T98" fmla="*/ 752 w 2936"/>
              <a:gd name="T99" fmla="*/ 495 h 1983"/>
              <a:gd name="T100" fmla="*/ 686 w 2936"/>
              <a:gd name="T101" fmla="*/ 379 h 1983"/>
              <a:gd name="T102" fmla="*/ 512 w 2936"/>
              <a:gd name="T103" fmla="*/ 299 h 1983"/>
              <a:gd name="T104" fmla="*/ 430 w 2936"/>
              <a:gd name="T105" fmla="*/ 311 h 1983"/>
              <a:gd name="T106" fmla="*/ 423 w 2936"/>
              <a:gd name="T107" fmla="*/ 388 h 1983"/>
              <a:gd name="T108" fmla="*/ 305 w 2936"/>
              <a:gd name="T109" fmla="*/ 382 h 1983"/>
              <a:gd name="T110" fmla="*/ 227 w 2936"/>
              <a:gd name="T111" fmla="*/ 507 h 1983"/>
              <a:gd name="T112" fmla="*/ 260 w 2936"/>
              <a:gd name="T113" fmla="*/ 595 h 1983"/>
              <a:gd name="T114" fmla="*/ 252 w 2936"/>
              <a:gd name="T115" fmla="*/ 716 h 1983"/>
              <a:gd name="T116" fmla="*/ 118 w 2936"/>
              <a:gd name="T117" fmla="*/ 781 h 1983"/>
              <a:gd name="T118" fmla="*/ 40 w 2936"/>
              <a:gd name="T119" fmla="*/ 894 h 198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chemeClr val="bg1">
              <a:lumMod val="75000"/>
            </a:schemeClr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4" name="Freeform 15">
            <a:extLst>
              <a:ext uri="{FF2B5EF4-FFF2-40B4-BE49-F238E27FC236}">
                <a16:creationId xmlns:a16="http://schemas.microsoft.com/office/drawing/2014/main" id="{249BF1FD-6817-4215-8E19-B25C01AF073E}"/>
              </a:ext>
            </a:extLst>
          </p:cNvPr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8151114" y="1842384"/>
            <a:ext cx="212365" cy="273050"/>
          </a:xfrm>
          <a:custGeom>
            <a:avLst/>
            <a:gdLst>
              <a:gd name="T0" fmla="*/ 345 w 504"/>
              <a:gd name="T1" fmla="*/ 493 h 524"/>
              <a:gd name="T2" fmla="*/ 256 w 504"/>
              <a:gd name="T3" fmla="*/ 505 h 524"/>
              <a:gd name="T4" fmla="*/ 235 w 504"/>
              <a:gd name="T5" fmla="*/ 517 h 524"/>
              <a:gd name="T6" fmla="*/ 210 w 504"/>
              <a:gd name="T7" fmla="*/ 522 h 524"/>
              <a:gd name="T8" fmla="*/ 155 w 504"/>
              <a:gd name="T9" fmla="*/ 524 h 524"/>
              <a:gd name="T10" fmla="*/ 106 w 504"/>
              <a:gd name="T11" fmla="*/ 522 h 524"/>
              <a:gd name="T12" fmla="*/ 94 w 504"/>
              <a:gd name="T13" fmla="*/ 516 h 524"/>
              <a:gd name="T14" fmla="*/ 71 w 504"/>
              <a:gd name="T15" fmla="*/ 509 h 524"/>
              <a:gd name="T16" fmla="*/ 36 w 504"/>
              <a:gd name="T17" fmla="*/ 496 h 524"/>
              <a:gd name="T18" fmla="*/ 22 w 504"/>
              <a:gd name="T19" fmla="*/ 486 h 524"/>
              <a:gd name="T20" fmla="*/ 20 w 504"/>
              <a:gd name="T21" fmla="*/ 477 h 524"/>
              <a:gd name="T22" fmla="*/ 27 w 504"/>
              <a:gd name="T23" fmla="*/ 463 h 524"/>
              <a:gd name="T24" fmla="*/ 32 w 504"/>
              <a:gd name="T25" fmla="*/ 445 h 524"/>
              <a:gd name="T26" fmla="*/ 28 w 504"/>
              <a:gd name="T27" fmla="*/ 432 h 524"/>
              <a:gd name="T28" fmla="*/ 10 w 504"/>
              <a:gd name="T29" fmla="*/ 417 h 524"/>
              <a:gd name="T30" fmla="*/ 1 w 504"/>
              <a:gd name="T31" fmla="*/ 407 h 524"/>
              <a:gd name="T32" fmla="*/ 1 w 504"/>
              <a:gd name="T33" fmla="*/ 391 h 524"/>
              <a:gd name="T34" fmla="*/ 17 w 504"/>
              <a:gd name="T35" fmla="*/ 360 h 524"/>
              <a:gd name="T36" fmla="*/ 48 w 504"/>
              <a:gd name="T37" fmla="*/ 328 h 524"/>
              <a:gd name="T38" fmla="*/ 86 w 504"/>
              <a:gd name="T39" fmla="*/ 299 h 524"/>
              <a:gd name="T40" fmla="*/ 124 w 504"/>
              <a:gd name="T41" fmla="*/ 279 h 524"/>
              <a:gd name="T42" fmla="*/ 160 w 504"/>
              <a:gd name="T43" fmla="*/ 272 h 524"/>
              <a:gd name="T44" fmla="*/ 155 w 504"/>
              <a:gd name="T45" fmla="*/ 264 h 524"/>
              <a:gd name="T46" fmla="*/ 142 w 504"/>
              <a:gd name="T47" fmla="*/ 259 h 524"/>
              <a:gd name="T48" fmla="*/ 133 w 504"/>
              <a:gd name="T49" fmla="*/ 251 h 524"/>
              <a:gd name="T50" fmla="*/ 127 w 504"/>
              <a:gd name="T51" fmla="*/ 229 h 524"/>
              <a:gd name="T52" fmla="*/ 124 w 504"/>
              <a:gd name="T53" fmla="*/ 195 h 524"/>
              <a:gd name="T54" fmla="*/ 115 w 504"/>
              <a:gd name="T55" fmla="*/ 161 h 524"/>
              <a:gd name="T56" fmla="*/ 100 w 504"/>
              <a:gd name="T57" fmla="*/ 134 h 524"/>
              <a:gd name="T58" fmla="*/ 68 w 504"/>
              <a:gd name="T59" fmla="*/ 90 h 524"/>
              <a:gd name="T60" fmla="*/ 86 w 504"/>
              <a:gd name="T61" fmla="*/ 60 h 524"/>
              <a:gd name="T62" fmla="*/ 106 w 504"/>
              <a:gd name="T63" fmla="*/ 56 h 524"/>
              <a:gd name="T64" fmla="*/ 130 w 504"/>
              <a:gd name="T65" fmla="*/ 58 h 524"/>
              <a:gd name="T66" fmla="*/ 139 w 504"/>
              <a:gd name="T67" fmla="*/ 61 h 524"/>
              <a:gd name="T68" fmla="*/ 160 w 504"/>
              <a:gd name="T69" fmla="*/ 56 h 524"/>
              <a:gd name="T70" fmla="*/ 164 w 504"/>
              <a:gd name="T71" fmla="*/ 33 h 524"/>
              <a:gd name="T72" fmla="*/ 171 w 504"/>
              <a:gd name="T73" fmla="*/ 13 h 524"/>
              <a:gd name="T74" fmla="*/ 187 w 504"/>
              <a:gd name="T75" fmla="*/ 0 h 524"/>
              <a:gd name="T76" fmla="*/ 225 w 504"/>
              <a:gd name="T77" fmla="*/ 0 h 524"/>
              <a:gd name="T78" fmla="*/ 254 w 504"/>
              <a:gd name="T79" fmla="*/ 8 h 524"/>
              <a:gd name="T80" fmla="*/ 280 w 504"/>
              <a:gd name="T81" fmla="*/ 21 h 524"/>
              <a:gd name="T82" fmla="*/ 279 w 504"/>
              <a:gd name="T83" fmla="*/ 62 h 524"/>
              <a:gd name="T84" fmla="*/ 292 w 504"/>
              <a:gd name="T85" fmla="*/ 77 h 524"/>
              <a:gd name="T86" fmla="*/ 319 w 504"/>
              <a:gd name="T87" fmla="*/ 94 h 524"/>
              <a:gd name="T88" fmla="*/ 356 w 504"/>
              <a:gd name="T89" fmla="*/ 119 h 524"/>
              <a:gd name="T90" fmla="*/ 346 w 504"/>
              <a:gd name="T91" fmla="*/ 135 h 524"/>
              <a:gd name="T92" fmla="*/ 340 w 504"/>
              <a:gd name="T93" fmla="*/ 153 h 524"/>
              <a:gd name="T94" fmla="*/ 344 w 504"/>
              <a:gd name="T95" fmla="*/ 176 h 524"/>
              <a:gd name="T96" fmla="*/ 363 w 504"/>
              <a:gd name="T97" fmla="*/ 200 h 524"/>
              <a:gd name="T98" fmla="*/ 378 w 504"/>
              <a:gd name="T99" fmla="*/ 210 h 524"/>
              <a:gd name="T100" fmla="*/ 386 w 504"/>
              <a:gd name="T101" fmla="*/ 256 h 524"/>
              <a:gd name="T102" fmla="*/ 404 w 504"/>
              <a:gd name="T103" fmla="*/ 289 h 524"/>
              <a:gd name="T104" fmla="*/ 432 w 504"/>
              <a:gd name="T105" fmla="*/ 315 h 524"/>
              <a:gd name="T106" fmla="*/ 463 w 504"/>
              <a:gd name="T107" fmla="*/ 335 h 524"/>
              <a:gd name="T108" fmla="*/ 466 w 504"/>
              <a:gd name="T109" fmla="*/ 390 h 524"/>
              <a:gd name="T110" fmla="*/ 397 w 504"/>
              <a:gd name="T111" fmla="*/ 457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5" name="Freeform 16">
            <a:extLst>
              <a:ext uri="{FF2B5EF4-FFF2-40B4-BE49-F238E27FC236}">
                <a16:creationId xmlns:a16="http://schemas.microsoft.com/office/drawing/2014/main" id="{B1BD9E33-2D69-4355-9656-7C071FD4172B}"/>
              </a:ext>
            </a:extLst>
          </p:cNvPr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7897497" y="2259898"/>
            <a:ext cx="175698" cy="238125"/>
          </a:xfrm>
          <a:custGeom>
            <a:avLst/>
            <a:gdLst>
              <a:gd name="T0" fmla="*/ 426 w 438"/>
              <a:gd name="T1" fmla="*/ 190 h 451"/>
              <a:gd name="T2" fmla="*/ 408 w 438"/>
              <a:gd name="T3" fmla="*/ 128 h 451"/>
              <a:gd name="T4" fmla="*/ 387 w 438"/>
              <a:gd name="T5" fmla="*/ 85 h 451"/>
              <a:gd name="T6" fmla="*/ 367 w 438"/>
              <a:gd name="T7" fmla="*/ 62 h 451"/>
              <a:gd name="T8" fmla="*/ 356 w 438"/>
              <a:gd name="T9" fmla="*/ 58 h 451"/>
              <a:gd name="T10" fmla="*/ 335 w 438"/>
              <a:gd name="T11" fmla="*/ 45 h 451"/>
              <a:gd name="T12" fmla="*/ 314 w 438"/>
              <a:gd name="T13" fmla="*/ 38 h 451"/>
              <a:gd name="T14" fmla="*/ 293 w 438"/>
              <a:gd name="T15" fmla="*/ 38 h 451"/>
              <a:gd name="T16" fmla="*/ 276 w 438"/>
              <a:gd name="T17" fmla="*/ 42 h 451"/>
              <a:gd name="T18" fmla="*/ 251 w 438"/>
              <a:gd name="T19" fmla="*/ 58 h 451"/>
              <a:gd name="T20" fmla="*/ 235 w 438"/>
              <a:gd name="T21" fmla="*/ 67 h 451"/>
              <a:gd name="T22" fmla="*/ 217 w 438"/>
              <a:gd name="T23" fmla="*/ 66 h 451"/>
              <a:gd name="T24" fmla="*/ 174 w 438"/>
              <a:gd name="T25" fmla="*/ 37 h 451"/>
              <a:gd name="T26" fmla="*/ 113 w 438"/>
              <a:gd name="T27" fmla="*/ 0 h 451"/>
              <a:gd name="T28" fmla="*/ 95 w 438"/>
              <a:gd name="T29" fmla="*/ 23 h 451"/>
              <a:gd name="T30" fmla="*/ 93 w 438"/>
              <a:gd name="T31" fmla="*/ 43 h 451"/>
              <a:gd name="T32" fmla="*/ 98 w 438"/>
              <a:gd name="T33" fmla="*/ 52 h 451"/>
              <a:gd name="T34" fmla="*/ 119 w 438"/>
              <a:gd name="T35" fmla="*/ 69 h 451"/>
              <a:gd name="T36" fmla="*/ 99 w 438"/>
              <a:gd name="T37" fmla="*/ 73 h 451"/>
              <a:gd name="T38" fmla="*/ 66 w 438"/>
              <a:gd name="T39" fmla="*/ 93 h 451"/>
              <a:gd name="T40" fmla="*/ 58 w 438"/>
              <a:gd name="T41" fmla="*/ 119 h 451"/>
              <a:gd name="T42" fmla="*/ 45 w 438"/>
              <a:gd name="T43" fmla="*/ 138 h 451"/>
              <a:gd name="T44" fmla="*/ 35 w 438"/>
              <a:gd name="T45" fmla="*/ 156 h 451"/>
              <a:gd name="T46" fmla="*/ 33 w 438"/>
              <a:gd name="T47" fmla="*/ 179 h 451"/>
              <a:gd name="T48" fmla="*/ 7 w 438"/>
              <a:gd name="T49" fmla="*/ 238 h 451"/>
              <a:gd name="T50" fmla="*/ 15 w 438"/>
              <a:gd name="T51" fmla="*/ 246 h 451"/>
              <a:gd name="T52" fmla="*/ 26 w 438"/>
              <a:gd name="T53" fmla="*/ 247 h 451"/>
              <a:gd name="T54" fmla="*/ 33 w 438"/>
              <a:gd name="T55" fmla="*/ 346 h 451"/>
              <a:gd name="T56" fmla="*/ 93 w 438"/>
              <a:gd name="T57" fmla="*/ 353 h 451"/>
              <a:gd name="T58" fmla="*/ 104 w 438"/>
              <a:gd name="T59" fmla="*/ 376 h 451"/>
              <a:gd name="T60" fmla="*/ 89 w 438"/>
              <a:gd name="T61" fmla="*/ 425 h 451"/>
              <a:gd name="T62" fmla="*/ 109 w 438"/>
              <a:gd name="T63" fmla="*/ 447 h 451"/>
              <a:gd name="T64" fmla="*/ 152 w 438"/>
              <a:gd name="T65" fmla="*/ 447 h 451"/>
              <a:gd name="T66" fmla="*/ 205 w 438"/>
              <a:gd name="T67" fmla="*/ 444 h 451"/>
              <a:gd name="T68" fmla="*/ 276 w 438"/>
              <a:gd name="T69" fmla="*/ 446 h 451"/>
              <a:gd name="T70" fmla="*/ 343 w 438"/>
              <a:gd name="T71" fmla="*/ 442 h 451"/>
              <a:gd name="T72" fmla="*/ 372 w 438"/>
              <a:gd name="T73" fmla="*/ 432 h 451"/>
              <a:gd name="T74" fmla="*/ 359 w 438"/>
              <a:gd name="T75" fmla="*/ 413 h 451"/>
              <a:gd name="T76" fmla="*/ 369 w 438"/>
              <a:gd name="T77" fmla="*/ 403 h 451"/>
              <a:gd name="T78" fmla="*/ 372 w 438"/>
              <a:gd name="T79" fmla="*/ 382 h 451"/>
              <a:gd name="T80" fmla="*/ 380 w 438"/>
              <a:gd name="T81" fmla="*/ 367 h 451"/>
              <a:gd name="T82" fmla="*/ 343 w 438"/>
              <a:gd name="T83" fmla="*/ 344 h 451"/>
              <a:gd name="T84" fmla="*/ 325 w 438"/>
              <a:gd name="T85" fmla="*/ 323 h 451"/>
              <a:gd name="T86" fmla="*/ 311 w 438"/>
              <a:gd name="T87" fmla="*/ 294 h 451"/>
              <a:gd name="T88" fmla="*/ 294 w 438"/>
              <a:gd name="T89" fmla="*/ 277 h 451"/>
              <a:gd name="T90" fmla="*/ 314 w 438"/>
              <a:gd name="T91" fmla="*/ 275 h 451"/>
              <a:gd name="T92" fmla="*/ 346 w 438"/>
              <a:gd name="T93" fmla="*/ 271 h 451"/>
              <a:gd name="T94" fmla="*/ 369 w 438"/>
              <a:gd name="T95" fmla="*/ 260 h 451"/>
              <a:gd name="T96" fmla="*/ 407 w 438"/>
              <a:gd name="T97" fmla="*/ 240 h 451"/>
              <a:gd name="T98" fmla="*/ 438 w 438"/>
              <a:gd name="T99" fmla="*/ 235 h 4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" name="Freeform 17">
            <a:extLst>
              <a:ext uri="{FF2B5EF4-FFF2-40B4-BE49-F238E27FC236}">
                <a16:creationId xmlns:a16="http://schemas.microsoft.com/office/drawing/2014/main" id="{9CF830E5-3C2D-4D91-BBC5-E53308E33E93}"/>
              </a:ext>
            </a:extLst>
          </p:cNvPr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7921943" y="2517073"/>
            <a:ext cx="241394" cy="274637"/>
          </a:xfrm>
          <a:custGeom>
            <a:avLst/>
            <a:gdLst>
              <a:gd name="T0" fmla="*/ 327 w 578"/>
              <a:gd name="T1" fmla="*/ 88 h 524"/>
              <a:gd name="T2" fmla="*/ 312 w 578"/>
              <a:gd name="T3" fmla="*/ 85 h 524"/>
              <a:gd name="T4" fmla="*/ 301 w 578"/>
              <a:gd name="T5" fmla="*/ 79 h 524"/>
              <a:gd name="T6" fmla="*/ 275 w 578"/>
              <a:gd name="T7" fmla="*/ 66 h 524"/>
              <a:gd name="T8" fmla="*/ 251 w 578"/>
              <a:gd name="T9" fmla="*/ 78 h 524"/>
              <a:gd name="T10" fmla="*/ 246 w 578"/>
              <a:gd name="T11" fmla="*/ 105 h 524"/>
              <a:gd name="T12" fmla="*/ 253 w 578"/>
              <a:gd name="T13" fmla="*/ 153 h 524"/>
              <a:gd name="T14" fmla="*/ 270 w 578"/>
              <a:gd name="T15" fmla="*/ 172 h 524"/>
              <a:gd name="T16" fmla="*/ 287 w 578"/>
              <a:gd name="T17" fmla="*/ 178 h 524"/>
              <a:gd name="T18" fmla="*/ 298 w 578"/>
              <a:gd name="T19" fmla="*/ 191 h 524"/>
              <a:gd name="T20" fmla="*/ 351 w 578"/>
              <a:gd name="T21" fmla="*/ 225 h 524"/>
              <a:gd name="T22" fmla="*/ 449 w 578"/>
              <a:gd name="T23" fmla="*/ 309 h 524"/>
              <a:gd name="T24" fmla="*/ 477 w 578"/>
              <a:gd name="T25" fmla="*/ 322 h 524"/>
              <a:gd name="T26" fmla="*/ 504 w 578"/>
              <a:gd name="T27" fmla="*/ 328 h 524"/>
              <a:gd name="T28" fmla="*/ 536 w 578"/>
              <a:gd name="T29" fmla="*/ 356 h 524"/>
              <a:gd name="T30" fmla="*/ 578 w 578"/>
              <a:gd name="T31" fmla="*/ 376 h 524"/>
              <a:gd name="T32" fmla="*/ 565 w 578"/>
              <a:gd name="T33" fmla="*/ 407 h 524"/>
              <a:gd name="T34" fmla="*/ 526 w 578"/>
              <a:gd name="T35" fmla="*/ 383 h 524"/>
              <a:gd name="T36" fmla="*/ 508 w 578"/>
              <a:gd name="T37" fmla="*/ 376 h 524"/>
              <a:gd name="T38" fmla="*/ 498 w 578"/>
              <a:gd name="T39" fmla="*/ 397 h 524"/>
              <a:gd name="T40" fmla="*/ 506 w 578"/>
              <a:gd name="T41" fmla="*/ 426 h 524"/>
              <a:gd name="T42" fmla="*/ 514 w 578"/>
              <a:gd name="T43" fmla="*/ 442 h 524"/>
              <a:gd name="T44" fmla="*/ 500 w 578"/>
              <a:gd name="T45" fmla="*/ 468 h 524"/>
              <a:gd name="T46" fmla="*/ 483 w 578"/>
              <a:gd name="T47" fmla="*/ 505 h 524"/>
              <a:gd name="T48" fmla="*/ 465 w 578"/>
              <a:gd name="T49" fmla="*/ 522 h 524"/>
              <a:gd name="T50" fmla="*/ 436 w 578"/>
              <a:gd name="T51" fmla="*/ 505 h 524"/>
              <a:gd name="T52" fmla="*/ 456 w 578"/>
              <a:gd name="T53" fmla="*/ 484 h 524"/>
              <a:gd name="T54" fmla="*/ 465 w 578"/>
              <a:gd name="T55" fmla="*/ 467 h 524"/>
              <a:gd name="T56" fmla="*/ 461 w 578"/>
              <a:gd name="T57" fmla="*/ 441 h 524"/>
              <a:gd name="T58" fmla="*/ 427 w 578"/>
              <a:gd name="T59" fmla="*/ 395 h 524"/>
              <a:gd name="T60" fmla="*/ 385 w 578"/>
              <a:gd name="T61" fmla="*/ 369 h 524"/>
              <a:gd name="T62" fmla="*/ 355 w 578"/>
              <a:gd name="T63" fmla="*/ 356 h 524"/>
              <a:gd name="T64" fmla="*/ 318 w 578"/>
              <a:gd name="T65" fmla="*/ 330 h 524"/>
              <a:gd name="T66" fmla="*/ 268 w 578"/>
              <a:gd name="T67" fmla="*/ 315 h 524"/>
              <a:gd name="T68" fmla="*/ 218 w 578"/>
              <a:gd name="T69" fmla="*/ 285 h 524"/>
              <a:gd name="T70" fmla="*/ 162 w 578"/>
              <a:gd name="T71" fmla="*/ 229 h 524"/>
              <a:gd name="T72" fmla="*/ 126 w 578"/>
              <a:gd name="T73" fmla="*/ 168 h 524"/>
              <a:gd name="T74" fmla="*/ 77 w 578"/>
              <a:gd name="T75" fmla="*/ 154 h 524"/>
              <a:gd name="T76" fmla="*/ 51 w 578"/>
              <a:gd name="T77" fmla="*/ 157 h 524"/>
              <a:gd name="T78" fmla="*/ 15 w 578"/>
              <a:gd name="T79" fmla="*/ 165 h 524"/>
              <a:gd name="T80" fmla="*/ 3 w 578"/>
              <a:gd name="T81" fmla="*/ 133 h 524"/>
              <a:gd name="T82" fmla="*/ 1 w 578"/>
              <a:gd name="T83" fmla="*/ 93 h 524"/>
              <a:gd name="T84" fmla="*/ 6 w 578"/>
              <a:gd name="T85" fmla="*/ 49 h 524"/>
              <a:gd name="T86" fmla="*/ 45 w 578"/>
              <a:gd name="T87" fmla="*/ 41 h 524"/>
              <a:gd name="T88" fmla="*/ 68 w 578"/>
              <a:gd name="T89" fmla="*/ 33 h 524"/>
              <a:gd name="T90" fmla="*/ 83 w 578"/>
              <a:gd name="T91" fmla="*/ 48 h 524"/>
              <a:gd name="T92" fmla="*/ 104 w 578"/>
              <a:gd name="T93" fmla="*/ 44 h 524"/>
              <a:gd name="T94" fmla="*/ 149 w 578"/>
              <a:gd name="T95" fmla="*/ 16 h 524"/>
              <a:gd name="T96" fmla="*/ 239 w 578"/>
              <a:gd name="T97" fmla="*/ 0 h 524"/>
              <a:gd name="T98" fmla="*/ 257 w 578"/>
              <a:gd name="T99" fmla="*/ 13 h 524"/>
              <a:gd name="T100" fmla="*/ 332 w 578"/>
              <a:gd name="T101" fmla="*/ 19 h 524"/>
              <a:gd name="T102" fmla="*/ 322 w 578"/>
              <a:gd name="T103" fmla="*/ 65 h 524"/>
              <a:gd name="T104" fmla="*/ 325 w 578"/>
              <a:gd name="T105" fmla="*/ 90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" name="Freeform 18">
            <a:extLst>
              <a:ext uri="{FF2B5EF4-FFF2-40B4-BE49-F238E27FC236}">
                <a16:creationId xmlns:a16="http://schemas.microsoft.com/office/drawing/2014/main" id="{F7A654D0-C3B5-47F4-B5C6-E08BE775EF3D}"/>
              </a:ext>
            </a:extLst>
          </p:cNvPr>
          <p:cNvSpPr>
            <a:spLocks/>
          </p:cNvSpPr>
          <p:nvPr>
            <p:custDataLst>
              <p:tags r:id="rId21"/>
            </p:custDataLst>
          </p:nvPr>
        </p:nvSpPr>
        <p:spPr bwMode="auto">
          <a:xfrm>
            <a:off x="7938747" y="2685347"/>
            <a:ext cx="32085" cy="82550"/>
          </a:xfrm>
          <a:custGeom>
            <a:avLst/>
            <a:gdLst>
              <a:gd name="T0" fmla="*/ 0 w 79"/>
              <a:gd name="T1" fmla="*/ 37 h 160"/>
              <a:gd name="T2" fmla="*/ 6 w 79"/>
              <a:gd name="T3" fmla="*/ 37 h 160"/>
              <a:gd name="T4" fmla="*/ 11 w 79"/>
              <a:gd name="T5" fmla="*/ 36 h 160"/>
              <a:gd name="T6" fmla="*/ 16 w 79"/>
              <a:gd name="T7" fmla="*/ 35 h 160"/>
              <a:gd name="T8" fmla="*/ 19 w 79"/>
              <a:gd name="T9" fmla="*/ 33 h 160"/>
              <a:gd name="T10" fmla="*/ 26 w 79"/>
              <a:gd name="T11" fmla="*/ 28 h 160"/>
              <a:gd name="T12" fmla="*/ 31 w 79"/>
              <a:gd name="T13" fmla="*/ 22 h 160"/>
              <a:gd name="T14" fmla="*/ 37 w 79"/>
              <a:gd name="T15" fmla="*/ 16 h 160"/>
              <a:gd name="T16" fmla="*/ 41 w 79"/>
              <a:gd name="T17" fmla="*/ 10 h 160"/>
              <a:gd name="T18" fmla="*/ 46 w 79"/>
              <a:gd name="T19" fmla="*/ 5 h 160"/>
              <a:gd name="T20" fmla="*/ 53 w 79"/>
              <a:gd name="T21" fmla="*/ 0 h 160"/>
              <a:gd name="T22" fmla="*/ 57 w 79"/>
              <a:gd name="T23" fmla="*/ 3 h 160"/>
              <a:gd name="T24" fmla="*/ 62 w 79"/>
              <a:gd name="T25" fmla="*/ 7 h 160"/>
              <a:gd name="T26" fmla="*/ 64 w 79"/>
              <a:gd name="T27" fmla="*/ 10 h 160"/>
              <a:gd name="T28" fmla="*/ 66 w 79"/>
              <a:gd name="T29" fmla="*/ 14 h 160"/>
              <a:gd name="T30" fmla="*/ 69 w 79"/>
              <a:gd name="T31" fmla="*/ 22 h 160"/>
              <a:gd name="T32" fmla="*/ 72 w 79"/>
              <a:gd name="T33" fmla="*/ 32 h 160"/>
              <a:gd name="T34" fmla="*/ 73 w 79"/>
              <a:gd name="T35" fmla="*/ 40 h 160"/>
              <a:gd name="T36" fmla="*/ 74 w 79"/>
              <a:gd name="T37" fmla="*/ 49 h 160"/>
              <a:gd name="T38" fmla="*/ 76 w 79"/>
              <a:gd name="T39" fmla="*/ 58 h 160"/>
              <a:gd name="T40" fmla="*/ 79 w 79"/>
              <a:gd name="T41" fmla="*/ 67 h 160"/>
              <a:gd name="T42" fmla="*/ 79 w 79"/>
              <a:gd name="T43" fmla="*/ 98 h 160"/>
              <a:gd name="T44" fmla="*/ 68 w 79"/>
              <a:gd name="T45" fmla="*/ 115 h 160"/>
              <a:gd name="T46" fmla="*/ 59 w 79"/>
              <a:gd name="T47" fmla="*/ 129 h 160"/>
              <a:gd name="T48" fmla="*/ 53 w 79"/>
              <a:gd name="T49" fmla="*/ 136 h 160"/>
              <a:gd name="T50" fmla="*/ 50 w 79"/>
              <a:gd name="T51" fmla="*/ 144 h 160"/>
              <a:gd name="T52" fmla="*/ 48 w 79"/>
              <a:gd name="T53" fmla="*/ 151 h 160"/>
              <a:gd name="T54" fmla="*/ 46 w 79"/>
              <a:gd name="T55" fmla="*/ 160 h 160"/>
              <a:gd name="T56" fmla="*/ 40 w 79"/>
              <a:gd name="T57" fmla="*/ 155 h 160"/>
              <a:gd name="T58" fmla="*/ 33 w 79"/>
              <a:gd name="T59" fmla="*/ 150 h 160"/>
              <a:gd name="T60" fmla="*/ 28 w 79"/>
              <a:gd name="T61" fmla="*/ 144 h 160"/>
              <a:gd name="T62" fmla="*/ 22 w 79"/>
              <a:gd name="T63" fmla="*/ 137 h 160"/>
              <a:gd name="T64" fmla="*/ 18 w 79"/>
              <a:gd name="T65" fmla="*/ 130 h 160"/>
              <a:gd name="T66" fmla="*/ 15 w 79"/>
              <a:gd name="T67" fmla="*/ 123 h 160"/>
              <a:gd name="T68" fmla="*/ 11 w 79"/>
              <a:gd name="T69" fmla="*/ 115 h 160"/>
              <a:gd name="T70" fmla="*/ 8 w 79"/>
              <a:gd name="T71" fmla="*/ 108 h 160"/>
              <a:gd name="T72" fmla="*/ 4 w 79"/>
              <a:gd name="T73" fmla="*/ 91 h 160"/>
              <a:gd name="T74" fmla="*/ 1 w 79"/>
              <a:gd name="T75" fmla="*/ 73 h 160"/>
              <a:gd name="T76" fmla="*/ 0 w 79"/>
              <a:gd name="T77" fmla="*/ 55 h 160"/>
              <a:gd name="T78" fmla="*/ 0 w 79"/>
              <a:gd name="T79" fmla="*/ 37 h 1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18" name="Group 19">
            <a:extLst>
              <a:ext uri="{FF2B5EF4-FFF2-40B4-BE49-F238E27FC236}">
                <a16:creationId xmlns:a16="http://schemas.microsoft.com/office/drawing/2014/main" id="{DD3EB7A7-DFE4-4954-97E3-8AC9466B26EF}"/>
              </a:ext>
            </a:extLst>
          </p:cNvPr>
          <p:cNvGrpSpPr>
            <a:grpSpLocks/>
          </p:cNvGrpSpPr>
          <p:nvPr>
            <p:custDataLst>
              <p:tags r:id="rId22"/>
            </p:custDataLst>
          </p:nvPr>
        </p:nvGrpSpPr>
        <p:grpSpPr bwMode="auto">
          <a:xfrm>
            <a:off x="10170882" y="3745798"/>
            <a:ext cx="455288" cy="212725"/>
            <a:chOff x="4488" y="2394"/>
            <a:chExt cx="358" cy="124"/>
          </a:xfrm>
        </p:grpSpPr>
        <p:sp>
          <p:nvSpPr>
            <p:cNvPr id="19" name="Freeform 20">
              <a:extLst>
                <a:ext uri="{FF2B5EF4-FFF2-40B4-BE49-F238E27FC236}">
                  <a16:creationId xmlns:a16="http://schemas.microsoft.com/office/drawing/2014/main" id="{6F061FC4-071A-460C-BF05-8DD4698CA69C}"/>
                </a:ext>
              </a:extLst>
            </p:cNvPr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424 w 512"/>
                <a:gd name="T1" fmla="*/ 198 h 408"/>
                <a:gd name="T2" fmla="*/ 387 w 512"/>
                <a:gd name="T3" fmla="*/ 193 h 408"/>
                <a:gd name="T4" fmla="*/ 367 w 512"/>
                <a:gd name="T5" fmla="*/ 203 h 408"/>
                <a:gd name="T6" fmla="*/ 354 w 512"/>
                <a:gd name="T7" fmla="*/ 217 h 408"/>
                <a:gd name="T8" fmla="*/ 347 w 512"/>
                <a:gd name="T9" fmla="*/ 254 h 408"/>
                <a:gd name="T10" fmla="*/ 327 w 512"/>
                <a:gd name="T11" fmla="*/ 306 h 408"/>
                <a:gd name="T12" fmla="*/ 305 w 512"/>
                <a:gd name="T13" fmla="*/ 335 h 408"/>
                <a:gd name="T14" fmla="*/ 289 w 512"/>
                <a:gd name="T15" fmla="*/ 350 h 408"/>
                <a:gd name="T16" fmla="*/ 271 w 512"/>
                <a:gd name="T17" fmla="*/ 359 h 408"/>
                <a:gd name="T18" fmla="*/ 256 w 512"/>
                <a:gd name="T19" fmla="*/ 368 h 408"/>
                <a:gd name="T20" fmla="*/ 253 w 512"/>
                <a:gd name="T21" fmla="*/ 376 h 408"/>
                <a:gd name="T22" fmla="*/ 215 w 512"/>
                <a:gd name="T23" fmla="*/ 370 h 408"/>
                <a:gd name="T24" fmla="*/ 183 w 512"/>
                <a:gd name="T25" fmla="*/ 367 h 408"/>
                <a:gd name="T26" fmla="*/ 155 w 512"/>
                <a:gd name="T27" fmla="*/ 373 h 408"/>
                <a:gd name="T28" fmla="*/ 138 w 512"/>
                <a:gd name="T29" fmla="*/ 388 h 408"/>
                <a:gd name="T30" fmla="*/ 97 w 512"/>
                <a:gd name="T31" fmla="*/ 405 h 408"/>
                <a:gd name="T32" fmla="*/ 62 w 512"/>
                <a:gd name="T33" fmla="*/ 407 h 408"/>
                <a:gd name="T34" fmla="*/ 45 w 512"/>
                <a:gd name="T35" fmla="*/ 400 h 408"/>
                <a:gd name="T36" fmla="*/ 15 w 512"/>
                <a:gd name="T37" fmla="*/ 368 h 408"/>
                <a:gd name="T38" fmla="*/ 2 w 512"/>
                <a:gd name="T39" fmla="*/ 344 h 408"/>
                <a:gd name="T40" fmla="*/ 8 w 512"/>
                <a:gd name="T41" fmla="*/ 335 h 408"/>
                <a:gd name="T42" fmla="*/ 34 w 512"/>
                <a:gd name="T43" fmla="*/ 344 h 408"/>
                <a:gd name="T44" fmla="*/ 53 w 512"/>
                <a:gd name="T45" fmla="*/ 336 h 408"/>
                <a:gd name="T46" fmla="*/ 56 w 512"/>
                <a:gd name="T47" fmla="*/ 314 h 408"/>
                <a:gd name="T48" fmla="*/ 71 w 512"/>
                <a:gd name="T49" fmla="*/ 300 h 408"/>
                <a:gd name="T50" fmla="*/ 82 w 512"/>
                <a:gd name="T51" fmla="*/ 286 h 408"/>
                <a:gd name="T52" fmla="*/ 89 w 512"/>
                <a:gd name="T53" fmla="*/ 272 h 408"/>
                <a:gd name="T54" fmla="*/ 101 w 512"/>
                <a:gd name="T55" fmla="*/ 262 h 408"/>
                <a:gd name="T56" fmla="*/ 137 w 512"/>
                <a:gd name="T57" fmla="*/ 246 h 408"/>
                <a:gd name="T58" fmla="*/ 175 w 512"/>
                <a:gd name="T59" fmla="*/ 232 h 408"/>
                <a:gd name="T60" fmla="*/ 202 w 512"/>
                <a:gd name="T61" fmla="*/ 217 h 408"/>
                <a:gd name="T62" fmla="*/ 213 w 512"/>
                <a:gd name="T63" fmla="*/ 205 h 408"/>
                <a:gd name="T64" fmla="*/ 219 w 512"/>
                <a:gd name="T65" fmla="*/ 191 h 408"/>
                <a:gd name="T66" fmla="*/ 227 w 512"/>
                <a:gd name="T67" fmla="*/ 161 h 408"/>
                <a:gd name="T68" fmla="*/ 229 w 512"/>
                <a:gd name="T69" fmla="*/ 149 h 408"/>
                <a:gd name="T70" fmla="*/ 231 w 512"/>
                <a:gd name="T71" fmla="*/ 152 h 408"/>
                <a:gd name="T72" fmla="*/ 239 w 512"/>
                <a:gd name="T73" fmla="*/ 143 h 408"/>
                <a:gd name="T74" fmla="*/ 237 w 512"/>
                <a:gd name="T75" fmla="*/ 155 h 408"/>
                <a:gd name="T76" fmla="*/ 240 w 512"/>
                <a:gd name="T77" fmla="*/ 174 h 408"/>
                <a:gd name="T78" fmla="*/ 251 w 512"/>
                <a:gd name="T79" fmla="*/ 193 h 408"/>
                <a:gd name="T80" fmla="*/ 272 w 512"/>
                <a:gd name="T81" fmla="*/ 205 h 408"/>
                <a:gd name="T82" fmla="*/ 306 w 512"/>
                <a:gd name="T83" fmla="*/ 204 h 408"/>
                <a:gd name="T84" fmla="*/ 320 w 512"/>
                <a:gd name="T85" fmla="*/ 205 h 408"/>
                <a:gd name="T86" fmla="*/ 327 w 512"/>
                <a:gd name="T87" fmla="*/ 198 h 408"/>
                <a:gd name="T88" fmla="*/ 324 w 512"/>
                <a:gd name="T89" fmla="*/ 176 h 408"/>
                <a:gd name="T90" fmla="*/ 299 w 512"/>
                <a:gd name="T91" fmla="*/ 130 h 408"/>
                <a:gd name="T92" fmla="*/ 319 w 512"/>
                <a:gd name="T93" fmla="*/ 109 h 408"/>
                <a:gd name="T94" fmla="*/ 344 w 512"/>
                <a:gd name="T95" fmla="*/ 66 h 408"/>
                <a:gd name="T96" fmla="*/ 374 w 512"/>
                <a:gd name="T97" fmla="*/ 22 h 408"/>
                <a:gd name="T98" fmla="*/ 399 w 512"/>
                <a:gd name="T99" fmla="*/ 0 h 408"/>
                <a:gd name="T100" fmla="*/ 401 w 512"/>
                <a:gd name="T101" fmla="*/ 23 h 408"/>
                <a:gd name="T102" fmla="*/ 413 w 512"/>
                <a:gd name="T103" fmla="*/ 50 h 408"/>
                <a:gd name="T104" fmla="*/ 439 w 512"/>
                <a:gd name="T105" fmla="*/ 75 h 408"/>
                <a:gd name="T106" fmla="*/ 486 w 512"/>
                <a:gd name="T107" fmla="*/ 106 h 408"/>
                <a:gd name="T108" fmla="*/ 508 w 512"/>
                <a:gd name="T109" fmla="*/ 132 h 408"/>
                <a:gd name="T110" fmla="*/ 499 w 512"/>
                <a:gd name="T111" fmla="*/ 149 h 408"/>
                <a:gd name="T112" fmla="*/ 478 w 512"/>
                <a:gd name="T113" fmla="*/ 152 h 408"/>
                <a:gd name="T114" fmla="*/ 458 w 512"/>
                <a:gd name="T115" fmla="*/ 180 h 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0" name="Freeform 21">
              <a:extLst>
                <a:ext uri="{FF2B5EF4-FFF2-40B4-BE49-F238E27FC236}">
                  <a16:creationId xmlns:a16="http://schemas.microsoft.com/office/drawing/2014/main" id="{D9AD3F7E-EB5D-40A2-AD99-E1923B1CFD37}"/>
                </a:ext>
              </a:extLst>
            </p:cNvPr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151 w 232"/>
                <a:gd name="T1" fmla="*/ 24 h 289"/>
                <a:gd name="T2" fmla="*/ 165 w 232"/>
                <a:gd name="T3" fmla="*/ 48 h 289"/>
                <a:gd name="T4" fmla="*/ 174 w 232"/>
                <a:gd name="T5" fmla="*/ 56 h 289"/>
                <a:gd name="T6" fmla="*/ 181 w 232"/>
                <a:gd name="T7" fmla="*/ 60 h 289"/>
                <a:gd name="T8" fmla="*/ 186 w 232"/>
                <a:gd name="T9" fmla="*/ 166 h 289"/>
                <a:gd name="T10" fmla="*/ 189 w 232"/>
                <a:gd name="T11" fmla="*/ 196 h 289"/>
                <a:gd name="T12" fmla="*/ 193 w 232"/>
                <a:gd name="T13" fmla="*/ 207 h 289"/>
                <a:gd name="T14" fmla="*/ 199 w 232"/>
                <a:gd name="T15" fmla="*/ 216 h 289"/>
                <a:gd name="T16" fmla="*/ 232 w 232"/>
                <a:gd name="T17" fmla="*/ 246 h 289"/>
                <a:gd name="T18" fmla="*/ 219 w 232"/>
                <a:gd name="T19" fmla="*/ 288 h 289"/>
                <a:gd name="T20" fmla="*/ 186 w 232"/>
                <a:gd name="T21" fmla="*/ 282 h 289"/>
                <a:gd name="T22" fmla="*/ 151 w 232"/>
                <a:gd name="T23" fmla="*/ 264 h 289"/>
                <a:gd name="T24" fmla="*/ 113 w 232"/>
                <a:gd name="T25" fmla="*/ 235 h 289"/>
                <a:gd name="T26" fmla="*/ 81 w 232"/>
                <a:gd name="T27" fmla="*/ 207 h 289"/>
                <a:gd name="T28" fmla="*/ 56 w 232"/>
                <a:gd name="T29" fmla="*/ 176 h 289"/>
                <a:gd name="T30" fmla="*/ 31 w 232"/>
                <a:gd name="T31" fmla="*/ 145 h 289"/>
                <a:gd name="T32" fmla="*/ 9 w 232"/>
                <a:gd name="T33" fmla="*/ 126 h 289"/>
                <a:gd name="T34" fmla="*/ 2 w 232"/>
                <a:gd name="T35" fmla="*/ 117 h 289"/>
                <a:gd name="T36" fmla="*/ 0 w 232"/>
                <a:gd name="T37" fmla="*/ 109 h 289"/>
                <a:gd name="T38" fmla="*/ 0 w 232"/>
                <a:gd name="T39" fmla="*/ 100 h 289"/>
                <a:gd name="T40" fmla="*/ 3 w 232"/>
                <a:gd name="T41" fmla="*/ 92 h 289"/>
                <a:gd name="T42" fmla="*/ 11 w 232"/>
                <a:gd name="T43" fmla="*/ 79 h 289"/>
                <a:gd name="T44" fmla="*/ 12 w 232"/>
                <a:gd name="T45" fmla="*/ 52 h 289"/>
                <a:gd name="T46" fmla="*/ 7 w 232"/>
                <a:gd name="T47" fmla="*/ 15 h 289"/>
                <a:gd name="T48" fmla="*/ 13 w 232"/>
                <a:gd name="T49" fmla="*/ 0 h 289"/>
                <a:gd name="T50" fmla="*/ 26 w 232"/>
                <a:gd name="T51" fmla="*/ 3 h 289"/>
                <a:gd name="T52" fmla="*/ 42 w 232"/>
                <a:gd name="T53" fmla="*/ 10 h 289"/>
                <a:gd name="T54" fmla="*/ 59 w 232"/>
                <a:gd name="T55" fmla="*/ 21 h 289"/>
                <a:gd name="T56" fmla="*/ 73 w 232"/>
                <a:gd name="T57" fmla="*/ 28 h 289"/>
                <a:gd name="T58" fmla="*/ 81 w 232"/>
                <a:gd name="T59" fmla="*/ 31 h 289"/>
                <a:gd name="T60" fmla="*/ 91 w 232"/>
                <a:gd name="T61" fmla="*/ 31 h 289"/>
                <a:gd name="T62" fmla="*/ 105 w 232"/>
                <a:gd name="T63" fmla="*/ 26 h 289"/>
                <a:gd name="T64" fmla="*/ 120 w 232"/>
                <a:gd name="T65" fmla="*/ 19 h 289"/>
                <a:gd name="T66" fmla="*/ 133 w 232"/>
                <a:gd name="T67" fmla="*/ 11 h 2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21" name="Freeform 22">
            <a:extLst>
              <a:ext uri="{FF2B5EF4-FFF2-40B4-BE49-F238E27FC236}">
                <a16:creationId xmlns:a16="http://schemas.microsoft.com/office/drawing/2014/main" id="{BFD29794-5493-469C-AA33-D8E2E454E340}"/>
              </a:ext>
            </a:extLst>
          </p:cNvPr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8267227" y="1621723"/>
            <a:ext cx="2950204" cy="1074737"/>
          </a:xfrm>
          <a:custGeom>
            <a:avLst/>
            <a:gdLst>
              <a:gd name="T0" fmla="*/ 725 w 7049"/>
              <a:gd name="T1" fmla="*/ 1733 h 2048"/>
              <a:gd name="T2" fmla="*/ 1070 w 7049"/>
              <a:gd name="T3" fmla="*/ 1937 h 2048"/>
              <a:gd name="T4" fmla="*/ 1212 w 7049"/>
              <a:gd name="T5" fmla="*/ 1814 h 2048"/>
              <a:gd name="T6" fmla="*/ 1674 w 7049"/>
              <a:gd name="T7" fmla="*/ 1469 h 2048"/>
              <a:gd name="T8" fmla="*/ 2618 w 7049"/>
              <a:gd name="T9" fmla="*/ 1315 h 2048"/>
              <a:gd name="T10" fmla="*/ 3350 w 7049"/>
              <a:gd name="T11" fmla="*/ 1494 h 2048"/>
              <a:gd name="T12" fmla="*/ 3676 w 7049"/>
              <a:gd name="T13" fmla="*/ 1438 h 2048"/>
              <a:gd name="T14" fmla="*/ 4136 w 7049"/>
              <a:gd name="T15" fmla="*/ 1492 h 2048"/>
              <a:gd name="T16" fmla="*/ 4577 w 7049"/>
              <a:gd name="T17" fmla="*/ 1509 h 2048"/>
              <a:gd name="T18" fmla="*/ 4759 w 7049"/>
              <a:gd name="T19" fmla="*/ 1372 h 2048"/>
              <a:gd name="T20" fmla="*/ 5156 w 7049"/>
              <a:gd name="T21" fmla="*/ 1476 h 2048"/>
              <a:gd name="T22" fmla="*/ 5614 w 7049"/>
              <a:gd name="T23" fmla="*/ 1598 h 2048"/>
              <a:gd name="T24" fmla="*/ 5604 w 7049"/>
              <a:gd name="T25" fmla="*/ 1844 h 2048"/>
              <a:gd name="T26" fmla="*/ 5853 w 7049"/>
              <a:gd name="T27" fmla="*/ 1612 h 2048"/>
              <a:gd name="T28" fmla="*/ 5570 w 7049"/>
              <a:gd name="T29" fmla="*/ 1256 h 2048"/>
              <a:gd name="T30" fmla="*/ 5331 w 7049"/>
              <a:gd name="T31" fmla="*/ 1147 h 2048"/>
              <a:gd name="T32" fmla="*/ 5857 w 7049"/>
              <a:gd name="T33" fmla="*/ 982 h 2048"/>
              <a:gd name="T34" fmla="*/ 5974 w 7049"/>
              <a:gd name="T35" fmla="*/ 822 h 2048"/>
              <a:gd name="T36" fmla="*/ 6132 w 7049"/>
              <a:gd name="T37" fmla="*/ 761 h 2048"/>
              <a:gd name="T38" fmla="*/ 6195 w 7049"/>
              <a:gd name="T39" fmla="*/ 974 h 2048"/>
              <a:gd name="T40" fmla="*/ 6352 w 7049"/>
              <a:gd name="T41" fmla="*/ 1251 h 2048"/>
              <a:gd name="T42" fmla="*/ 6575 w 7049"/>
              <a:gd name="T43" fmla="*/ 1410 h 2048"/>
              <a:gd name="T44" fmla="*/ 6566 w 7049"/>
              <a:gd name="T45" fmla="*/ 1214 h 2048"/>
              <a:gd name="T46" fmla="*/ 6373 w 7049"/>
              <a:gd name="T47" fmla="*/ 1037 h 2048"/>
              <a:gd name="T48" fmla="*/ 6547 w 7049"/>
              <a:gd name="T49" fmla="*/ 885 h 2048"/>
              <a:gd name="T50" fmla="*/ 6801 w 7049"/>
              <a:gd name="T51" fmla="*/ 784 h 2048"/>
              <a:gd name="T52" fmla="*/ 6628 w 7049"/>
              <a:gd name="T53" fmla="*/ 618 h 2048"/>
              <a:gd name="T54" fmla="*/ 6799 w 7049"/>
              <a:gd name="T55" fmla="*/ 636 h 2048"/>
              <a:gd name="T56" fmla="*/ 6861 w 7049"/>
              <a:gd name="T57" fmla="*/ 543 h 2048"/>
              <a:gd name="T58" fmla="*/ 6500 w 7049"/>
              <a:gd name="T59" fmla="*/ 462 h 2048"/>
              <a:gd name="T60" fmla="*/ 5843 w 7049"/>
              <a:gd name="T61" fmla="*/ 410 h 2048"/>
              <a:gd name="T62" fmla="*/ 5693 w 7049"/>
              <a:gd name="T63" fmla="*/ 415 h 2048"/>
              <a:gd name="T64" fmla="*/ 4991 w 7049"/>
              <a:gd name="T65" fmla="*/ 351 h 2048"/>
              <a:gd name="T66" fmla="*/ 4728 w 7049"/>
              <a:gd name="T67" fmla="*/ 290 h 2048"/>
              <a:gd name="T68" fmla="*/ 4412 w 7049"/>
              <a:gd name="T69" fmla="*/ 290 h 2048"/>
              <a:gd name="T70" fmla="*/ 4009 w 7049"/>
              <a:gd name="T71" fmla="*/ 318 h 2048"/>
              <a:gd name="T72" fmla="*/ 3574 w 7049"/>
              <a:gd name="T73" fmla="*/ 261 h 2048"/>
              <a:gd name="T74" fmla="*/ 3290 w 7049"/>
              <a:gd name="T75" fmla="*/ 244 h 2048"/>
              <a:gd name="T76" fmla="*/ 3008 w 7049"/>
              <a:gd name="T77" fmla="*/ 235 h 2048"/>
              <a:gd name="T78" fmla="*/ 2724 w 7049"/>
              <a:gd name="T79" fmla="*/ 58 h 2048"/>
              <a:gd name="T80" fmla="*/ 2617 w 7049"/>
              <a:gd name="T81" fmla="*/ 140 h 2048"/>
              <a:gd name="T82" fmla="*/ 2134 w 7049"/>
              <a:gd name="T83" fmla="*/ 167 h 2048"/>
              <a:gd name="T84" fmla="*/ 2159 w 7049"/>
              <a:gd name="T85" fmla="*/ 200 h 2048"/>
              <a:gd name="T86" fmla="*/ 2198 w 7049"/>
              <a:gd name="T87" fmla="*/ 342 h 2048"/>
              <a:gd name="T88" fmla="*/ 1933 w 7049"/>
              <a:gd name="T89" fmla="*/ 256 h 2048"/>
              <a:gd name="T90" fmla="*/ 1787 w 7049"/>
              <a:gd name="T91" fmla="*/ 273 h 2048"/>
              <a:gd name="T92" fmla="*/ 1917 w 7049"/>
              <a:gd name="T93" fmla="*/ 446 h 2048"/>
              <a:gd name="T94" fmla="*/ 2076 w 7049"/>
              <a:gd name="T95" fmla="*/ 529 h 2048"/>
              <a:gd name="T96" fmla="*/ 1883 w 7049"/>
              <a:gd name="T97" fmla="*/ 593 h 2048"/>
              <a:gd name="T98" fmla="*/ 1832 w 7049"/>
              <a:gd name="T99" fmla="*/ 464 h 2048"/>
              <a:gd name="T100" fmla="*/ 1621 w 7049"/>
              <a:gd name="T101" fmla="*/ 231 h 2048"/>
              <a:gd name="T102" fmla="*/ 1623 w 7049"/>
              <a:gd name="T103" fmla="*/ 451 h 2048"/>
              <a:gd name="T104" fmla="*/ 1238 w 7049"/>
              <a:gd name="T105" fmla="*/ 397 h 2048"/>
              <a:gd name="T106" fmla="*/ 1198 w 7049"/>
              <a:gd name="T107" fmla="*/ 477 h 2048"/>
              <a:gd name="T108" fmla="*/ 908 w 7049"/>
              <a:gd name="T109" fmla="*/ 500 h 2048"/>
              <a:gd name="T110" fmla="*/ 692 w 7049"/>
              <a:gd name="T111" fmla="*/ 483 h 2048"/>
              <a:gd name="T112" fmla="*/ 602 w 7049"/>
              <a:gd name="T113" fmla="*/ 585 h 2048"/>
              <a:gd name="T114" fmla="*/ 407 w 7049"/>
              <a:gd name="T115" fmla="*/ 739 h 2048"/>
              <a:gd name="T116" fmla="*/ 390 w 7049"/>
              <a:gd name="T117" fmla="*/ 612 h 2048"/>
              <a:gd name="T118" fmla="*/ 150 w 7049"/>
              <a:gd name="T119" fmla="*/ 440 h 2048"/>
              <a:gd name="T120" fmla="*/ 71 w 7049"/>
              <a:gd name="T121" fmla="*/ 605 h 2048"/>
              <a:gd name="T122" fmla="*/ 112 w 7049"/>
              <a:gd name="T123" fmla="*/ 958 h 20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22" name="Freeform 23">
            <a:extLst>
              <a:ext uri="{FF2B5EF4-FFF2-40B4-BE49-F238E27FC236}">
                <a16:creationId xmlns:a16="http://schemas.microsoft.com/office/drawing/2014/main" id="{23288E2C-B4DE-4CC0-ABC3-92378DF534BB}"/>
              </a:ext>
            </a:extLst>
          </p:cNvPr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7558324" y="2609147"/>
            <a:ext cx="270422" cy="247650"/>
          </a:xfrm>
          <a:custGeom>
            <a:avLst/>
            <a:gdLst>
              <a:gd name="T0" fmla="*/ 406 w 647"/>
              <a:gd name="T1" fmla="*/ 27 h 470"/>
              <a:gd name="T2" fmla="*/ 428 w 647"/>
              <a:gd name="T3" fmla="*/ 45 h 470"/>
              <a:gd name="T4" fmla="*/ 458 w 647"/>
              <a:gd name="T5" fmla="*/ 60 h 470"/>
              <a:gd name="T6" fmla="*/ 512 w 647"/>
              <a:gd name="T7" fmla="*/ 78 h 470"/>
              <a:gd name="T8" fmla="*/ 538 w 647"/>
              <a:gd name="T9" fmla="*/ 81 h 470"/>
              <a:gd name="T10" fmla="*/ 562 w 647"/>
              <a:gd name="T11" fmla="*/ 99 h 470"/>
              <a:gd name="T12" fmla="*/ 567 w 647"/>
              <a:gd name="T13" fmla="*/ 97 h 470"/>
              <a:gd name="T14" fmla="*/ 575 w 647"/>
              <a:gd name="T15" fmla="*/ 85 h 470"/>
              <a:gd name="T16" fmla="*/ 583 w 647"/>
              <a:gd name="T17" fmla="*/ 78 h 470"/>
              <a:gd name="T18" fmla="*/ 603 w 647"/>
              <a:gd name="T19" fmla="*/ 80 h 470"/>
              <a:gd name="T20" fmla="*/ 624 w 647"/>
              <a:gd name="T21" fmla="*/ 79 h 470"/>
              <a:gd name="T22" fmla="*/ 640 w 647"/>
              <a:gd name="T23" fmla="*/ 84 h 470"/>
              <a:gd name="T24" fmla="*/ 646 w 647"/>
              <a:gd name="T25" fmla="*/ 103 h 470"/>
              <a:gd name="T26" fmla="*/ 646 w 647"/>
              <a:gd name="T27" fmla="*/ 123 h 470"/>
              <a:gd name="T28" fmla="*/ 618 w 647"/>
              <a:gd name="T29" fmla="*/ 131 h 470"/>
              <a:gd name="T30" fmla="*/ 586 w 647"/>
              <a:gd name="T31" fmla="*/ 146 h 470"/>
              <a:gd name="T32" fmla="*/ 560 w 647"/>
              <a:gd name="T33" fmla="*/ 165 h 470"/>
              <a:gd name="T34" fmla="*/ 504 w 647"/>
              <a:gd name="T35" fmla="*/ 214 h 470"/>
              <a:gd name="T36" fmla="*/ 489 w 647"/>
              <a:gd name="T37" fmla="*/ 227 h 470"/>
              <a:gd name="T38" fmla="*/ 474 w 647"/>
              <a:gd name="T39" fmla="*/ 254 h 470"/>
              <a:gd name="T40" fmla="*/ 473 w 647"/>
              <a:gd name="T41" fmla="*/ 282 h 470"/>
              <a:gd name="T42" fmla="*/ 473 w 647"/>
              <a:gd name="T43" fmla="*/ 311 h 470"/>
              <a:gd name="T44" fmla="*/ 463 w 647"/>
              <a:gd name="T45" fmla="*/ 340 h 470"/>
              <a:gd name="T46" fmla="*/ 450 w 647"/>
              <a:gd name="T47" fmla="*/ 354 h 470"/>
              <a:gd name="T48" fmla="*/ 411 w 647"/>
              <a:gd name="T49" fmla="*/ 384 h 470"/>
              <a:gd name="T50" fmla="*/ 383 w 647"/>
              <a:gd name="T51" fmla="*/ 411 h 470"/>
              <a:gd name="T52" fmla="*/ 374 w 647"/>
              <a:gd name="T53" fmla="*/ 425 h 470"/>
              <a:gd name="T54" fmla="*/ 369 w 647"/>
              <a:gd name="T55" fmla="*/ 432 h 470"/>
              <a:gd name="T56" fmla="*/ 310 w 647"/>
              <a:gd name="T57" fmla="*/ 429 h 470"/>
              <a:gd name="T58" fmla="*/ 257 w 647"/>
              <a:gd name="T59" fmla="*/ 434 h 470"/>
              <a:gd name="T60" fmla="*/ 224 w 647"/>
              <a:gd name="T61" fmla="*/ 446 h 470"/>
              <a:gd name="T62" fmla="*/ 193 w 647"/>
              <a:gd name="T63" fmla="*/ 467 h 470"/>
              <a:gd name="T64" fmla="*/ 179 w 647"/>
              <a:gd name="T65" fmla="*/ 469 h 470"/>
              <a:gd name="T66" fmla="*/ 169 w 647"/>
              <a:gd name="T67" fmla="*/ 461 h 470"/>
              <a:gd name="T68" fmla="*/ 153 w 647"/>
              <a:gd name="T69" fmla="*/ 432 h 470"/>
              <a:gd name="T70" fmla="*/ 140 w 647"/>
              <a:gd name="T71" fmla="*/ 414 h 470"/>
              <a:gd name="T72" fmla="*/ 122 w 647"/>
              <a:gd name="T73" fmla="*/ 400 h 470"/>
              <a:gd name="T74" fmla="*/ 114 w 647"/>
              <a:gd name="T75" fmla="*/ 379 h 470"/>
              <a:gd name="T76" fmla="*/ 126 w 647"/>
              <a:gd name="T77" fmla="*/ 336 h 470"/>
              <a:gd name="T78" fmla="*/ 127 w 647"/>
              <a:gd name="T79" fmla="*/ 267 h 470"/>
              <a:gd name="T80" fmla="*/ 147 w 647"/>
              <a:gd name="T81" fmla="*/ 206 h 470"/>
              <a:gd name="T82" fmla="*/ 168 w 647"/>
              <a:gd name="T83" fmla="*/ 149 h 470"/>
              <a:gd name="T84" fmla="*/ 172 w 647"/>
              <a:gd name="T85" fmla="*/ 131 h 470"/>
              <a:gd name="T86" fmla="*/ 116 w 647"/>
              <a:gd name="T87" fmla="*/ 123 h 470"/>
              <a:gd name="T88" fmla="*/ 62 w 647"/>
              <a:gd name="T89" fmla="*/ 109 h 470"/>
              <a:gd name="T90" fmla="*/ 17 w 647"/>
              <a:gd name="T91" fmla="*/ 93 h 470"/>
              <a:gd name="T92" fmla="*/ 0 w 647"/>
              <a:gd name="T93" fmla="*/ 38 h 470"/>
              <a:gd name="T94" fmla="*/ 23 w 647"/>
              <a:gd name="T95" fmla="*/ 34 h 470"/>
              <a:gd name="T96" fmla="*/ 51 w 647"/>
              <a:gd name="T97" fmla="*/ 20 h 470"/>
              <a:gd name="T98" fmla="*/ 73 w 647"/>
              <a:gd name="T99" fmla="*/ 4 h 470"/>
              <a:gd name="T100" fmla="*/ 86 w 647"/>
              <a:gd name="T101" fmla="*/ 0 h 470"/>
              <a:gd name="T102" fmla="*/ 132 w 647"/>
              <a:gd name="T103" fmla="*/ 7 h 470"/>
              <a:gd name="T104" fmla="*/ 171 w 647"/>
              <a:gd name="T105" fmla="*/ 17 h 470"/>
              <a:gd name="T106" fmla="*/ 209 w 647"/>
              <a:gd name="T107" fmla="*/ 20 h 470"/>
              <a:gd name="T108" fmla="*/ 235 w 647"/>
              <a:gd name="T109" fmla="*/ 29 h 470"/>
              <a:gd name="T110" fmla="*/ 258 w 647"/>
              <a:gd name="T111" fmla="*/ 37 h 470"/>
              <a:gd name="T112" fmla="*/ 385 w 647"/>
              <a:gd name="T113" fmla="*/ 26 h 4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" name="Freeform 24">
            <a:extLst>
              <a:ext uri="{FF2B5EF4-FFF2-40B4-BE49-F238E27FC236}">
                <a16:creationId xmlns:a16="http://schemas.microsoft.com/office/drawing/2014/main" id="{975CE174-38EE-4519-8766-285FDB95F320}"/>
              </a:ext>
            </a:extLst>
          </p:cNvPr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10091434" y="3347335"/>
            <a:ext cx="200143" cy="455613"/>
          </a:xfrm>
          <a:custGeom>
            <a:avLst/>
            <a:gdLst>
              <a:gd name="T0" fmla="*/ 379 w 479"/>
              <a:gd name="T1" fmla="*/ 357 h 868"/>
              <a:gd name="T2" fmla="*/ 333 w 479"/>
              <a:gd name="T3" fmla="*/ 370 h 868"/>
              <a:gd name="T4" fmla="*/ 314 w 479"/>
              <a:gd name="T5" fmla="*/ 390 h 868"/>
              <a:gd name="T6" fmla="*/ 316 w 479"/>
              <a:gd name="T7" fmla="*/ 428 h 868"/>
              <a:gd name="T8" fmla="*/ 352 w 479"/>
              <a:gd name="T9" fmla="*/ 492 h 868"/>
              <a:gd name="T10" fmla="*/ 359 w 479"/>
              <a:gd name="T11" fmla="*/ 530 h 868"/>
              <a:gd name="T12" fmla="*/ 366 w 479"/>
              <a:gd name="T13" fmla="*/ 555 h 868"/>
              <a:gd name="T14" fmla="*/ 323 w 479"/>
              <a:gd name="T15" fmla="*/ 526 h 868"/>
              <a:gd name="T16" fmla="*/ 309 w 479"/>
              <a:gd name="T17" fmla="*/ 492 h 868"/>
              <a:gd name="T18" fmla="*/ 269 w 479"/>
              <a:gd name="T19" fmla="*/ 467 h 868"/>
              <a:gd name="T20" fmla="*/ 210 w 479"/>
              <a:gd name="T21" fmla="*/ 439 h 868"/>
              <a:gd name="T22" fmla="*/ 193 w 479"/>
              <a:gd name="T23" fmla="*/ 406 h 868"/>
              <a:gd name="T24" fmla="*/ 156 w 479"/>
              <a:gd name="T25" fmla="*/ 477 h 868"/>
              <a:gd name="T26" fmla="*/ 156 w 479"/>
              <a:gd name="T27" fmla="*/ 524 h 868"/>
              <a:gd name="T28" fmla="*/ 132 w 479"/>
              <a:gd name="T29" fmla="*/ 575 h 868"/>
              <a:gd name="T30" fmla="*/ 128 w 479"/>
              <a:gd name="T31" fmla="*/ 621 h 868"/>
              <a:gd name="T32" fmla="*/ 154 w 479"/>
              <a:gd name="T33" fmla="*/ 650 h 868"/>
              <a:gd name="T34" fmla="*/ 175 w 479"/>
              <a:gd name="T35" fmla="*/ 685 h 868"/>
              <a:gd name="T36" fmla="*/ 185 w 479"/>
              <a:gd name="T37" fmla="*/ 730 h 868"/>
              <a:gd name="T38" fmla="*/ 226 w 479"/>
              <a:gd name="T39" fmla="*/ 780 h 868"/>
              <a:gd name="T40" fmla="*/ 281 w 479"/>
              <a:gd name="T41" fmla="*/ 825 h 868"/>
              <a:gd name="T42" fmla="*/ 340 w 479"/>
              <a:gd name="T43" fmla="*/ 850 h 868"/>
              <a:gd name="T44" fmla="*/ 298 w 479"/>
              <a:gd name="T45" fmla="*/ 867 h 868"/>
              <a:gd name="T46" fmla="*/ 269 w 479"/>
              <a:gd name="T47" fmla="*/ 864 h 868"/>
              <a:gd name="T48" fmla="*/ 229 w 479"/>
              <a:gd name="T49" fmla="*/ 841 h 868"/>
              <a:gd name="T50" fmla="*/ 200 w 479"/>
              <a:gd name="T51" fmla="*/ 823 h 868"/>
              <a:gd name="T52" fmla="*/ 137 w 479"/>
              <a:gd name="T53" fmla="*/ 759 h 868"/>
              <a:gd name="T54" fmla="*/ 83 w 479"/>
              <a:gd name="T55" fmla="*/ 730 h 868"/>
              <a:gd name="T56" fmla="*/ 74 w 479"/>
              <a:gd name="T57" fmla="*/ 688 h 868"/>
              <a:gd name="T58" fmla="*/ 80 w 479"/>
              <a:gd name="T59" fmla="*/ 653 h 868"/>
              <a:gd name="T60" fmla="*/ 88 w 479"/>
              <a:gd name="T61" fmla="*/ 617 h 868"/>
              <a:gd name="T62" fmla="*/ 120 w 479"/>
              <a:gd name="T63" fmla="*/ 498 h 868"/>
              <a:gd name="T64" fmla="*/ 108 w 479"/>
              <a:gd name="T65" fmla="*/ 404 h 868"/>
              <a:gd name="T66" fmla="*/ 62 w 479"/>
              <a:gd name="T67" fmla="*/ 319 h 868"/>
              <a:gd name="T68" fmla="*/ 64 w 479"/>
              <a:gd name="T69" fmla="*/ 285 h 868"/>
              <a:gd name="T70" fmla="*/ 74 w 479"/>
              <a:gd name="T71" fmla="*/ 265 h 868"/>
              <a:gd name="T72" fmla="*/ 56 w 479"/>
              <a:gd name="T73" fmla="*/ 202 h 868"/>
              <a:gd name="T74" fmla="*/ 23 w 479"/>
              <a:gd name="T75" fmla="*/ 158 h 868"/>
              <a:gd name="T76" fmla="*/ 1 w 479"/>
              <a:gd name="T77" fmla="*/ 102 h 868"/>
              <a:gd name="T78" fmla="*/ 11 w 479"/>
              <a:gd name="T79" fmla="*/ 44 h 868"/>
              <a:gd name="T80" fmla="*/ 49 w 479"/>
              <a:gd name="T81" fmla="*/ 16 h 868"/>
              <a:gd name="T82" fmla="*/ 120 w 479"/>
              <a:gd name="T83" fmla="*/ 0 h 868"/>
              <a:gd name="T84" fmla="*/ 156 w 479"/>
              <a:gd name="T85" fmla="*/ 28 h 868"/>
              <a:gd name="T86" fmla="*/ 179 w 479"/>
              <a:gd name="T87" fmla="*/ 36 h 868"/>
              <a:gd name="T88" fmla="*/ 197 w 479"/>
              <a:gd name="T89" fmla="*/ 136 h 868"/>
              <a:gd name="T90" fmla="*/ 213 w 479"/>
              <a:gd name="T91" fmla="*/ 166 h 868"/>
              <a:gd name="T92" fmla="*/ 231 w 479"/>
              <a:gd name="T93" fmla="*/ 155 h 868"/>
              <a:gd name="T94" fmla="*/ 258 w 479"/>
              <a:gd name="T95" fmla="*/ 126 h 868"/>
              <a:gd name="T96" fmla="*/ 281 w 479"/>
              <a:gd name="T97" fmla="*/ 141 h 868"/>
              <a:gd name="T98" fmla="*/ 298 w 479"/>
              <a:gd name="T99" fmla="*/ 136 h 868"/>
              <a:gd name="T100" fmla="*/ 316 w 479"/>
              <a:gd name="T101" fmla="*/ 108 h 868"/>
              <a:gd name="T102" fmla="*/ 346 w 479"/>
              <a:gd name="T103" fmla="*/ 108 h 868"/>
              <a:gd name="T104" fmla="*/ 387 w 479"/>
              <a:gd name="T105" fmla="*/ 157 h 868"/>
              <a:gd name="T106" fmla="*/ 454 w 479"/>
              <a:gd name="T107" fmla="*/ 246 h 868"/>
              <a:gd name="T108" fmla="*/ 478 w 479"/>
              <a:gd name="T109" fmla="*/ 307 h 868"/>
              <a:gd name="T110" fmla="*/ 468 w 479"/>
              <a:gd name="T111" fmla="*/ 338 h 8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" name="Line 26" descr="Horizontal dunkel">
            <a:extLst>
              <a:ext uri="{FF2B5EF4-FFF2-40B4-BE49-F238E27FC236}">
                <a16:creationId xmlns:a16="http://schemas.microsoft.com/office/drawing/2014/main" id="{DE8384B7-8D77-4552-B7CE-060FFCA7AE2D}"/>
              </a:ext>
            </a:extLst>
          </p:cNvPr>
          <p:cNvSpPr>
            <a:spLocks noChangeShapeType="1"/>
          </p:cNvSpPr>
          <p:nvPr>
            <p:custDataLst>
              <p:tags r:id="rId26"/>
            </p:custDataLst>
          </p:nvPr>
        </p:nvSpPr>
        <p:spPr bwMode="auto">
          <a:xfrm>
            <a:off x="4866320" y="2656773"/>
            <a:ext cx="3056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" name="Freeform 27">
            <a:extLst>
              <a:ext uri="{FF2B5EF4-FFF2-40B4-BE49-F238E27FC236}">
                <a16:creationId xmlns:a16="http://schemas.microsoft.com/office/drawing/2014/main" id="{8752426B-1CE0-4146-A88B-A15B6D3F878A}"/>
              </a:ext>
            </a:extLst>
          </p:cNvPr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869376" y="2653597"/>
            <a:ext cx="3056" cy="55562"/>
          </a:xfrm>
          <a:custGeom>
            <a:avLst/>
            <a:gdLst>
              <a:gd name="T0" fmla="*/ 0 w 6"/>
              <a:gd name="T1" fmla="*/ 24 h 24"/>
              <a:gd name="T2" fmla="*/ 0 w 6"/>
              <a:gd name="T3" fmla="*/ 19 h 24"/>
              <a:gd name="T4" fmla="*/ 1 w 6"/>
              <a:gd name="T5" fmla="*/ 14 h 24"/>
              <a:gd name="T6" fmla="*/ 3 w 6"/>
              <a:gd name="T7" fmla="*/ 8 h 24"/>
              <a:gd name="T8" fmla="*/ 6 w 6"/>
              <a:gd name="T9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6" name="Freeform 28">
            <a:extLst>
              <a:ext uri="{FF2B5EF4-FFF2-40B4-BE49-F238E27FC236}">
                <a16:creationId xmlns:a16="http://schemas.microsoft.com/office/drawing/2014/main" id="{B29FBFC5-D6D9-416C-A6E2-CB040E4307F3}"/>
              </a:ext>
            </a:extLst>
          </p:cNvPr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846458" y="2707572"/>
            <a:ext cx="22918" cy="57150"/>
          </a:xfrm>
          <a:custGeom>
            <a:avLst/>
            <a:gdLst>
              <a:gd name="T0" fmla="*/ 0 w 47"/>
              <a:gd name="T1" fmla="*/ 24 h 67"/>
              <a:gd name="T2" fmla="*/ 0 w 47"/>
              <a:gd name="T3" fmla="*/ 30 h 67"/>
              <a:gd name="T4" fmla="*/ 2 w 47"/>
              <a:gd name="T5" fmla="*/ 36 h 67"/>
              <a:gd name="T6" fmla="*/ 3 w 47"/>
              <a:gd name="T7" fmla="*/ 42 h 67"/>
              <a:gd name="T8" fmla="*/ 5 w 47"/>
              <a:gd name="T9" fmla="*/ 47 h 67"/>
              <a:gd name="T10" fmla="*/ 9 w 47"/>
              <a:gd name="T11" fmla="*/ 58 h 67"/>
              <a:gd name="T12" fmla="*/ 14 w 47"/>
              <a:gd name="T13" fmla="*/ 67 h 67"/>
              <a:gd name="T14" fmla="*/ 47 w 47"/>
              <a:gd name="T15" fmla="*/ 67 h 67"/>
              <a:gd name="T16" fmla="*/ 47 w 47"/>
              <a:gd name="T17" fmla="*/ 0 h 67"/>
              <a:gd name="T18" fmla="*/ 36 w 47"/>
              <a:gd name="T19" fmla="*/ 2 h 67"/>
              <a:gd name="T20" fmla="*/ 26 w 47"/>
              <a:gd name="T21" fmla="*/ 4 h 67"/>
              <a:gd name="T22" fmla="*/ 18 w 47"/>
              <a:gd name="T23" fmla="*/ 7 h 67"/>
              <a:gd name="T24" fmla="*/ 11 w 47"/>
              <a:gd name="T25" fmla="*/ 9 h 67"/>
              <a:gd name="T26" fmla="*/ 6 w 47"/>
              <a:gd name="T27" fmla="*/ 12 h 67"/>
              <a:gd name="T28" fmla="*/ 3 w 47"/>
              <a:gd name="T29" fmla="*/ 16 h 67"/>
              <a:gd name="T30" fmla="*/ 0 w 47"/>
              <a:gd name="T31" fmla="*/ 20 h 67"/>
              <a:gd name="T32" fmla="*/ 0 w 47"/>
              <a:gd name="T33" fmla="*/ 24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7" name="Freeform 29">
            <a:extLst>
              <a:ext uri="{FF2B5EF4-FFF2-40B4-BE49-F238E27FC236}">
                <a16:creationId xmlns:a16="http://schemas.microsoft.com/office/drawing/2014/main" id="{E73382BC-5311-434C-AC5E-E9D5018110D9}"/>
              </a:ext>
            </a:extLst>
          </p:cNvPr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6122180" y="2702809"/>
            <a:ext cx="47362" cy="57150"/>
          </a:xfrm>
          <a:custGeom>
            <a:avLst/>
            <a:gdLst>
              <a:gd name="T0" fmla="*/ 0 w 112"/>
              <a:gd name="T1" fmla="*/ 36 h 36"/>
              <a:gd name="T2" fmla="*/ 59 w 112"/>
              <a:gd name="T3" fmla="*/ 36 h 36"/>
              <a:gd name="T4" fmla="*/ 67 w 112"/>
              <a:gd name="T5" fmla="*/ 30 h 36"/>
              <a:gd name="T6" fmla="*/ 75 w 112"/>
              <a:gd name="T7" fmla="*/ 26 h 36"/>
              <a:gd name="T8" fmla="*/ 84 w 112"/>
              <a:gd name="T9" fmla="*/ 23 h 36"/>
              <a:gd name="T10" fmla="*/ 91 w 112"/>
              <a:gd name="T11" fmla="*/ 20 h 36"/>
              <a:gd name="T12" fmla="*/ 98 w 112"/>
              <a:gd name="T13" fmla="*/ 17 h 36"/>
              <a:gd name="T14" fmla="*/ 104 w 112"/>
              <a:gd name="T15" fmla="*/ 13 h 36"/>
              <a:gd name="T16" fmla="*/ 107 w 112"/>
              <a:gd name="T17" fmla="*/ 11 h 36"/>
              <a:gd name="T18" fmla="*/ 109 w 112"/>
              <a:gd name="T19" fmla="*/ 8 h 36"/>
              <a:gd name="T20" fmla="*/ 111 w 112"/>
              <a:gd name="T21" fmla="*/ 4 h 36"/>
              <a:gd name="T22" fmla="*/ 112 w 112"/>
              <a:gd name="T23" fmla="*/ 0 h 36"/>
              <a:gd name="T24" fmla="*/ 100 w 112"/>
              <a:gd name="T25" fmla="*/ 0 h 36"/>
              <a:gd name="T26" fmla="*/ 85 w 112"/>
              <a:gd name="T27" fmla="*/ 1 h 36"/>
              <a:gd name="T28" fmla="*/ 67 w 112"/>
              <a:gd name="T29" fmla="*/ 3 h 36"/>
              <a:gd name="T30" fmla="*/ 48 w 112"/>
              <a:gd name="T31" fmla="*/ 7 h 36"/>
              <a:gd name="T32" fmla="*/ 40 w 112"/>
              <a:gd name="T33" fmla="*/ 9 h 36"/>
              <a:gd name="T34" fmla="*/ 31 w 112"/>
              <a:gd name="T35" fmla="*/ 11 h 36"/>
              <a:gd name="T36" fmla="*/ 23 w 112"/>
              <a:gd name="T37" fmla="*/ 14 h 36"/>
              <a:gd name="T38" fmla="*/ 17 w 112"/>
              <a:gd name="T39" fmla="*/ 18 h 36"/>
              <a:gd name="T40" fmla="*/ 10 w 112"/>
              <a:gd name="T41" fmla="*/ 22 h 36"/>
              <a:gd name="T42" fmla="*/ 6 w 112"/>
              <a:gd name="T43" fmla="*/ 26 h 36"/>
              <a:gd name="T44" fmla="*/ 1 w 112"/>
              <a:gd name="T45" fmla="*/ 31 h 36"/>
              <a:gd name="T46" fmla="*/ 0 w 112"/>
              <a:gd name="T47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8" name="Freeform 30">
            <a:extLst>
              <a:ext uri="{FF2B5EF4-FFF2-40B4-BE49-F238E27FC236}">
                <a16:creationId xmlns:a16="http://schemas.microsoft.com/office/drawing/2014/main" id="{0E0F887A-024C-46FB-8604-7BC4E57A3C3E}"/>
              </a:ext>
            </a:extLst>
          </p:cNvPr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8757655" y="2259898"/>
            <a:ext cx="841825" cy="452437"/>
          </a:xfrm>
          <a:custGeom>
            <a:avLst/>
            <a:gdLst>
              <a:gd name="T0" fmla="*/ 433 w 2006"/>
              <a:gd name="T1" fmla="*/ 765 h 863"/>
              <a:gd name="T2" fmla="*/ 412 w 2006"/>
              <a:gd name="T3" fmla="*/ 764 h 863"/>
              <a:gd name="T4" fmla="*/ 390 w 2006"/>
              <a:gd name="T5" fmla="*/ 794 h 863"/>
              <a:gd name="T6" fmla="*/ 375 w 2006"/>
              <a:gd name="T7" fmla="*/ 792 h 863"/>
              <a:gd name="T8" fmla="*/ 370 w 2006"/>
              <a:gd name="T9" fmla="*/ 751 h 863"/>
              <a:gd name="T10" fmla="*/ 324 w 2006"/>
              <a:gd name="T11" fmla="*/ 724 h 863"/>
              <a:gd name="T12" fmla="*/ 312 w 2006"/>
              <a:gd name="T13" fmla="*/ 708 h 863"/>
              <a:gd name="T14" fmla="*/ 288 w 2006"/>
              <a:gd name="T15" fmla="*/ 692 h 863"/>
              <a:gd name="T16" fmla="*/ 251 w 2006"/>
              <a:gd name="T17" fmla="*/ 641 h 863"/>
              <a:gd name="T18" fmla="*/ 232 w 2006"/>
              <a:gd name="T19" fmla="*/ 610 h 863"/>
              <a:gd name="T20" fmla="*/ 253 w 2006"/>
              <a:gd name="T21" fmla="*/ 594 h 863"/>
              <a:gd name="T22" fmla="*/ 279 w 2006"/>
              <a:gd name="T23" fmla="*/ 573 h 863"/>
              <a:gd name="T24" fmla="*/ 338 w 2006"/>
              <a:gd name="T25" fmla="*/ 544 h 863"/>
              <a:gd name="T26" fmla="*/ 319 w 2006"/>
              <a:gd name="T27" fmla="*/ 487 h 863"/>
              <a:gd name="T28" fmla="*/ 258 w 2006"/>
              <a:gd name="T29" fmla="*/ 475 h 863"/>
              <a:gd name="T30" fmla="*/ 209 w 2006"/>
              <a:gd name="T31" fmla="*/ 470 h 863"/>
              <a:gd name="T32" fmla="*/ 157 w 2006"/>
              <a:gd name="T33" fmla="*/ 495 h 863"/>
              <a:gd name="T34" fmla="*/ 106 w 2006"/>
              <a:gd name="T35" fmla="*/ 505 h 863"/>
              <a:gd name="T36" fmla="*/ 27 w 2006"/>
              <a:gd name="T37" fmla="*/ 413 h 863"/>
              <a:gd name="T38" fmla="*/ 20 w 2006"/>
              <a:gd name="T39" fmla="*/ 283 h 863"/>
              <a:gd name="T40" fmla="*/ 113 w 2006"/>
              <a:gd name="T41" fmla="*/ 259 h 863"/>
              <a:gd name="T42" fmla="*/ 292 w 2006"/>
              <a:gd name="T43" fmla="*/ 222 h 863"/>
              <a:gd name="T44" fmla="*/ 498 w 2006"/>
              <a:gd name="T45" fmla="*/ 253 h 863"/>
              <a:gd name="T46" fmla="*/ 717 w 2006"/>
              <a:gd name="T47" fmla="*/ 253 h 863"/>
              <a:gd name="T48" fmla="*/ 658 w 2006"/>
              <a:gd name="T49" fmla="*/ 185 h 863"/>
              <a:gd name="T50" fmla="*/ 830 w 2006"/>
              <a:gd name="T51" fmla="*/ 68 h 863"/>
              <a:gd name="T52" fmla="*/ 1050 w 2006"/>
              <a:gd name="T53" fmla="*/ 13 h 863"/>
              <a:gd name="T54" fmla="*/ 1176 w 2006"/>
              <a:gd name="T55" fmla="*/ 61 h 863"/>
              <a:gd name="T56" fmla="*/ 1296 w 2006"/>
              <a:gd name="T57" fmla="*/ 111 h 863"/>
              <a:gd name="T58" fmla="*/ 1442 w 2006"/>
              <a:gd name="T59" fmla="*/ 99 h 863"/>
              <a:gd name="T60" fmla="*/ 1647 w 2006"/>
              <a:gd name="T61" fmla="*/ 271 h 863"/>
              <a:gd name="T62" fmla="*/ 1793 w 2006"/>
              <a:gd name="T63" fmla="*/ 265 h 863"/>
              <a:gd name="T64" fmla="*/ 2000 w 2006"/>
              <a:gd name="T65" fmla="*/ 339 h 863"/>
              <a:gd name="T66" fmla="*/ 2002 w 2006"/>
              <a:gd name="T67" fmla="*/ 381 h 863"/>
              <a:gd name="T68" fmla="*/ 1981 w 2006"/>
              <a:gd name="T69" fmla="*/ 399 h 863"/>
              <a:gd name="T70" fmla="*/ 1960 w 2006"/>
              <a:gd name="T71" fmla="*/ 404 h 863"/>
              <a:gd name="T72" fmla="*/ 1963 w 2006"/>
              <a:gd name="T73" fmla="*/ 425 h 863"/>
              <a:gd name="T74" fmla="*/ 1985 w 2006"/>
              <a:gd name="T75" fmla="*/ 466 h 863"/>
              <a:gd name="T76" fmla="*/ 1979 w 2006"/>
              <a:gd name="T77" fmla="*/ 478 h 863"/>
              <a:gd name="T78" fmla="*/ 1939 w 2006"/>
              <a:gd name="T79" fmla="*/ 481 h 863"/>
              <a:gd name="T80" fmla="*/ 1893 w 2006"/>
              <a:gd name="T81" fmla="*/ 474 h 863"/>
              <a:gd name="T82" fmla="*/ 1864 w 2006"/>
              <a:gd name="T83" fmla="*/ 474 h 863"/>
              <a:gd name="T84" fmla="*/ 1878 w 2006"/>
              <a:gd name="T85" fmla="*/ 548 h 863"/>
              <a:gd name="T86" fmla="*/ 1880 w 2006"/>
              <a:gd name="T87" fmla="*/ 586 h 863"/>
              <a:gd name="T88" fmla="*/ 1789 w 2006"/>
              <a:gd name="T89" fmla="*/ 588 h 863"/>
              <a:gd name="T90" fmla="*/ 1768 w 2006"/>
              <a:gd name="T91" fmla="*/ 604 h 863"/>
              <a:gd name="T92" fmla="*/ 1795 w 2006"/>
              <a:gd name="T93" fmla="*/ 619 h 863"/>
              <a:gd name="T94" fmla="*/ 1814 w 2006"/>
              <a:gd name="T95" fmla="*/ 650 h 863"/>
              <a:gd name="T96" fmla="*/ 1834 w 2006"/>
              <a:gd name="T97" fmla="*/ 689 h 863"/>
              <a:gd name="T98" fmla="*/ 1837 w 2006"/>
              <a:gd name="T99" fmla="*/ 706 h 863"/>
              <a:gd name="T100" fmla="*/ 1837 w 2006"/>
              <a:gd name="T101" fmla="*/ 754 h 863"/>
              <a:gd name="T102" fmla="*/ 1741 w 2006"/>
              <a:gd name="T103" fmla="*/ 740 h 863"/>
              <a:gd name="T104" fmla="*/ 1475 w 2006"/>
              <a:gd name="T105" fmla="*/ 764 h 863"/>
              <a:gd name="T106" fmla="*/ 1316 w 2006"/>
              <a:gd name="T107" fmla="*/ 795 h 863"/>
              <a:gd name="T108" fmla="*/ 1142 w 2006"/>
              <a:gd name="T109" fmla="*/ 838 h 863"/>
              <a:gd name="T110" fmla="*/ 963 w 2006"/>
              <a:gd name="T111" fmla="*/ 697 h 863"/>
              <a:gd name="T112" fmla="*/ 684 w 2006"/>
              <a:gd name="T113" fmla="*/ 586 h 863"/>
              <a:gd name="T114" fmla="*/ 584 w 2006"/>
              <a:gd name="T115" fmla="*/ 832 h 86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9" name="Freeform 31">
            <a:extLst>
              <a:ext uri="{FF2B5EF4-FFF2-40B4-BE49-F238E27FC236}">
                <a16:creationId xmlns:a16="http://schemas.microsoft.com/office/drawing/2014/main" id="{7D7E09B1-30C4-43FF-87B8-4777869B0B6C}"/>
              </a:ext>
            </a:extLst>
          </p:cNvPr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8979189" y="2563109"/>
            <a:ext cx="394175" cy="249238"/>
          </a:xfrm>
          <a:custGeom>
            <a:avLst/>
            <a:gdLst>
              <a:gd name="T0" fmla="*/ 638 w 950"/>
              <a:gd name="T1" fmla="*/ 443 h 468"/>
              <a:gd name="T2" fmla="*/ 558 w 950"/>
              <a:gd name="T3" fmla="*/ 418 h 468"/>
              <a:gd name="T4" fmla="*/ 471 w 950"/>
              <a:gd name="T5" fmla="*/ 376 h 468"/>
              <a:gd name="T6" fmla="*/ 392 w 950"/>
              <a:gd name="T7" fmla="*/ 307 h 468"/>
              <a:gd name="T8" fmla="*/ 305 w 950"/>
              <a:gd name="T9" fmla="*/ 258 h 468"/>
              <a:gd name="T10" fmla="*/ 253 w 950"/>
              <a:gd name="T11" fmla="*/ 209 h 468"/>
              <a:gd name="T12" fmla="*/ 186 w 950"/>
              <a:gd name="T13" fmla="*/ 172 h 468"/>
              <a:gd name="T14" fmla="*/ 133 w 950"/>
              <a:gd name="T15" fmla="*/ 190 h 468"/>
              <a:gd name="T16" fmla="*/ 99 w 950"/>
              <a:gd name="T17" fmla="*/ 240 h 468"/>
              <a:gd name="T18" fmla="*/ 40 w 950"/>
              <a:gd name="T19" fmla="*/ 246 h 468"/>
              <a:gd name="T20" fmla="*/ 0 w 950"/>
              <a:gd name="T21" fmla="*/ 24 h 468"/>
              <a:gd name="T22" fmla="*/ 79 w 950"/>
              <a:gd name="T23" fmla="*/ 6 h 468"/>
              <a:gd name="T24" fmla="*/ 133 w 950"/>
              <a:gd name="T25" fmla="*/ 55 h 468"/>
              <a:gd name="T26" fmla="*/ 157 w 950"/>
              <a:gd name="T27" fmla="*/ 15 h 468"/>
              <a:gd name="T28" fmla="*/ 332 w 950"/>
              <a:gd name="T29" fmla="*/ 117 h 468"/>
              <a:gd name="T30" fmla="*/ 438 w 950"/>
              <a:gd name="T31" fmla="*/ 117 h 468"/>
              <a:gd name="T32" fmla="*/ 525 w 950"/>
              <a:gd name="T33" fmla="*/ 135 h 468"/>
              <a:gd name="T34" fmla="*/ 597 w 950"/>
              <a:gd name="T35" fmla="*/ 228 h 468"/>
              <a:gd name="T36" fmla="*/ 671 w 950"/>
              <a:gd name="T37" fmla="*/ 252 h 468"/>
              <a:gd name="T38" fmla="*/ 730 w 950"/>
              <a:gd name="T39" fmla="*/ 258 h 468"/>
              <a:gd name="T40" fmla="*/ 791 w 950"/>
              <a:gd name="T41" fmla="*/ 215 h 468"/>
              <a:gd name="T42" fmla="*/ 843 w 950"/>
              <a:gd name="T43" fmla="*/ 196 h 468"/>
              <a:gd name="T44" fmla="*/ 824 w 950"/>
              <a:gd name="T45" fmla="*/ 252 h 468"/>
              <a:gd name="T46" fmla="*/ 870 w 950"/>
              <a:gd name="T47" fmla="*/ 240 h 468"/>
              <a:gd name="T48" fmla="*/ 950 w 950"/>
              <a:gd name="T49" fmla="*/ 283 h 468"/>
              <a:gd name="T50" fmla="*/ 883 w 950"/>
              <a:gd name="T51" fmla="*/ 320 h 468"/>
              <a:gd name="T52" fmla="*/ 824 w 950"/>
              <a:gd name="T53" fmla="*/ 283 h 468"/>
              <a:gd name="T54" fmla="*/ 764 w 950"/>
              <a:gd name="T55" fmla="*/ 277 h 468"/>
              <a:gd name="T56" fmla="*/ 737 w 950"/>
              <a:gd name="T57" fmla="*/ 320 h 468"/>
              <a:gd name="T58" fmla="*/ 684 w 950"/>
              <a:gd name="T59" fmla="*/ 357 h 468"/>
              <a:gd name="T60" fmla="*/ 710 w 950"/>
              <a:gd name="T61" fmla="*/ 388 h 468"/>
              <a:gd name="T62" fmla="*/ 743 w 950"/>
              <a:gd name="T63" fmla="*/ 437 h 468"/>
              <a:gd name="T64" fmla="*/ 717 w 950"/>
              <a:gd name="T65" fmla="*/ 468 h 468"/>
              <a:gd name="T66" fmla="*/ 703 w 950"/>
              <a:gd name="T67" fmla="*/ 465 h 468"/>
              <a:gd name="T68" fmla="*/ 684 w 950"/>
              <a:gd name="T69" fmla="*/ 461 h 468"/>
              <a:gd name="T70" fmla="*/ 658 w 950"/>
              <a:gd name="T71" fmla="*/ 461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0" name="Freeform 32">
            <a:extLst>
              <a:ext uri="{FF2B5EF4-FFF2-40B4-BE49-F238E27FC236}">
                <a16:creationId xmlns:a16="http://schemas.microsoft.com/office/drawing/2014/main" id="{3661E6C5-309B-4394-B7DC-83FF58C600A2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7831802" y="3566410"/>
            <a:ext cx="285701" cy="288925"/>
          </a:xfrm>
          <a:custGeom>
            <a:avLst/>
            <a:gdLst>
              <a:gd name="T0" fmla="*/ 6 w 671"/>
              <a:gd name="T1" fmla="*/ 383 h 549"/>
              <a:gd name="T2" fmla="*/ 8 w 671"/>
              <a:gd name="T3" fmla="*/ 316 h 549"/>
              <a:gd name="T4" fmla="*/ 17 w 671"/>
              <a:gd name="T5" fmla="*/ 287 h 549"/>
              <a:gd name="T6" fmla="*/ 52 w 671"/>
              <a:gd name="T7" fmla="*/ 238 h 549"/>
              <a:gd name="T8" fmla="*/ 71 w 671"/>
              <a:gd name="T9" fmla="*/ 205 h 549"/>
              <a:gd name="T10" fmla="*/ 73 w 671"/>
              <a:gd name="T11" fmla="*/ 167 h 549"/>
              <a:gd name="T12" fmla="*/ 73 w 671"/>
              <a:gd name="T13" fmla="*/ 137 h 549"/>
              <a:gd name="T14" fmla="*/ 54 w 671"/>
              <a:gd name="T15" fmla="*/ 108 h 549"/>
              <a:gd name="T16" fmla="*/ 61 w 671"/>
              <a:gd name="T17" fmla="*/ 79 h 549"/>
              <a:gd name="T18" fmla="*/ 76 w 671"/>
              <a:gd name="T19" fmla="*/ 50 h 549"/>
              <a:gd name="T20" fmla="*/ 96 w 671"/>
              <a:gd name="T21" fmla="*/ 25 h 549"/>
              <a:gd name="T22" fmla="*/ 120 w 671"/>
              <a:gd name="T23" fmla="*/ 7 h 549"/>
              <a:gd name="T24" fmla="*/ 146 w 671"/>
              <a:gd name="T25" fmla="*/ 0 h 549"/>
              <a:gd name="T26" fmla="*/ 173 w 671"/>
              <a:gd name="T27" fmla="*/ 5 h 549"/>
              <a:gd name="T28" fmla="*/ 206 w 671"/>
              <a:gd name="T29" fmla="*/ 26 h 549"/>
              <a:gd name="T30" fmla="*/ 236 w 671"/>
              <a:gd name="T31" fmla="*/ 45 h 549"/>
              <a:gd name="T32" fmla="*/ 259 w 671"/>
              <a:gd name="T33" fmla="*/ 50 h 549"/>
              <a:gd name="T34" fmla="*/ 272 w 671"/>
              <a:gd name="T35" fmla="*/ 44 h 549"/>
              <a:gd name="T36" fmla="*/ 284 w 671"/>
              <a:gd name="T37" fmla="*/ 35 h 549"/>
              <a:gd name="T38" fmla="*/ 300 w 671"/>
              <a:gd name="T39" fmla="*/ 32 h 549"/>
              <a:gd name="T40" fmla="*/ 318 w 671"/>
              <a:gd name="T41" fmla="*/ 39 h 549"/>
              <a:gd name="T42" fmla="*/ 337 w 671"/>
              <a:gd name="T43" fmla="*/ 65 h 549"/>
              <a:gd name="T44" fmla="*/ 353 w 671"/>
              <a:gd name="T45" fmla="*/ 79 h 549"/>
              <a:gd name="T46" fmla="*/ 370 w 671"/>
              <a:gd name="T47" fmla="*/ 81 h 549"/>
              <a:gd name="T48" fmla="*/ 381 w 671"/>
              <a:gd name="T49" fmla="*/ 75 h 549"/>
              <a:gd name="T50" fmla="*/ 397 w 671"/>
              <a:gd name="T51" fmla="*/ 56 h 549"/>
              <a:gd name="T52" fmla="*/ 419 w 671"/>
              <a:gd name="T53" fmla="*/ 38 h 549"/>
              <a:gd name="T54" fmla="*/ 458 w 671"/>
              <a:gd name="T55" fmla="*/ 22 h 549"/>
              <a:gd name="T56" fmla="*/ 487 w 671"/>
              <a:gd name="T57" fmla="*/ 25 h 549"/>
              <a:gd name="T58" fmla="*/ 511 w 671"/>
              <a:gd name="T59" fmla="*/ 35 h 549"/>
              <a:gd name="T60" fmla="*/ 537 w 671"/>
              <a:gd name="T61" fmla="*/ 43 h 549"/>
              <a:gd name="T62" fmla="*/ 571 w 671"/>
              <a:gd name="T63" fmla="*/ 39 h 549"/>
              <a:gd name="T64" fmla="*/ 646 w 671"/>
              <a:gd name="T65" fmla="*/ 67 h 549"/>
              <a:gd name="T66" fmla="*/ 665 w 671"/>
              <a:gd name="T67" fmla="*/ 105 h 549"/>
              <a:gd name="T68" fmla="*/ 623 w 671"/>
              <a:gd name="T69" fmla="*/ 183 h 549"/>
              <a:gd name="T70" fmla="*/ 593 w 671"/>
              <a:gd name="T71" fmla="*/ 233 h 549"/>
              <a:gd name="T72" fmla="*/ 570 w 671"/>
              <a:gd name="T73" fmla="*/ 291 h 549"/>
              <a:gd name="T74" fmla="*/ 550 w 671"/>
              <a:gd name="T75" fmla="*/ 343 h 549"/>
              <a:gd name="T76" fmla="*/ 525 w 671"/>
              <a:gd name="T77" fmla="*/ 407 h 549"/>
              <a:gd name="T78" fmla="*/ 516 w 671"/>
              <a:gd name="T79" fmla="*/ 422 h 549"/>
              <a:gd name="T80" fmla="*/ 500 w 671"/>
              <a:gd name="T81" fmla="*/ 439 h 549"/>
              <a:gd name="T82" fmla="*/ 482 w 671"/>
              <a:gd name="T83" fmla="*/ 443 h 549"/>
              <a:gd name="T84" fmla="*/ 459 w 671"/>
              <a:gd name="T85" fmla="*/ 432 h 549"/>
              <a:gd name="T86" fmla="*/ 440 w 671"/>
              <a:gd name="T87" fmla="*/ 421 h 549"/>
              <a:gd name="T88" fmla="*/ 408 w 671"/>
              <a:gd name="T89" fmla="*/ 424 h 549"/>
              <a:gd name="T90" fmla="*/ 381 w 671"/>
              <a:gd name="T91" fmla="*/ 441 h 549"/>
              <a:gd name="T92" fmla="*/ 364 w 671"/>
              <a:gd name="T93" fmla="*/ 469 h 549"/>
              <a:gd name="T94" fmla="*/ 342 w 671"/>
              <a:gd name="T95" fmla="*/ 521 h 549"/>
              <a:gd name="T96" fmla="*/ 325 w 671"/>
              <a:gd name="T97" fmla="*/ 549 h 549"/>
              <a:gd name="T98" fmla="*/ 229 w 671"/>
              <a:gd name="T99" fmla="*/ 546 h 549"/>
              <a:gd name="T100" fmla="*/ 217 w 671"/>
              <a:gd name="T101" fmla="*/ 548 h 549"/>
              <a:gd name="T102" fmla="*/ 179 w 671"/>
              <a:gd name="T103" fmla="*/ 543 h 549"/>
              <a:gd name="T104" fmla="*/ 161 w 671"/>
              <a:gd name="T105" fmla="*/ 540 h 549"/>
              <a:gd name="T106" fmla="*/ 144 w 671"/>
              <a:gd name="T107" fmla="*/ 531 h 549"/>
              <a:gd name="T108" fmla="*/ 129 w 671"/>
              <a:gd name="T109" fmla="*/ 515 h 549"/>
              <a:gd name="T110" fmla="*/ 119 w 671"/>
              <a:gd name="T111" fmla="*/ 496 h 549"/>
              <a:gd name="T112" fmla="*/ 113 w 671"/>
              <a:gd name="T113" fmla="*/ 472 h 549"/>
              <a:gd name="T114" fmla="*/ 100 w 671"/>
              <a:gd name="T115" fmla="*/ 460 h 549"/>
              <a:gd name="T116" fmla="*/ 83 w 671"/>
              <a:gd name="T117" fmla="*/ 447 h 549"/>
              <a:gd name="T118" fmla="*/ 63 w 671"/>
              <a:gd name="T119" fmla="*/ 432 h 549"/>
              <a:gd name="T120" fmla="*/ 39 w 671"/>
              <a:gd name="T121" fmla="*/ 429 h 549"/>
              <a:gd name="T122" fmla="*/ 0 w 671"/>
              <a:gd name="T123" fmla="*/ 438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1" name="Freeform 33">
            <a:extLst>
              <a:ext uri="{FF2B5EF4-FFF2-40B4-BE49-F238E27FC236}">
                <a16:creationId xmlns:a16="http://schemas.microsoft.com/office/drawing/2014/main" id="{16171D13-3015-4056-9CBD-62516D275D8F}"/>
              </a:ext>
            </a:extLst>
          </p:cNvPr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8643069" y="3431472"/>
            <a:ext cx="146670" cy="169862"/>
          </a:xfrm>
          <a:custGeom>
            <a:avLst/>
            <a:gdLst>
              <a:gd name="T0" fmla="*/ 326 w 358"/>
              <a:gd name="T1" fmla="*/ 324 h 327"/>
              <a:gd name="T2" fmla="*/ 331 w 358"/>
              <a:gd name="T3" fmla="*/ 321 h 327"/>
              <a:gd name="T4" fmla="*/ 337 w 358"/>
              <a:gd name="T5" fmla="*/ 318 h 327"/>
              <a:gd name="T6" fmla="*/ 346 w 358"/>
              <a:gd name="T7" fmla="*/ 318 h 327"/>
              <a:gd name="T8" fmla="*/ 356 w 358"/>
              <a:gd name="T9" fmla="*/ 324 h 327"/>
              <a:gd name="T10" fmla="*/ 319 w 358"/>
              <a:gd name="T11" fmla="*/ 285 h 327"/>
              <a:gd name="T12" fmla="*/ 278 w 358"/>
              <a:gd name="T13" fmla="*/ 235 h 327"/>
              <a:gd name="T14" fmla="*/ 253 w 358"/>
              <a:gd name="T15" fmla="*/ 204 h 327"/>
              <a:gd name="T16" fmla="*/ 232 w 358"/>
              <a:gd name="T17" fmla="*/ 186 h 327"/>
              <a:gd name="T18" fmla="*/ 219 w 358"/>
              <a:gd name="T19" fmla="*/ 181 h 327"/>
              <a:gd name="T20" fmla="*/ 208 w 358"/>
              <a:gd name="T21" fmla="*/ 180 h 327"/>
              <a:gd name="T22" fmla="*/ 201 w 358"/>
              <a:gd name="T23" fmla="*/ 179 h 327"/>
              <a:gd name="T24" fmla="*/ 199 w 358"/>
              <a:gd name="T25" fmla="*/ 174 h 327"/>
              <a:gd name="T26" fmla="*/ 198 w 358"/>
              <a:gd name="T27" fmla="*/ 170 h 327"/>
              <a:gd name="T28" fmla="*/ 195 w 358"/>
              <a:gd name="T29" fmla="*/ 169 h 327"/>
              <a:gd name="T30" fmla="*/ 184 w 358"/>
              <a:gd name="T31" fmla="*/ 172 h 327"/>
              <a:gd name="T32" fmla="*/ 171 w 358"/>
              <a:gd name="T33" fmla="*/ 172 h 327"/>
              <a:gd name="T34" fmla="*/ 165 w 358"/>
              <a:gd name="T35" fmla="*/ 168 h 327"/>
              <a:gd name="T36" fmla="*/ 160 w 358"/>
              <a:gd name="T37" fmla="*/ 161 h 327"/>
              <a:gd name="T38" fmla="*/ 152 w 358"/>
              <a:gd name="T39" fmla="*/ 144 h 327"/>
              <a:gd name="T40" fmla="*/ 143 w 358"/>
              <a:gd name="T41" fmla="*/ 131 h 327"/>
              <a:gd name="T42" fmla="*/ 133 w 358"/>
              <a:gd name="T43" fmla="*/ 119 h 327"/>
              <a:gd name="T44" fmla="*/ 127 w 358"/>
              <a:gd name="T45" fmla="*/ 105 h 327"/>
              <a:gd name="T46" fmla="*/ 122 w 358"/>
              <a:gd name="T47" fmla="*/ 84 h 327"/>
              <a:gd name="T48" fmla="*/ 119 w 358"/>
              <a:gd name="T49" fmla="*/ 53 h 327"/>
              <a:gd name="T50" fmla="*/ 117 w 358"/>
              <a:gd name="T51" fmla="*/ 23 h 327"/>
              <a:gd name="T52" fmla="*/ 112 w 358"/>
              <a:gd name="T53" fmla="*/ 0 h 327"/>
              <a:gd name="T54" fmla="*/ 73 w 358"/>
              <a:gd name="T55" fmla="*/ 26 h 327"/>
              <a:gd name="T56" fmla="*/ 61 w 358"/>
              <a:gd name="T57" fmla="*/ 33 h 327"/>
              <a:gd name="T58" fmla="*/ 33 w 358"/>
              <a:gd name="T59" fmla="*/ 50 h 327"/>
              <a:gd name="T60" fmla="*/ 21 w 358"/>
              <a:gd name="T61" fmla="*/ 61 h 327"/>
              <a:gd name="T62" fmla="*/ 17 w 358"/>
              <a:gd name="T63" fmla="*/ 72 h 327"/>
              <a:gd name="T64" fmla="*/ 16 w 358"/>
              <a:gd name="T65" fmla="*/ 83 h 327"/>
              <a:gd name="T66" fmla="*/ 20 w 358"/>
              <a:gd name="T67" fmla="*/ 93 h 327"/>
              <a:gd name="T68" fmla="*/ 22 w 358"/>
              <a:gd name="T69" fmla="*/ 100 h 327"/>
              <a:gd name="T70" fmla="*/ 20 w 358"/>
              <a:gd name="T71" fmla="*/ 110 h 327"/>
              <a:gd name="T72" fmla="*/ 15 w 358"/>
              <a:gd name="T73" fmla="*/ 123 h 327"/>
              <a:gd name="T74" fmla="*/ 7 w 358"/>
              <a:gd name="T75" fmla="*/ 136 h 327"/>
              <a:gd name="T76" fmla="*/ 0 w 358"/>
              <a:gd name="T77" fmla="*/ 155 h 327"/>
              <a:gd name="T78" fmla="*/ 0 w 358"/>
              <a:gd name="T79" fmla="*/ 174 h 327"/>
              <a:gd name="T80" fmla="*/ 5 w 358"/>
              <a:gd name="T81" fmla="*/ 182 h 327"/>
              <a:gd name="T82" fmla="*/ 11 w 358"/>
              <a:gd name="T83" fmla="*/ 187 h 327"/>
              <a:gd name="T84" fmla="*/ 20 w 358"/>
              <a:gd name="T85" fmla="*/ 186 h 327"/>
              <a:gd name="T86" fmla="*/ 44 w 358"/>
              <a:gd name="T87" fmla="*/ 168 h 327"/>
              <a:gd name="T88" fmla="*/ 60 w 358"/>
              <a:gd name="T89" fmla="*/ 161 h 327"/>
              <a:gd name="T90" fmla="*/ 76 w 358"/>
              <a:gd name="T91" fmla="*/ 150 h 327"/>
              <a:gd name="T92" fmla="*/ 93 w 358"/>
              <a:gd name="T93" fmla="*/ 159 h 327"/>
              <a:gd name="T94" fmla="*/ 110 w 358"/>
              <a:gd name="T95" fmla="*/ 164 h 327"/>
              <a:gd name="T96" fmla="*/ 142 w 358"/>
              <a:gd name="T97" fmla="*/ 180 h 327"/>
              <a:gd name="T98" fmla="*/ 163 w 358"/>
              <a:gd name="T99" fmla="*/ 190 h 327"/>
              <a:gd name="T100" fmla="*/ 196 w 358"/>
              <a:gd name="T101" fmla="*/ 209 h 327"/>
              <a:gd name="T102" fmla="*/ 219 w 358"/>
              <a:gd name="T103" fmla="*/ 225 h 327"/>
              <a:gd name="T104" fmla="*/ 245 w 358"/>
              <a:gd name="T105" fmla="*/ 244 h 327"/>
              <a:gd name="T106" fmla="*/ 256 w 358"/>
              <a:gd name="T107" fmla="*/ 254 h 327"/>
              <a:gd name="T108" fmla="*/ 267 w 358"/>
              <a:gd name="T109" fmla="*/ 270 h 327"/>
              <a:gd name="T110" fmla="*/ 269 w 358"/>
              <a:gd name="T111" fmla="*/ 279 h 327"/>
              <a:gd name="T112" fmla="*/ 269 w 358"/>
              <a:gd name="T113" fmla="*/ 286 h 327"/>
              <a:gd name="T114" fmla="*/ 270 w 358"/>
              <a:gd name="T115" fmla="*/ 290 h 327"/>
              <a:gd name="T116" fmla="*/ 276 w 358"/>
              <a:gd name="T117" fmla="*/ 292 h 327"/>
              <a:gd name="T118" fmla="*/ 292 w 358"/>
              <a:gd name="T119" fmla="*/ 302 h 327"/>
              <a:gd name="T120" fmla="*/ 318 w 358"/>
              <a:gd name="T121" fmla="*/ 321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2" name="Freeform 34">
            <a:extLst>
              <a:ext uri="{FF2B5EF4-FFF2-40B4-BE49-F238E27FC236}">
                <a16:creationId xmlns:a16="http://schemas.microsoft.com/office/drawing/2014/main" id="{9FF15D1C-CE08-4D3E-B4A0-68C483B29229}"/>
              </a:ext>
            </a:extLst>
          </p:cNvPr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8125141" y="2436109"/>
            <a:ext cx="120698" cy="57150"/>
          </a:xfrm>
          <a:custGeom>
            <a:avLst/>
            <a:gdLst>
              <a:gd name="T0" fmla="*/ 126 w 292"/>
              <a:gd name="T1" fmla="*/ 0 h 99"/>
              <a:gd name="T2" fmla="*/ 153 w 292"/>
              <a:gd name="T3" fmla="*/ 0 h 99"/>
              <a:gd name="T4" fmla="*/ 198 w 292"/>
              <a:gd name="T5" fmla="*/ 1 h 99"/>
              <a:gd name="T6" fmla="*/ 250 w 292"/>
              <a:gd name="T7" fmla="*/ 6 h 99"/>
              <a:gd name="T8" fmla="*/ 292 w 292"/>
              <a:gd name="T9" fmla="*/ 7 h 99"/>
              <a:gd name="T10" fmla="*/ 290 w 292"/>
              <a:gd name="T11" fmla="*/ 20 h 99"/>
              <a:gd name="T12" fmla="*/ 285 w 292"/>
              <a:gd name="T13" fmla="*/ 33 h 99"/>
              <a:gd name="T14" fmla="*/ 279 w 292"/>
              <a:gd name="T15" fmla="*/ 55 h 99"/>
              <a:gd name="T16" fmla="*/ 135 w 292"/>
              <a:gd name="T17" fmla="*/ 70 h 99"/>
              <a:gd name="T18" fmla="*/ 99 w 292"/>
              <a:gd name="T19" fmla="*/ 89 h 99"/>
              <a:gd name="T20" fmla="*/ 79 w 292"/>
              <a:gd name="T21" fmla="*/ 96 h 99"/>
              <a:gd name="T22" fmla="*/ 66 w 292"/>
              <a:gd name="T23" fmla="*/ 98 h 99"/>
              <a:gd name="T24" fmla="*/ 55 w 292"/>
              <a:gd name="T25" fmla="*/ 98 h 99"/>
              <a:gd name="T26" fmla="*/ 45 w 292"/>
              <a:gd name="T27" fmla="*/ 94 h 99"/>
              <a:gd name="T28" fmla="*/ 33 w 292"/>
              <a:gd name="T29" fmla="*/ 86 h 99"/>
              <a:gd name="T30" fmla="*/ 20 w 292"/>
              <a:gd name="T31" fmla="*/ 77 h 99"/>
              <a:gd name="T32" fmla="*/ 7 w 292"/>
              <a:gd name="T33" fmla="*/ 69 h 99"/>
              <a:gd name="T34" fmla="*/ 1 w 292"/>
              <a:gd name="T35" fmla="*/ 57 h 99"/>
              <a:gd name="T36" fmla="*/ 0 w 292"/>
              <a:gd name="T37" fmla="*/ 42 h 99"/>
              <a:gd name="T38" fmla="*/ 1 w 292"/>
              <a:gd name="T39" fmla="*/ 25 h 99"/>
              <a:gd name="T40" fmla="*/ 3 w 292"/>
              <a:gd name="T41" fmla="*/ 20 h 99"/>
              <a:gd name="T42" fmla="*/ 9 w 292"/>
              <a:gd name="T43" fmla="*/ 18 h 99"/>
              <a:gd name="T44" fmla="*/ 15 w 292"/>
              <a:gd name="T45" fmla="*/ 21 h 99"/>
              <a:gd name="T46" fmla="*/ 25 w 292"/>
              <a:gd name="T47" fmla="*/ 28 h 99"/>
              <a:gd name="T48" fmla="*/ 35 w 292"/>
              <a:gd name="T49" fmla="*/ 32 h 99"/>
              <a:gd name="T50" fmla="*/ 45 w 292"/>
              <a:gd name="T51" fmla="*/ 34 h 99"/>
              <a:gd name="T52" fmla="*/ 54 w 292"/>
              <a:gd name="T53" fmla="*/ 33 h 99"/>
              <a:gd name="T54" fmla="*/ 67 w 292"/>
              <a:gd name="T55" fmla="*/ 29 h 99"/>
              <a:gd name="T56" fmla="*/ 81 w 292"/>
              <a:gd name="T57" fmla="*/ 19 h 99"/>
              <a:gd name="T58" fmla="*/ 88 w 292"/>
              <a:gd name="T59" fmla="*/ 11 h 99"/>
              <a:gd name="T60" fmla="*/ 94 w 292"/>
              <a:gd name="T61" fmla="*/ 6 h 99"/>
              <a:gd name="T62" fmla="*/ 109 w 292"/>
              <a:gd name="T63" fmla="*/ 1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" name="Freeform 35">
            <a:extLst>
              <a:ext uri="{FF2B5EF4-FFF2-40B4-BE49-F238E27FC236}">
                <a16:creationId xmlns:a16="http://schemas.microsoft.com/office/drawing/2014/main" id="{866721DB-2619-4A13-AAA2-E9A179B0A074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8956270" y="3156834"/>
            <a:ext cx="18334" cy="57150"/>
          </a:xfrm>
          <a:custGeom>
            <a:avLst/>
            <a:gdLst>
              <a:gd name="T0" fmla="*/ 39 w 43"/>
              <a:gd name="T1" fmla="*/ 93 h 93"/>
              <a:gd name="T2" fmla="*/ 31 w 43"/>
              <a:gd name="T3" fmla="*/ 91 h 93"/>
              <a:gd name="T4" fmla="*/ 26 w 43"/>
              <a:gd name="T5" fmla="*/ 89 h 93"/>
              <a:gd name="T6" fmla="*/ 21 w 43"/>
              <a:gd name="T7" fmla="*/ 87 h 93"/>
              <a:gd name="T8" fmla="*/ 18 w 43"/>
              <a:gd name="T9" fmla="*/ 84 h 93"/>
              <a:gd name="T10" fmla="*/ 15 w 43"/>
              <a:gd name="T11" fmla="*/ 79 h 93"/>
              <a:gd name="T12" fmla="*/ 14 w 43"/>
              <a:gd name="T13" fmla="*/ 73 h 93"/>
              <a:gd name="T14" fmla="*/ 13 w 43"/>
              <a:gd name="T15" fmla="*/ 65 h 93"/>
              <a:gd name="T16" fmla="*/ 11 w 43"/>
              <a:gd name="T17" fmla="*/ 55 h 93"/>
              <a:gd name="T18" fmla="*/ 11 w 43"/>
              <a:gd name="T19" fmla="*/ 48 h 93"/>
              <a:gd name="T20" fmla="*/ 9 w 43"/>
              <a:gd name="T21" fmla="*/ 42 h 93"/>
              <a:gd name="T22" fmla="*/ 6 w 43"/>
              <a:gd name="T23" fmla="*/ 38 h 93"/>
              <a:gd name="T24" fmla="*/ 4 w 43"/>
              <a:gd name="T25" fmla="*/ 36 h 93"/>
              <a:gd name="T26" fmla="*/ 2 w 43"/>
              <a:gd name="T27" fmla="*/ 34 h 93"/>
              <a:gd name="T28" fmla="*/ 0 w 43"/>
              <a:gd name="T29" fmla="*/ 32 h 93"/>
              <a:gd name="T30" fmla="*/ 2 w 43"/>
              <a:gd name="T31" fmla="*/ 29 h 93"/>
              <a:gd name="T32" fmla="*/ 5 w 43"/>
              <a:gd name="T33" fmla="*/ 24 h 93"/>
              <a:gd name="T34" fmla="*/ 6 w 43"/>
              <a:gd name="T35" fmla="*/ 28 h 93"/>
              <a:gd name="T36" fmla="*/ 7 w 43"/>
              <a:gd name="T37" fmla="*/ 29 h 93"/>
              <a:gd name="T38" fmla="*/ 8 w 43"/>
              <a:gd name="T39" fmla="*/ 30 h 93"/>
              <a:gd name="T40" fmla="*/ 9 w 43"/>
              <a:gd name="T41" fmla="*/ 29 h 93"/>
              <a:gd name="T42" fmla="*/ 11 w 43"/>
              <a:gd name="T43" fmla="*/ 25 h 93"/>
              <a:gd name="T44" fmla="*/ 14 w 43"/>
              <a:gd name="T45" fmla="*/ 19 h 93"/>
              <a:gd name="T46" fmla="*/ 16 w 43"/>
              <a:gd name="T47" fmla="*/ 12 h 93"/>
              <a:gd name="T48" fmla="*/ 20 w 43"/>
              <a:gd name="T49" fmla="*/ 6 h 93"/>
              <a:gd name="T50" fmla="*/ 22 w 43"/>
              <a:gd name="T51" fmla="*/ 4 h 93"/>
              <a:gd name="T52" fmla="*/ 25 w 43"/>
              <a:gd name="T53" fmla="*/ 2 h 93"/>
              <a:gd name="T54" fmla="*/ 28 w 43"/>
              <a:gd name="T55" fmla="*/ 0 h 93"/>
              <a:gd name="T56" fmla="*/ 32 w 43"/>
              <a:gd name="T57" fmla="*/ 0 h 93"/>
              <a:gd name="T58" fmla="*/ 33 w 43"/>
              <a:gd name="T59" fmla="*/ 10 h 93"/>
              <a:gd name="T60" fmla="*/ 33 w 43"/>
              <a:gd name="T61" fmla="*/ 16 h 93"/>
              <a:gd name="T62" fmla="*/ 33 w 43"/>
              <a:gd name="T63" fmla="*/ 20 h 93"/>
              <a:gd name="T64" fmla="*/ 32 w 43"/>
              <a:gd name="T65" fmla="*/ 23 h 93"/>
              <a:gd name="T66" fmla="*/ 32 w 43"/>
              <a:gd name="T67" fmla="*/ 27 h 93"/>
              <a:gd name="T68" fmla="*/ 32 w 43"/>
              <a:gd name="T69" fmla="*/ 31 h 93"/>
              <a:gd name="T70" fmla="*/ 35 w 43"/>
              <a:gd name="T71" fmla="*/ 36 h 93"/>
              <a:gd name="T72" fmla="*/ 39 w 43"/>
              <a:gd name="T73" fmla="*/ 43 h 93"/>
              <a:gd name="T74" fmla="*/ 38 w 43"/>
              <a:gd name="T75" fmla="*/ 44 h 93"/>
              <a:gd name="T76" fmla="*/ 37 w 43"/>
              <a:gd name="T77" fmla="*/ 45 h 93"/>
              <a:gd name="T78" fmla="*/ 37 w 43"/>
              <a:gd name="T79" fmla="*/ 48 h 93"/>
              <a:gd name="T80" fmla="*/ 38 w 43"/>
              <a:gd name="T81" fmla="*/ 51 h 93"/>
              <a:gd name="T82" fmla="*/ 39 w 43"/>
              <a:gd name="T83" fmla="*/ 59 h 93"/>
              <a:gd name="T84" fmla="*/ 41 w 43"/>
              <a:gd name="T85" fmla="*/ 68 h 93"/>
              <a:gd name="T86" fmla="*/ 42 w 43"/>
              <a:gd name="T87" fmla="*/ 76 h 93"/>
              <a:gd name="T88" fmla="*/ 43 w 43"/>
              <a:gd name="T89" fmla="*/ 85 h 93"/>
              <a:gd name="T90" fmla="*/ 43 w 43"/>
              <a:gd name="T91" fmla="*/ 88 h 93"/>
              <a:gd name="T92" fmla="*/ 42 w 43"/>
              <a:gd name="T93" fmla="*/ 91 h 93"/>
              <a:gd name="T94" fmla="*/ 40 w 43"/>
              <a:gd name="T95" fmla="*/ 92 h 93"/>
              <a:gd name="T96" fmla="*/ 39 w 43"/>
              <a:gd name="T97" fmla="*/ 93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4" name="Freeform 36">
            <a:extLst>
              <a:ext uri="{FF2B5EF4-FFF2-40B4-BE49-F238E27FC236}">
                <a16:creationId xmlns:a16="http://schemas.microsoft.com/office/drawing/2014/main" id="{20C3BEB0-2D7A-4A25-934B-FFF2FAF6B831}"/>
              </a:ext>
            </a:extLst>
          </p:cNvPr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9070857" y="3161597"/>
            <a:ext cx="13750" cy="57150"/>
          </a:xfrm>
          <a:custGeom>
            <a:avLst/>
            <a:gdLst>
              <a:gd name="T0" fmla="*/ 40 w 40"/>
              <a:gd name="T1" fmla="*/ 56 h 56"/>
              <a:gd name="T2" fmla="*/ 37 w 40"/>
              <a:gd name="T3" fmla="*/ 46 h 56"/>
              <a:gd name="T4" fmla="*/ 33 w 40"/>
              <a:gd name="T5" fmla="*/ 38 h 56"/>
              <a:gd name="T6" fmla="*/ 28 w 40"/>
              <a:gd name="T7" fmla="*/ 32 h 56"/>
              <a:gd name="T8" fmla="*/ 23 w 40"/>
              <a:gd name="T9" fmla="*/ 28 h 56"/>
              <a:gd name="T10" fmla="*/ 11 w 40"/>
              <a:gd name="T11" fmla="*/ 21 h 56"/>
              <a:gd name="T12" fmla="*/ 0 w 40"/>
              <a:gd name="T13" fmla="*/ 12 h 56"/>
              <a:gd name="T14" fmla="*/ 13 w 40"/>
              <a:gd name="T15" fmla="*/ 4 h 56"/>
              <a:gd name="T16" fmla="*/ 20 w 40"/>
              <a:gd name="T17" fmla="*/ 0 h 56"/>
              <a:gd name="T18" fmla="*/ 28 w 40"/>
              <a:gd name="T19" fmla="*/ 12 h 56"/>
              <a:gd name="T20" fmla="*/ 35 w 40"/>
              <a:gd name="T21" fmla="*/ 22 h 56"/>
              <a:gd name="T22" fmla="*/ 37 w 40"/>
              <a:gd name="T23" fmla="*/ 25 h 56"/>
              <a:gd name="T24" fmla="*/ 39 w 40"/>
              <a:gd name="T25" fmla="*/ 29 h 56"/>
              <a:gd name="T26" fmla="*/ 39 w 40"/>
              <a:gd name="T27" fmla="*/ 33 h 56"/>
              <a:gd name="T28" fmla="*/ 40 w 40"/>
              <a:gd name="T29" fmla="*/ 37 h 56"/>
              <a:gd name="T30" fmla="*/ 40 w 40"/>
              <a:gd name="T31" fmla="*/ 44 h 56"/>
              <a:gd name="T32" fmla="*/ 40 w 40"/>
              <a:gd name="T33" fmla="*/ 46 h 56"/>
              <a:gd name="T34" fmla="*/ 40 w 40"/>
              <a:gd name="T35" fmla="*/ 49 h 56"/>
              <a:gd name="T36" fmla="*/ 40 w 40"/>
              <a:gd name="T37" fmla="*/ 56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5" name="Freeform 37">
            <a:extLst>
              <a:ext uri="{FF2B5EF4-FFF2-40B4-BE49-F238E27FC236}">
                <a16:creationId xmlns:a16="http://schemas.microsoft.com/office/drawing/2014/main" id="{888A07E4-B1C8-4F1E-93F7-A816463500DE}"/>
              </a:ext>
            </a:extLst>
          </p:cNvPr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10502415" y="3821997"/>
            <a:ext cx="42779" cy="57150"/>
          </a:xfrm>
          <a:custGeom>
            <a:avLst/>
            <a:gdLst>
              <a:gd name="T0" fmla="*/ 0 w 106"/>
              <a:gd name="T1" fmla="*/ 7 h 71"/>
              <a:gd name="T2" fmla="*/ 12 w 106"/>
              <a:gd name="T3" fmla="*/ 10 h 71"/>
              <a:gd name="T4" fmla="*/ 24 w 106"/>
              <a:gd name="T5" fmla="*/ 12 h 71"/>
              <a:gd name="T6" fmla="*/ 35 w 106"/>
              <a:gd name="T7" fmla="*/ 13 h 71"/>
              <a:gd name="T8" fmla="*/ 45 w 106"/>
              <a:gd name="T9" fmla="*/ 13 h 71"/>
              <a:gd name="T10" fmla="*/ 54 w 106"/>
              <a:gd name="T11" fmla="*/ 11 h 71"/>
              <a:gd name="T12" fmla="*/ 61 w 106"/>
              <a:gd name="T13" fmla="*/ 8 h 71"/>
              <a:gd name="T14" fmla="*/ 68 w 106"/>
              <a:gd name="T15" fmla="*/ 5 h 71"/>
              <a:gd name="T16" fmla="*/ 74 w 106"/>
              <a:gd name="T17" fmla="*/ 0 h 71"/>
              <a:gd name="T18" fmla="*/ 84 w 106"/>
              <a:gd name="T19" fmla="*/ 16 h 71"/>
              <a:gd name="T20" fmla="*/ 94 w 106"/>
              <a:gd name="T21" fmla="*/ 30 h 71"/>
              <a:gd name="T22" fmla="*/ 101 w 106"/>
              <a:gd name="T23" fmla="*/ 44 h 71"/>
              <a:gd name="T24" fmla="*/ 105 w 106"/>
              <a:gd name="T25" fmla="*/ 55 h 71"/>
              <a:gd name="T26" fmla="*/ 106 w 106"/>
              <a:gd name="T27" fmla="*/ 60 h 71"/>
              <a:gd name="T28" fmla="*/ 106 w 106"/>
              <a:gd name="T29" fmla="*/ 63 h 71"/>
              <a:gd name="T30" fmla="*/ 105 w 106"/>
              <a:gd name="T31" fmla="*/ 67 h 71"/>
              <a:gd name="T32" fmla="*/ 103 w 106"/>
              <a:gd name="T33" fmla="*/ 69 h 71"/>
              <a:gd name="T34" fmla="*/ 101 w 106"/>
              <a:gd name="T35" fmla="*/ 70 h 71"/>
              <a:gd name="T36" fmla="*/ 98 w 106"/>
              <a:gd name="T37" fmla="*/ 70 h 71"/>
              <a:gd name="T38" fmla="*/ 92 w 106"/>
              <a:gd name="T39" fmla="*/ 70 h 71"/>
              <a:gd name="T40" fmla="*/ 87 w 106"/>
              <a:gd name="T41" fmla="*/ 68 h 71"/>
              <a:gd name="T42" fmla="*/ 74 w 106"/>
              <a:gd name="T43" fmla="*/ 70 h 71"/>
              <a:gd name="T44" fmla="*/ 63 w 106"/>
              <a:gd name="T45" fmla="*/ 71 h 71"/>
              <a:gd name="T46" fmla="*/ 53 w 106"/>
              <a:gd name="T47" fmla="*/ 69 h 71"/>
              <a:gd name="T48" fmla="*/ 45 w 106"/>
              <a:gd name="T49" fmla="*/ 66 h 71"/>
              <a:gd name="T50" fmla="*/ 37 w 106"/>
              <a:gd name="T51" fmla="*/ 62 h 71"/>
              <a:gd name="T52" fmla="*/ 32 w 106"/>
              <a:gd name="T53" fmla="*/ 57 h 71"/>
              <a:gd name="T54" fmla="*/ 27 w 106"/>
              <a:gd name="T55" fmla="*/ 51 h 71"/>
              <a:gd name="T56" fmla="*/ 24 w 106"/>
              <a:gd name="T57" fmla="*/ 45 h 71"/>
              <a:gd name="T58" fmla="*/ 21 w 106"/>
              <a:gd name="T59" fmla="*/ 38 h 71"/>
              <a:gd name="T60" fmla="*/ 20 w 106"/>
              <a:gd name="T61" fmla="*/ 30 h 71"/>
              <a:gd name="T62" fmla="*/ 19 w 106"/>
              <a:gd name="T63" fmla="*/ 24 h 71"/>
              <a:gd name="T64" fmla="*/ 18 w 106"/>
              <a:gd name="T65" fmla="*/ 19 h 71"/>
              <a:gd name="T66" fmla="*/ 18 w 106"/>
              <a:gd name="T67" fmla="*/ 14 h 71"/>
              <a:gd name="T68" fmla="*/ 19 w 106"/>
              <a:gd name="T69" fmla="*/ 10 h 71"/>
              <a:gd name="T70" fmla="*/ 20 w 106"/>
              <a:gd name="T71" fmla="*/ 7 h 71"/>
              <a:gd name="T72" fmla="*/ 21 w 106"/>
              <a:gd name="T73" fmla="*/ 7 h 71"/>
              <a:gd name="T74" fmla="*/ 20 w 106"/>
              <a:gd name="T75" fmla="*/ 10 h 71"/>
              <a:gd name="T76" fmla="*/ 19 w 106"/>
              <a:gd name="T77" fmla="*/ 16 h 71"/>
              <a:gd name="T78" fmla="*/ 19 w 106"/>
              <a:gd name="T79" fmla="*/ 17 h 71"/>
              <a:gd name="T80" fmla="*/ 19 w 106"/>
              <a:gd name="T81" fmla="*/ 17 h 71"/>
              <a:gd name="T82" fmla="*/ 20 w 106"/>
              <a:gd name="T83" fmla="*/ 17 h 71"/>
              <a:gd name="T84" fmla="*/ 21 w 106"/>
              <a:gd name="T85" fmla="*/ 17 h 71"/>
              <a:gd name="T86" fmla="*/ 23 w 106"/>
              <a:gd name="T87" fmla="*/ 13 h 71"/>
              <a:gd name="T88" fmla="*/ 27 w 106"/>
              <a:gd name="T89" fmla="*/ 7 h 71"/>
              <a:gd name="T90" fmla="*/ 0 w 106"/>
              <a:gd name="T91" fmla="*/ 7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36" name="Group 38">
            <a:extLst>
              <a:ext uri="{FF2B5EF4-FFF2-40B4-BE49-F238E27FC236}">
                <a16:creationId xmlns:a16="http://schemas.microsoft.com/office/drawing/2014/main" id="{C244AE52-78C2-4495-85AF-D56F529807AD}"/>
              </a:ext>
            </a:extLst>
          </p:cNvPr>
          <p:cNvGrpSpPr>
            <a:grpSpLocks/>
          </p:cNvGrpSpPr>
          <p:nvPr>
            <p:custDataLst>
              <p:tags r:id="rId38"/>
            </p:custDataLst>
          </p:nvPr>
        </p:nvGrpSpPr>
        <p:grpSpPr bwMode="auto">
          <a:xfrm>
            <a:off x="6510245" y="5630160"/>
            <a:ext cx="62640" cy="55563"/>
            <a:chOff x="1654" y="3671"/>
            <a:chExt cx="49" cy="17"/>
          </a:xfrm>
        </p:grpSpPr>
        <p:sp>
          <p:nvSpPr>
            <p:cNvPr id="37" name="Freeform 39">
              <a:extLst>
                <a:ext uri="{FF2B5EF4-FFF2-40B4-BE49-F238E27FC236}">
                  <a16:creationId xmlns:a16="http://schemas.microsoft.com/office/drawing/2014/main" id="{BC510233-58D9-4DAC-B004-106417C06ABA}"/>
                </a:ext>
              </a:extLst>
            </p:cNvPr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26 w 59"/>
                <a:gd name="T1" fmla="*/ 43 h 43"/>
                <a:gd name="T2" fmla="*/ 59 w 59"/>
                <a:gd name="T3" fmla="*/ 18 h 43"/>
                <a:gd name="T4" fmla="*/ 55 w 59"/>
                <a:gd name="T5" fmla="*/ 14 h 43"/>
                <a:gd name="T6" fmla="*/ 51 w 59"/>
                <a:gd name="T7" fmla="*/ 9 h 43"/>
                <a:gd name="T8" fmla="*/ 47 w 59"/>
                <a:gd name="T9" fmla="*/ 5 h 43"/>
                <a:gd name="T10" fmla="*/ 46 w 59"/>
                <a:gd name="T11" fmla="*/ 0 h 43"/>
                <a:gd name="T12" fmla="*/ 41 w 59"/>
                <a:gd name="T13" fmla="*/ 1 h 43"/>
                <a:gd name="T14" fmla="*/ 34 w 59"/>
                <a:gd name="T15" fmla="*/ 4 h 43"/>
                <a:gd name="T16" fmla="*/ 31 w 59"/>
                <a:gd name="T17" fmla="*/ 6 h 43"/>
                <a:gd name="T18" fmla="*/ 29 w 59"/>
                <a:gd name="T19" fmla="*/ 8 h 43"/>
                <a:gd name="T20" fmla="*/ 26 w 59"/>
                <a:gd name="T21" fmla="*/ 10 h 43"/>
                <a:gd name="T22" fmla="*/ 26 w 59"/>
                <a:gd name="T23" fmla="*/ 12 h 43"/>
                <a:gd name="T24" fmla="*/ 20 w 59"/>
                <a:gd name="T25" fmla="*/ 13 h 43"/>
                <a:gd name="T26" fmla="*/ 13 w 59"/>
                <a:gd name="T27" fmla="*/ 16 h 43"/>
                <a:gd name="T28" fmla="*/ 6 w 59"/>
                <a:gd name="T29" fmla="*/ 20 h 43"/>
                <a:gd name="T30" fmla="*/ 0 w 59"/>
                <a:gd name="T31" fmla="*/ 24 h 43"/>
                <a:gd name="T32" fmla="*/ 5 w 59"/>
                <a:gd name="T33" fmla="*/ 29 h 43"/>
                <a:gd name="T34" fmla="*/ 10 w 59"/>
                <a:gd name="T35" fmla="*/ 34 h 43"/>
                <a:gd name="T36" fmla="*/ 18 w 59"/>
                <a:gd name="T37" fmla="*/ 39 h 43"/>
                <a:gd name="T38" fmla="*/ 26 w 59"/>
                <a:gd name="T39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" name="Freeform 40">
              <a:extLst>
                <a:ext uri="{FF2B5EF4-FFF2-40B4-BE49-F238E27FC236}">
                  <a16:creationId xmlns:a16="http://schemas.microsoft.com/office/drawing/2014/main" id="{21526D2F-0697-4500-8897-B57C11699B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2 h 51"/>
                <a:gd name="T2" fmla="*/ 24 w 67"/>
                <a:gd name="T3" fmla="*/ 1 h 51"/>
                <a:gd name="T4" fmla="*/ 39 w 67"/>
                <a:gd name="T5" fmla="*/ 0 h 51"/>
                <a:gd name="T6" fmla="*/ 45 w 67"/>
                <a:gd name="T7" fmla="*/ 1 h 51"/>
                <a:gd name="T8" fmla="*/ 51 w 67"/>
                <a:gd name="T9" fmla="*/ 2 h 51"/>
                <a:gd name="T10" fmla="*/ 58 w 67"/>
                <a:gd name="T11" fmla="*/ 4 h 51"/>
                <a:gd name="T12" fmla="*/ 67 w 67"/>
                <a:gd name="T13" fmla="*/ 8 h 51"/>
                <a:gd name="T14" fmla="*/ 55 w 67"/>
                <a:gd name="T15" fmla="*/ 13 h 51"/>
                <a:gd name="T16" fmla="*/ 46 w 67"/>
                <a:gd name="T17" fmla="*/ 19 h 51"/>
                <a:gd name="T18" fmla="*/ 42 w 67"/>
                <a:gd name="T19" fmla="*/ 22 h 51"/>
                <a:gd name="T20" fmla="*/ 36 w 67"/>
                <a:gd name="T21" fmla="*/ 24 h 51"/>
                <a:gd name="T22" fmla="*/ 29 w 67"/>
                <a:gd name="T23" fmla="*/ 26 h 51"/>
                <a:gd name="T24" fmla="*/ 20 w 67"/>
                <a:gd name="T25" fmla="*/ 26 h 51"/>
                <a:gd name="T26" fmla="*/ 24 w 67"/>
                <a:gd name="T27" fmla="*/ 26 h 51"/>
                <a:gd name="T28" fmla="*/ 34 w 67"/>
                <a:gd name="T29" fmla="*/ 26 h 51"/>
                <a:gd name="T30" fmla="*/ 29 w 67"/>
                <a:gd name="T31" fmla="*/ 34 h 51"/>
                <a:gd name="T32" fmla="*/ 25 w 67"/>
                <a:gd name="T33" fmla="*/ 40 h 51"/>
                <a:gd name="T34" fmla="*/ 22 w 67"/>
                <a:gd name="T35" fmla="*/ 44 h 51"/>
                <a:gd name="T36" fmla="*/ 20 w 67"/>
                <a:gd name="T37" fmla="*/ 46 h 51"/>
                <a:gd name="T38" fmla="*/ 12 w 67"/>
                <a:gd name="T39" fmla="*/ 48 h 51"/>
                <a:gd name="T40" fmla="*/ 0 w 67"/>
                <a:gd name="T41" fmla="*/ 51 h 51"/>
                <a:gd name="T42" fmla="*/ 0 w 67"/>
                <a:gd name="T43" fmla="*/ 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9" name="Freeform 41">
            <a:extLst>
              <a:ext uri="{FF2B5EF4-FFF2-40B4-BE49-F238E27FC236}">
                <a16:creationId xmlns:a16="http://schemas.microsoft.com/office/drawing/2014/main" id="{CDA99459-42FA-4045-8D63-D051548B52DB}"/>
              </a:ext>
            </a:extLst>
          </p:cNvPr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6171070" y="3425123"/>
            <a:ext cx="30556" cy="58737"/>
          </a:xfrm>
          <a:custGeom>
            <a:avLst/>
            <a:gdLst>
              <a:gd name="T0" fmla="*/ 0 w 80"/>
              <a:gd name="T1" fmla="*/ 15 h 34"/>
              <a:gd name="T2" fmla="*/ 1 w 80"/>
              <a:gd name="T3" fmla="*/ 19 h 34"/>
              <a:gd name="T4" fmla="*/ 2 w 80"/>
              <a:gd name="T5" fmla="*/ 21 h 34"/>
              <a:gd name="T6" fmla="*/ 4 w 80"/>
              <a:gd name="T7" fmla="*/ 24 h 34"/>
              <a:gd name="T8" fmla="*/ 7 w 80"/>
              <a:gd name="T9" fmla="*/ 26 h 34"/>
              <a:gd name="T10" fmla="*/ 13 w 80"/>
              <a:gd name="T11" fmla="*/ 29 h 34"/>
              <a:gd name="T12" fmla="*/ 22 w 80"/>
              <a:gd name="T13" fmla="*/ 31 h 34"/>
              <a:gd name="T14" fmla="*/ 40 w 80"/>
              <a:gd name="T15" fmla="*/ 33 h 34"/>
              <a:gd name="T16" fmla="*/ 54 w 80"/>
              <a:gd name="T17" fmla="*/ 34 h 34"/>
              <a:gd name="T18" fmla="*/ 58 w 80"/>
              <a:gd name="T19" fmla="*/ 33 h 34"/>
              <a:gd name="T20" fmla="*/ 62 w 80"/>
              <a:gd name="T21" fmla="*/ 32 h 34"/>
              <a:gd name="T22" fmla="*/ 65 w 80"/>
              <a:gd name="T23" fmla="*/ 29 h 34"/>
              <a:gd name="T24" fmla="*/ 67 w 80"/>
              <a:gd name="T25" fmla="*/ 27 h 34"/>
              <a:gd name="T26" fmla="*/ 73 w 80"/>
              <a:gd name="T27" fmla="*/ 21 h 34"/>
              <a:gd name="T28" fmla="*/ 80 w 80"/>
              <a:gd name="T29" fmla="*/ 15 h 34"/>
              <a:gd name="T30" fmla="*/ 75 w 80"/>
              <a:gd name="T31" fmla="*/ 10 h 34"/>
              <a:gd name="T32" fmla="*/ 70 w 80"/>
              <a:gd name="T33" fmla="*/ 7 h 34"/>
              <a:gd name="T34" fmla="*/ 65 w 80"/>
              <a:gd name="T35" fmla="*/ 4 h 34"/>
              <a:gd name="T36" fmla="*/ 60 w 80"/>
              <a:gd name="T37" fmla="*/ 2 h 34"/>
              <a:gd name="T38" fmla="*/ 55 w 80"/>
              <a:gd name="T39" fmla="*/ 0 h 34"/>
              <a:gd name="T40" fmla="*/ 51 w 80"/>
              <a:gd name="T41" fmla="*/ 0 h 34"/>
              <a:gd name="T42" fmla="*/ 45 w 80"/>
              <a:gd name="T43" fmla="*/ 1 h 34"/>
              <a:gd name="T44" fmla="*/ 41 w 80"/>
              <a:gd name="T45" fmla="*/ 2 h 34"/>
              <a:gd name="T46" fmla="*/ 34 w 80"/>
              <a:gd name="T47" fmla="*/ 2 h 34"/>
              <a:gd name="T48" fmla="*/ 21 w 80"/>
              <a:gd name="T49" fmla="*/ 2 h 34"/>
              <a:gd name="T50" fmla="*/ 13 w 80"/>
              <a:gd name="T51" fmla="*/ 3 h 34"/>
              <a:gd name="T52" fmla="*/ 7 w 80"/>
              <a:gd name="T53" fmla="*/ 5 h 34"/>
              <a:gd name="T54" fmla="*/ 4 w 80"/>
              <a:gd name="T55" fmla="*/ 7 h 34"/>
              <a:gd name="T56" fmla="*/ 2 w 80"/>
              <a:gd name="T57" fmla="*/ 9 h 34"/>
              <a:gd name="T58" fmla="*/ 1 w 80"/>
              <a:gd name="T59" fmla="*/ 11 h 34"/>
              <a:gd name="T60" fmla="*/ 0 w 80"/>
              <a:gd name="T61" fmla="*/ 15 h 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0" name="Freeform 42">
            <a:extLst>
              <a:ext uri="{FF2B5EF4-FFF2-40B4-BE49-F238E27FC236}">
                <a16:creationId xmlns:a16="http://schemas.microsoft.com/office/drawing/2014/main" id="{31DC833A-0DD5-4B24-B448-7DD037951BC5}"/>
              </a:ext>
            </a:extLst>
          </p:cNvPr>
          <p:cNvSpPr>
            <a:spLocks/>
          </p:cNvSpPr>
          <p:nvPr>
            <p:custDataLst>
              <p:tags r:id="rId40"/>
            </p:custDataLst>
          </p:nvPr>
        </p:nvSpPr>
        <p:spPr bwMode="auto">
          <a:xfrm>
            <a:off x="6224543" y="3431473"/>
            <a:ext cx="1528" cy="58737"/>
          </a:xfrm>
          <a:custGeom>
            <a:avLst/>
            <a:gdLst>
              <a:gd name="T0" fmla="*/ 0 w 7"/>
              <a:gd name="T1" fmla="*/ 0 h 13"/>
              <a:gd name="T2" fmla="*/ 7 w 7"/>
              <a:gd name="T3" fmla="*/ 13 h 13"/>
              <a:gd name="T4" fmla="*/ 7 w 7"/>
              <a:gd name="T5" fmla="*/ 7 h 1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1" name="Freeform 43">
            <a:extLst>
              <a:ext uri="{FF2B5EF4-FFF2-40B4-BE49-F238E27FC236}">
                <a16:creationId xmlns:a16="http://schemas.microsoft.com/office/drawing/2014/main" id="{0196583A-27FC-49FC-A014-B28B13FA9E62}"/>
              </a:ext>
            </a:extLst>
          </p:cNvPr>
          <p:cNvSpPr>
            <a:spLocks/>
          </p:cNvSpPr>
          <p:nvPr>
            <p:custDataLst>
              <p:tags r:id="rId41"/>
            </p:custDataLst>
          </p:nvPr>
        </p:nvSpPr>
        <p:spPr bwMode="auto">
          <a:xfrm>
            <a:off x="6236765" y="3433059"/>
            <a:ext cx="6111" cy="58738"/>
          </a:xfrm>
          <a:custGeom>
            <a:avLst/>
            <a:gdLst>
              <a:gd name="T0" fmla="*/ 0 w 20"/>
              <a:gd name="T1" fmla="*/ 0 h 6"/>
              <a:gd name="T2" fmla="*/ 7 w 20"/>
              <a:gd name="T3" fmla="*/ 3 h 6"/>
              <a:gd name="T4" fmla="*/ 20 w 20"/>
              <a:gd name="T5" fmla="*/ 6 h 6"/>
              <a:gd name="T6" fmla="*/ 0 w 20"/>
              <a:gd name="T7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2" name="Freeform 44">
            <a:extLst>
              <a:ext uri="{FF2B5EF4-FFF2-40B4-BE49-F238E27FC236}">
                <a16:creationId xmlns:a16="http://schemas.microsoft.com/office/drawing/2014/main" id="{2674CD87-99E6-4E1C-A5EC-AC6DEFEE0537}"/>
              </a:ext>
            </a:extLst>
          </p:cNvPr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6250517" y="3423534"/>
            <a:ext cx="7639" cy="57150"/>
          </a:xfrm>
          <a:custGeom>
            <a:avLst/>
            <a:gdLst>
              <a:gd name="T0" fmla="*/ 0 w 14"/>
              <a:gd name="T1" fmla="*/ 12 h 12"/>
              <a:gd name="T2" fmla="*/ 14 w 14"/>
              <a:gd name="T3" fmla="*/ 0 h 12"/>
              <a:gd name="T4" fmla="*/ 0 w 14"/>
              <a:gd name="T5" fmla="*/ 12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3" name="Freeform 45">
            <a:extLst>
              <a:ext uri="{FF2B5EF4-FFF2-40B4-BE49-F238E27FC236}">
                <a16:creationId xmlns:a16="http://schemas.microsoft.com/office/drawing/2014/main" id="{89252BF4-5370-4992-BC35-2C0AAFC8A027}"/>
              </a:ext>
            </a:extLst>
          </p:cNvPr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6230655" y="3415598"/>
            <a:ext cx="10695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4 h 7"/>
              <a:gd name="T4" fmla="*/ 2 w 27"/>
              <a:gd name="T5" fmla="*/ 6 h 7"/>
              <a:gd name="T6" fmla="*/ 7 w 27"/>
              <a:gd name="T7" fmla="*/ 7 h 7"/>
              <a:gd name="T8" fmla="*/ 10 w 27"/>
              <a:gd name="T9" fmla="*/ 7 h 7"/>
              <a:gd name="T10" fmla="*/ 15 w 27"/>
              <a:gd name="T11" fmla="*/ 6 h 7"/>
              <a:gd name="T12" fmla="*/ 19 w 27"/>
              <a:gd name="T13" fmla="*/ 4 h 7"/>
              <a:gd name="T14" fmla="*/ 23 w 27"/>
              <a:gd name="T15" fmla="*/ 2 h 7"/>
              <a:gd name="T16" fmla="*/ 27 w 27"/>
              <a:gd name="T17" fmla="*/ 0 h 7"/>
              <a:gd name="T18" fmla="*/ 0 w 27"/>
              <a:gd name="T1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4" name="Freeform 46">
            <a:extLst>
              <a:ext uri="{FF2B5EF4-FFF2-40B4-BE49-F238E27FC236}">
                <a16:creationId xmlns:a16="http://schemas.microsoft.com/office/drawing/2014/main" id="{1EE5A058-45A6-4F4C-B33E-ADCDEC5F829E}"/>
              </a:ext>
            </a:extLst>
          </p:cNvPr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6278018" y="3444173"/>
            <a:ext cx="13750" cy="60325"/>
          </a:xfrm>
          <a:custGeom>
            <a:avLst/>
            <a:gdLst>
              <a:gd name="T0" fmla="*/ 0 w 27"/>
              <a:gd name="T1" fmla="*/ 0 h 6"/>
              <a:gd name="T2" fmla="*/ 11 w 27"/>
              <a:gd name="T3" fmla="*/ 3 h 6"/>
              <a:gd name="T4" fmla="*/ 27 w 27"/>
              <a:gd name="T5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5" name="Line 47">
            <a:extLst>
              <a:ext uri="{FF2B5EF4-FFF2-40B4-BE49-F238E27FC236}">
                <a16:creationId xmlns:a16="http://schemas.microsoft.com/office/drawing/2014/main" id="{ECA95C1B-BD8E-4E4A-8E77-18B3256E395A}"/>
              </a:ext>
            </a:extLst>
          </p:cNvPr>
          <p:cNvSpPr>
            <a:spLocks noChangeShapeType="1"/>
          </p:cNvSpPr>
          <p:nvPr>
            <p:custDataLst>
              <p:tags r:id="rId45"/>
            </p:custDataLst>
          </p:nvPr>
        </p:nvSpPr>
        <p:spPr bwMode="auto">
          <a:xfrm flipH="1" flipV="1">
            <a:off x="6285655" y="3440998"/>
            <a:ext cx="6111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" name="Line 48">
            <a:extLst>
              <a:ext uri="{FF2B5EF4-FFF2-40B4-BE49-F238E27FC236}">
                <a16:creationId xmlns:a16="http://schemas.microsoft.com/office/drawing/2014/main" id="{D76A3AA4-D7F7-4121-8F70-DD080E77C2B6}"/>
              </a:ext>
            </a:extLst>
          </p:cNvPr>
          <p:cNvSpPr>
            <a:spLocks noChangeShapeType="1"/>
          </p:cNvSpPr>
          <p:nvPr>
            <p:custDataLst>
              <p:tags r:id="rId46"/>
            </p:custDataLst>
          </p:nvPr>
        </p:nvSpPr>
        <p:spPr bwMode="auto">
          <a:xfrm flipH="1">
            <a:off x="6285655" y="3466397"/>
            <a:ext cx="6111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" name="Freeform 49">
            <a:extLst>
              <a:ext uri="{FF2B5EF4-FFF2-40B4-BE49-F238E27FC236}">
                <a16:creationId xmlns:a16="http://schemas.microsoft.com/office/drawing/2014/main" id="{1B89BCBF-A8D0-40FA-A85E-D84A56646668}"/>
              </a:ext>
            </a:extLst>
          </p:cNvPr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6285656" y="3461634"/>
            <a:ext cx="10695" cy="58738"/>
          </a:xfrm>
          <a:custGeom>
            <a:avLst/>
            <a:gdLst>
              <a:gd name="T0" fmla="*/ 0 w 20"/>
              <a:gd name="T1" fmla="*/ 24 h 24"/>
              <a:gd name="T2" fmla="*/ 2 w 20"/>
              <a:gd name="T3" fmla="*/ 24 h 24"/>
              <a:gd name="T4" fmla="*/ 6 w 20"/>
              <a:gd name="T5" fmla="*/ 22 h 24"/>
              <a:gd name="T6" fmla="*/ 9 w 20"/>
              <a:gd name="T7" fmla="*/ 20 h 24"/>
              <a:gd name="T8" fmla="*/ 12 w 20"/>
              <a:gd name="T9" fmla="*/ 16 h 24"/>
              <a:gd name="T10" fmla="*/ 15 w 20"/>
              <a:gd name="T11" fmla="*/ 13 h 24"/>
              <a:gd name="T12" fmla="*/ 18 w 20"/>
              <a:gd name="T13" fmla="*/ 9 h 24"/>
              <a:gd name="T14" fmla="*/ 19 w 20"/>
              <a:gd name="T15" fmla="*/ 4 h 24"/>
              <a:gd name="T16" fmla="*/ 20 w 20"/>
              <a:gd name="T17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8" name="Freeform 50">
            <a:extLst>
              <a:ext uri="{FF2B5EF4-FFF2-40B4-BE49-F238E27FC236}">
                <a16:creationId xmlns:a16="http://schemas.microsoft.com/office/drawing/2014/main" id="{3226E9CE-2E4C-486D-8003-3281A5597285}"/>
              </a:ext>
            </a:extLst>
          </p:cNvPr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6291768" y="3490210"/>
            <a:ext cx="16806" cy="55563"/>
          </a:xfrm>
          <a:custGeom>
            <a:avLst/>
            <a:gdLst>
              <a:gd name="T0" fmla="*/ 13 w 33"/>
              <a:gd name="T1" fmla="*/ 7 h 25"/>
              <a:gd name="T2" fmla="*/ 0 w 33"/>
              <a:gd name="T3" fmla="*/ 19 h 25"/>
              <a:gd name="T4" fmla="*/ 10 w 33"/>
              <a:gd name="T5" fmla="*/ 20 h 25"/>
              <a:gd name="T6" fmla="*/ 19 w 33"/>
              <a:gd name="T7" fmla="*/ 22 h 25"/>
              <a:gd name="T8" fmla="*/ 27 w 33"/>
              <a:gd name="T9" fmla="*/ 25 h 25"/>
              <a:gd name="T10" fmla="*/ 33 w 33"/>
              <a:gd name="T11" fmla="*/ 25 h 25"/>
              <a:gd name="T12" fmla="*/ 33 w 33"/>
              <a:gd name="T13" fmla="*/ 0 h 25"/>
              <a:gd name="T14" fmla="*/ 27 w 33"/>
              <a:gd name="T15" fmla="*/ 0 h 25"/>
              <a:gd name="T16" fmla="*/ 13 w 33"/>
              <a:gd name="T17" fmla="*/ 7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9" name="Freeform 51">
            <a:extLst>
              <a:ext uri="{FF2B5EF4-FFF2-40B4-BE49-F238E27FC236}">
                <a16:creationId xmlns:a16="http://schemas.microsoft.com/office/drawing/2014/main" id="{FF617220-C180-46D0-80C2-0A81AA9D8079}"/>
              </a:ext>
            </a:extLst>
          </p:cNvPr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6297879" y="3537834"/>
            <a:ext cx="15278" cy="57150"/>
          </a:xfrm>
          <a:custGeom>
            <a:avLst/>
            <a:gdLst>
              <a:gd name="T0" fmla="*/ 0 w 40"/>
              <a:gd name="T1" fmla="*/ 0 h 18"/>
              <a:gd name="T2" fmla="*/ 3 w 40"/>
              <a:gd name="T3" fmla="*/ 6 h 18"/>
              <a:gd name="T4" fmla="*/ 6 w 40"/>
              <a:gd name="T5" fmla="*/ 11 h 18"/>
              <a:gd name="T6" fmla="*/ 10 w 40"/>
              <a:gd name="T7" fmla="*/ 14 h 18"/>
              <a:gd name="T8" fmla="*/ 15 w 40"/>
              <a:gd name="T9" fmla="*/ 16 h 18"/>
              <a:gd name="T10" fmla="*/ 27 w 40"/>
              <a:gd name="T11" fmla="*/ 18 h 18"/>
              <a:gd name="T12" fmla="*/ 40 w 40"/>
              <a:gd name="T13" fmla="*/ 18 h 18"/>
              <a:gd name="T14" fmla="*/ 40 w 40"/>
              <a:gd name="T15" fmla="*/ 0 h 18"/>
              <a:gd name="T16" fmla="*/ 30 w 40"/>
              <a:gd name="T17" fmla="*/ 0 h 18"/>
              <a:gd name="T18" fmla="*/ 20 w 40"/>
              <a:gd name="T19" fmla="*/ 0 h 18"/>
              <a:gd name="T20" fmla="*/ 10 w 40"/>
              <a:gd name="T21" fmla="*/ 0 h 18"/>
              <a:gd name="T22" fmla="*/ 0 w 40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50" name="Freeform 52">
            <a:extLst>
              <a:ext uri="{FF2B5EF4-FFF2-40B4-BE49-F238E27FC236}">
                <a16:creationId xmlns:a16="http://schemas.microsoft.com/office/drawing/2014/main" id="{8B81D28D-8CEC-43EE-A4BA-F9BBC0C58BF8}"/>
              </a:ext>
            </a:extLst>
          </p:cNvPr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6307046" y="3563234"/>
            <a:ext cx="3056" cy="57150"/>
          </a:xfrm>
          <a:custGeom>
            <a:avLst/>
            <a:gdLst>
              <a:gd name="T0" fmla="*/ 4 w 11"/>
              <a:gd name="T1" fmla="*/ 32 h 32"/>
              <a:gd name="T2" fmla="*/ 6 w 11"/>
              <a:gd name="T3" fmla="*/ 28 h 32"/>
              <a:gd name="T4" fmla="*/ 8 w 11"/>
              <a:gd name="T5" fmla="*/ 25 h 32"/>
              <a:gd name="T6" fmla="*/ 9 w 11"/>
              <a:gd name="T7" fmla="*/ 22 h 32"/>
              <a:gd name="T8" fmla="*/ 10 w 11"/>
              <a:gd name="T9" fmla="*/ 18 h 32"/>
              <a:gd name="T10" fmla="*/ 11 w 11"/>
              <a:gd name="T11" fmla="*/ 9 h 32"/>
              <a:gd name="T12" fmla="*/ 11 w 11"/>
              <a:gd name="T13" fmla="*/ 0 h 32"/>
              <a:gd name="T14" fmla="*/ 6 w 11"/>
              <a:gd name="T15" fmla="*/ 3 h 32"/>
              <a:gd name="T16" fmla="*/ 3 w 11"/>
              <a:gd name="T17" fmla="*/ 7 h 32"/>
              <a:gd name="T18" fmla="*/ 1 w 11"/>
              <a:gd name="T19" fmla="*/ 11 h 32"/>
              <a:gd name="T20" fmla="*/ 0 w 11"/>
              <a:gd name="T21" fmla="*/ 16 h 32"/>
              <a:gd name="T22" fmla="*/ 0 w 11"/>
              <a:gd name="T23" fmla="*/ 20 h 32"/>
              <a:gd name="T24" fmla="*/ 1 w 11"/>
              <a:gd name="T25" fmla="*/ 24 h 32"/>
              <a:gd name="T26" fmla="*/ 2 w 11"/>
              <a:gd name="T27" fmla="*/ 28 h 32"/>
              <a:gd name="T28" fmla="*/ 4 w 11"/>
              <a:gd name="T29" fmla="*/ 32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51" name="Freeform 53">
            <a:extLst>
              <a:ext uri="{FF2B5EF4-FFF2-40B4-BE49-F238E27FC236}">
                <a16:creationId xmlns:a16="http://schemas.microsoft.com/office/drawing/2014/main" id="{882B5057-F603-49ED-B0ED-B448DCE77B9F}"/>
              </a:ext>
            </a:extLst>
          </p:cNvPr>
          <p:cNvSpPr>
            <a:spLocks/>
          </p:cNvSpPr>
          <p:nvPr>
            <p:custDataLst>
              <p:tags r:id="rId51"/>
            </p:custDataLst>
          </p:nvPr>
        </p:nvSpPr>
        <p:spPr bwMode="auto">
          <a:xfrm>
            <a:off x="6328434" y="3593397"/>
            <a:ext cx="1528" cy="55562"/>
          </a:xfrm>
          <a:custGeom>
            <a:avLst/>
            <a:gdLst>
              <a:gd name="T0" fmla="*/ 0 w 14"/>
              <a:gd name="T1" fmla="*/ 0 h 24"/>
              <a:gd name="T2" fmla="*/ 0 w 14"/>
              <a:gd name="T3" fmla="*/ 24 h 24"/>
              <a:gd name="T4" fmla="*/ 14 w 14"/>
              <a:gd name="T5" fmla="*/ 12 h 24"/>
              <a:gd name="T6" fmla="*/ 0 w 14"/>
              <a:gd name="T7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52" name="Freeform 54">
            <a:extLst>
              <a:ext uri="{FF2B5EF4-FFF2-40B4-BE49-F238E27FC236}">
                <a16:creationId xmlns:a16="http://schemas.microsoft.com/office/drawing/2014/main" id="{33825031-AA58-4DC8-9FFD-4FBDDD838097}"/>
              </a:ext>
            </a:extLst>
          </p:cNvPr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6291768" y="3606098"/>
            <a:ext cx="15278" cy="58737"/>
          </a:xfrm>
          <a:custGeom>
            <a:avLst/>
            <a:gdLst>
              <a:gd name="T0" fmla="*/ 0 w 27"/>
              <a:gd name="T1" fmla="*/ 12 h 18"/>
              <a:gd name="T2" fmla="*/ 7 w 27"/>
              <a:gd name="T3" fmla="*/ 15 h 18"/>
              <a:gd name="T4" fmla="*/ 13 w 27"/>
              <a:gd name="T5" fmla="*/ 18 h 18"/>
              <a:gd name="T6" fmla="*/ 22 w 27"/>
              <a:gd name="T7" fmla="*/ 7 h 18"/>
              <a:gd name="T8" fmla="*/ 27 w 27"/>
              <a:gd name="T9" fmla="*/ 0 h 18"/>
              <a:gd name="T10" fmla="*/ 22 w 27"/>
              <a:gd name="T11" fmla="*/ 0 h 18"/>
              <a:gd name="T12" fmla="*/ 18 w 27"/>
              <a:gd name="T13" fmla="*/ 1 h 18"/>
              <a:gd name="T14" fmla="*/ 13 w 27"/>
              <a:gd name="T15" fmla="*/ 2 h 18"/>
              <a:gd name="T16" fmla="*/ 10 w 27"/>
              <a:gd name="T17" fmla="*/ 4 h 18"/>
              <a:gd name="T18" fmla="*/ 5 w 27"/>
              <a:gd name="T19" fmla="*/ 8 h 18"/>
              <a:gd name="T20" fmla="*/ 0 w 27"/>
              <a:gd name="T21" fmla="*/ 12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53" name="Freeform 55">
            <a:extLst>
              <a:ext uri="{FF2B5EF4-FFF2-40B4-BE49-F238E27FC236}">
                <a16:creationId xmlns:a16="http://schemas.microsoft.com/office/drawing/2014/main" id="{641EC275-CF67-471D-A930-C57C7F6BB871}"/>
              </a:ext>
            </a:extLst>
          </p:cNvPr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6278017" y="3671184"/>
            <a:ext cx="22917" cy="57150"/>
          </a:xfrm>
          <a:custGeom>
            <a:avLst/>
            <a:gdLst>
              <a:gd name="T0" fmla="*/ 0 w 47"/>
              <a:gd name="T1" fmla="*/ 36 h 49"/>
              <a:gd name="T2" fmla="*/ 1 w 47"/>
              <a:gd name="T3" fmla="*/ 39 h 49"/>
              <a:gd name="T4" fmla="*/ 2 w 47"/>
              <a:gd name="T5" fmla="*/ 41 h 49"/>
              <a:gd name="T6" fmla="*/ 4 w 47"/>
              <a:gd name="T7" fmla="*/ 43 h 49"/>
              <a:gd name="T8" fmla="*/ 6 w 47"/>
              <a:gd name="T9" fmla="*/ 45 h 49"/>
              <a:gd name="T10" fmla="*/ 12 w 47"/>
              <a:gd name="T11" fmla="*/ 48 h 49"/>
              <a:gd name="T12" fmla="*/ 14 w 47"/>
              <a:gd name="T13" fmla="*/ 49 h 49"/>
              <a:gd name="T14" fmla="*/ 18 w 47"/>
              <a:gd name="T15" fmla="*/ 49 h 49"/>
              <a:gd name="T16" fmla="*/ 24 w 47"/>
              <a:gd name="T17" fmla="*/ 46 h 49"/>
              <a:gd name="T18" fmla="*/ 29 w 47"/>
              <a:gd name="T19" fmla="*/ 42 h 49"/>
              <a:gd name="T20" fmla="*/ 35 w 47"/>
              <a:gd name="T21" fmla="*/ 39 h 49"/>
              <a:gd name="T22" fmla="*/ 39 w 47"/>
              <a:gd name="T23" fmla="*/ 35 h 49"/>
              <a:gd name="T24" fmla="*/ 44 w 47"/>
              <a:gd name="T25" fmla="*/ 31 h 49"/>
              <a:gd name="T26" fmla="*/ 46 w 47"/>
              <a:gd name="T27" fmla="*/ 27 h 49"/>
              <a:gd name="T28" fmla="*/ 47 w 47"/>
              <a:gd name="T29" fmla="*/ 24 h 49"/>
              <a:gd name="T30" fmla="*/ 47 w 47"/>
              <a:gd name="T31" fmla="*/ 12 h 49"/>
              <a:gd name="T32" fmla="*/ 47 w 47"/>
              <a:gd name="T33" fmla="*/ 0 h 49"/>
              <a:gd name="T34" fmla="*/ 27 w 47"/>
              <a:gd name="T35" fmla="*/ 0 h 49"/>
              <a:gd name="T36" fmla="*/ 17 w 47"/>
              <a:gd name="T37" fmla="*/ 8 h 49"/>
              <a:gd name="T38" fmla="*/ 9 w 47"/>
              <a:gd name="T39" fmla="*/ 16 h 49"/>
              <a:gd name="T40" fmla="*/ 5 w 47"/>
              <a:gd name="T41" fmla="*/ 20 h 49"/>
              <a:gd name="T42" fmla="*/ 2 w 47"/>
              <a:gd name="T43" fmla="*/ 25 h 49"/>
              <a:gd name="T44" fmla="*/ 1 w 47"/>
              <a:gd name="T45" fmla="*/ 30 h 49"/>
              <a:gd name="T46" fmla="*/ 0 w 47"/>
              <a:gd name="T47" fmla="*/ 36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54" name="Freeform 56">
            <a:extLst>
              <a:ext uri="{FF2B5EF4-FFF2-40B4-BE49-F238E27FC236}">
                <a16:creationId xmlns:a16="http://schemas.microsoft.com/office/drawing/2014/main" id="{3ED8CFE4-A9DF-4C4D-B921-E99F3B177CF9}"/>
              </a:ext>
            </a:extLst>
          </p:cNvPr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6296351" y="3647372"/>
            <a:ext cx="12222" cy="57150"/>
          </a:xfrm>
          <a:custGeom>
            <a:avLst/>
            <a:gdLst>
              <a:gd name="T0" fmla="*/ 0 w 26"/>
              <a:gd name="T1" fmla="*/ 0 h 9"/>
              <a:gd name="T2" fmla="*/ 0 w 26"/>
              <a:gd name="T3" fmla="*/ 4 h 9"/>
              <a:gd name="T4" fmla="*/ 3 w 26"/>
              <a:gd name="T5" fmla="*/ 7 h 9"/>
              <a:gd name="T6" fmla="*/ 6 w 26"/>
              <a:gd name="T7" fmla="*/ 8 h 9"/>
              <a:gd name="T8" fmla="*/ 11 w 26"/>
              <a:gd name="T9" fmla="*/ 9 h 9"/>
              <a:gd name="T10" fmla="*/ 15 w 26"/>
              <a:gd name="T11" fmla="*/ 8 h 9"/>
              <a:gd name="T12" fmla="*/ 20 w 26"/>
              <a:gd name="T13" fmla="*/ 7 h 9"/>
              <a:gd name="T14" fmla="*/ 23 w 26"/>
              <a:gd name="T15" fmla="*/ 4 h 9"/>
              <a:gd name="T16" fmla="*/ 26 w 26"/>
              <a:gd name="T17" fmla="*/ 0 h 9"/>
              <a:gd name="T18" fmla="*/ 0 w 26"/>
              <a:gd name="T19" fmla="*/ 0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55" name="Freeform 57">
            <a:extLst>
              <a:ext uri="{FF2B5EF4-FFF2-40B4-BE49-F238E27FC236}">
                <a16:creationId xmlns:a16="http://schemas.microsoft.com/office/drawing/2014/main" id="{6BBD726E-894B-41D7-80F3-8E4E21371317}"/>
              </a:ext>
            </a:extLst>
          </p:cNvPr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5798285" y="3318759"/>
            <a:ext cx="15278" cy="57150"/>
          </a:xfrm>
          <a:custGeom>
            <a:avLst/>
            <a:gdLst>
              <a:gd name="T0" fmla="*/ 0 w 39"/>
              <a:gd name="T1" fmla="*/ 0 h 18"/>
              <a:gd name="T2" fmla="*/ 0 w 39"/>
              <a:gd name="T3" fmla="*/ 18 h 18"/>
              <a:gd name="T4" fmla="*/ 6 w 39"/>
              <a:gd name="T5" fmla="*/ 18 h 18"/>
              <a:gd name="T6" fmla="*/ 13 w 39"/>
              <a:gd name="T7" fmla="*/ 18 h 18"/>
              <a:gd name="T8" fmla="*/ 23 w 39"/>
              <a:gd name="T9" fmla="*/ 17 h 18"/>
              <a:gd name="T10" fmla="*/ 30 w 39"/>
              <a:gd name="T11" fmla="*/ 14 h 18"/>
              <a:gd name="T12" fmla="*/ 34 w 39"/>
              <a:gd name="T13" fmla="*/ 12 h 18"/>
              <a:gd name="T14" fmla="*/ 37 w 39"/>
              <a:gd name="T15" fmla="*/ 10 h 18"/>
              <a:gd name="T16" fmla="*/ 38 w 39"/>
              <a:gd name="T17" fmla="*/ 8 h 18"/>
              <a:gd name="T18" fmla="*/ 39 w 39"/>
              <a:gd name="T19" fmla="*/ 6 h 18"/>
              <a:gd name="T20" fmla="*/ 29 w 39"/>
              <a:gd name="T21" fmla="*/ 5 h 18"/>
              <a:gd name="T22" fmla="*/ 19 w 39"/>
              <a:gd name="T23" fmla="*/ 3 h 18"/>
              <a:gd name="T24" fmla="*/ 10 w 39"/>
              <a:gd name="T25" fmla="*/ 0 h 18"/>
              <a:gd name="T26" fmla="*/ 0 w 39"/>
              <a:gd name="T27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56" name="Group 58">
            <a:extLst>
              <a:ext uri="{FF2B5EF4-FFF2-40B4-BE49-F238E27FC236}">
                <a16:creationId xmlns:a16="http://schemas.microsoft.com/office/drawing/2014/main" id="{300C9DC2-2D61-4D61-825D-F240377E3A9F}"/>
              </a:ext>
            </a:extLst>
          </p:cNvPr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5918982" y="3152072"/>
            <a:ext cx="126809" cy="195262"/>
            <a:chOff x="1199" y="2121"/>
            <a:chExt cx="97" cy="123"/>
          </a:xfrm>
        </p:grpSpPr>
        <p:sp>
          <p:nvSpPr>
            <p:cNvPr id="57" name="Freeform 59">
              <a:extLst>
                <a:ext uri="{FF2B5EF4-FFF2-40B4-BE49-F238E27FC236}">
                  <a16:creationId xmlns:a16="http://schemas.microsoft.com/office/drawing/2014/main" id="{F3461F58-82DE-4DE6-AB2F-A8A29D0870C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25 h 25"/>
                <a:gd name="T2" fmla="*/ 7 w 52"/>
                <a:gd name="T3" fmla="*/ 25 h 25"/>
                <a:gd name="T4" fmla="*/ 15 w 52"/>
                <a:gd name="T5" fmla="*/ 24 h 25"/>
                <a:gd name="T6" fmla="*/ 23 w 52"/>
                <a:gd name="T7" fmla="*/ 22 h 25"/>
                <a:gd name="T8" fmla="*/ 30 w 52"/>
                <a:gd name="T9" fmla="*/ 19 h 25"/>
                <a:gd name="T10" fmla="*/ 38 w 52"/>
                <a:gd name="T11" fmla="*/ 15 h 25"/>
                <a:gd name="T12" fmla="*/ 43 w 52"/>
                <a:gd name="T13" fmla="*/ 11 h 25"/>
                <a:gd name="T14" fmla="*/ 49 w 52"/>
                <a:gd name="T15" fmla="*/ 6 h 25"/>
                <a:gd name="T16" fmla="*/ 52 w 52"/>
                <a:gd name="T17" fmla="*/ 0 h 25"/>
                <a:gd name="T18" fmla="*/ 40 w 52"/>
                <a:gd name="T19" fmla="*/ 0 h 25"/>
                <a:gd name="T20" fmla="*/ 31 w 52"/>
                <a:gd name="T21" fmla="*/ 0 h 25"/>
                <a:gd name="T22" fmla="*/ 23 w 52"/>
                <a:gd name="T23" fmla="*/ 1 h 25"/>
                <a:gd name="T24" fmla="*/ 16 w 52"/>
                <a:gd name="T25" fmla="*/ 3 h 25"/>
                <a:gd name="T26" fmla="*/ 11 w 52"/>
                <a:gd name="T27" fmla="*/ 6 h 25"/>
                <a:gd name="T28" fmla="*/ 5 w 52"/>
                <a:gd name="T29" fmla="*/ 10 h 25"/>
                <a:gd name="T30" fmla="*/ 2 w 52"/>
                <a:gd name="T31" fmla="*/ 16 h 25"/>
                <a:gd name="T32" fmla="*/ 0 w 52"/>
                <a:gd name="T3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8" name="Freeform 60">
              <a:extLst>
                <a:ext uri="{FF2B5EF4-FFF2-40B4-BE49-F238E27FC236}">
                  <a16:creationId xmlns:a16="http://schemas.microsoft.com/office/drawing/2014/main" id="{EBB66F18-63F1-4614-81BE-A74DEBBF3527}"/>
                </a:ext>
              </a:extLst>
            </p:cNvPr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6 h 13"/>
                <a:gd name="T4" fmla="*/ 0 w 33"/>
                <a:gd name="T5" fmla="*/ 13 h 13"/>
                <a:gd name="T6" fmla="*/ 9 w 33"/>
                <a:gd name="T7" fmla="*/ 13 h 13"/>
                <a:gd name="T8" fmla="*/ 16 w 33"/>
                <a:gd name="T9" fmla="*/ 13 h 13"/>
                <a:gd name="T10" fmla="*/ 24 w 33"/>
                <a:gd name="T11" fmla="*/ 11 h 13"/>
                <a:gd name="T12" fmla="*/ 33 w 33"/>
                <a:gd name="T13" fmla="*/ 6 h 13"/>
                <a:gd name="T14" fmla="*/ 24 w 33"/>
                <a:gd name="T15" fmla="*/ 3 h 13"/>
                <a:gd name="T16" fmla="*/ 16 w 33"/>
                <a:gd name="T17" fmla="*/ 1 h 13"/>
                <a:gd name="T18" fmla="*/ 9 w 33"/>
                <a:gd name="T19" fmla="*/ 0 h 13"/>
                <a:gd name="T20" fmla="*/ 0 w 33"/>
                <a:gd name="T21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9" name="Freeform 61">
              <a:extLst>
                <a:ext uri="{FF2B5EF4-FFF2-40B4-BE49-F238E27FC236}">
                  <a16:creationId xmlns:a16="http://schemas.microsoft.com/office/drawing/2014/main" id="{D9D85175-7A79-47F9-BC34-DA1725085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26 w 67"/>
                <a:gd name="T1" fmla="*/ 18 h 86"/>
                <a:gd name="T2" fmla="*/ 0 w 67"/>
                <a:gd name="T3" fmla="*/ 0 h 86"/>
                <a:gd name="T4" fmla="*/ 26 w 67"/>
                <a:gd name="T5" fmla="*/ 0 h 86"/>
                <a:gd name="T6" fmla="*/ 29 w 67"/>
                <a:gd name="T7" fmla="*/ 4 h 86"/>
                <a:gd name="T8" fmla="*/ 33 w 67"/>
                <a:gd name="T9" fmla="*/ 8 h 86"/>
                <a:gd name="T10" fmla="*/ 36 w 67"/>
                <a:gd name="T11" fmla="*/ 11 h 86"/>
                <a:gd name="T12" fmla="*/ 39 w 67"/>
                <a:gd name="T13" fmla="*/ 14 h 86"/>
                <a:gd name="T14" fmla="*/ 47 w 67"/>
                <a:gd name="T15" fmla="*/ 17 h 86"/>
                <a:gd name="T16" fmla="*/ 54 w 67"/>
                <a:gd name="T17" fmla="*/ 18 h 86"/>
                <a:gd name="T18" fmla="*/ 58 w 67"/>
                <a:gd name="T19" fmla="*/ 30 h 86"/>
                <a:gd name="T20" fmla="*/ 62 w 67"/>
                <a:gd name="T21" fmla="*/ 40 h 86"/>
                <a:gd name="T22" fmla="*/ 63 w 67"/>
                <a:gd name="T23" fmla="*/ 45 h 86"/>
                <a:gd name="T24" fmla="*/ 66 w 67"/>
                <a:gd name="T25" fmla="*/ 50 h 86"/>
                <a:gd name="T26" fmla="*/ 66 w 67"/>
                <a:gd name="T27" fmla="*/ 55 h 86"/>
                <a:gd name="T28" fmla="*/ 67 w 67"/>
                <a:gd name="T29" fmla="*/ 61 h 86"/>
                <a:gd name="T30" fmla="*/ 63 w 67"/>
                <a:gd name="T31" fmla="*/ 74 h 86"/>
                <a:gd name="T32" fmla="*/ 60 w 67"/>
                <a:gd name="T33" fmla="*/ 86 h 86"/>
                <a:gd name="T34" fmla="*/ 55 w 67"/>
                <a:gd name="T35" fmla="*/ 69 h 86"/>
                <a:gd name="T36" fmla="*/ 51 w 67"/>
                <a:gd name="T37" fmla="*/ 54 h 86"/>
                <a:gd name="T38" fmla="*/ 50 w 67"/>
                <a:gd name="T39" fmla="*/ 47 h 86"/>
                <a:gd name="T40" fmla="*/ 50 w 67"/>
                <a:gd name="T41" fmla="*/ 41 h 86"/>
                <a:gd name="T42" fmla="*/ 51 w 67"/>
                <a:gd name="T43" fmla="*/ 35 h 86"/>
                <a:gd name="T44" fmla="*/ 54 w 67"/>
                <a:gd name="T45" fmla="*/ 30 h 86"/>
                <a:gd name="T46" fmla="*/ 44 w 67"/>
                <a:gd name="T47" fmla="*/ 30 h 86"/>
                <a:gd name="T48" fmla="*/ 35 w 67"/>
                <a:gd name="T49" fmla="*/ 29 h 86"/>
                <a:gd name="T50" fmla="*/ 32 w 67"/>
                <a:gd name="T51" fmla="*/ 27 h 86"/>
                <a:gd name="T52" fmla="*/ 28 w 67"/>
                <a:gd name="T53" fmla="*/ 25 h 86"/>
                <a:gd name="T54" fmla="*/ 27 w 67"/>
                <a:gd name="T55" fmla="*/ 22 h 86"/>
                <a:gd name="T56" fmla="*/ 26 w 67"/>
                <a:gd name="T57" fmla="*/ 18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0" name="Freeform 62">
              <a:extLst>
                <a:ext uri="{FF2B5EF4-FFF2-40B4-BE49-F238E27FC236}">
                  <a16:creationId xmlns:a16="http://schemas.microsoft.com/office/drawing/2014/main" id="{9EDC2629-A06D-4923-9093-A0958C13DB66}"/>
                </a:ext>
              </a:extLst>
            </p:cNvPr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27 w 49"/>
                <a:gd name="T1" fmla="*/ 12 h 86"/>
                <a:gd name="T2" fmla="*/ 20 w 49"/>
                <a:gd name="T3" fmla="*/ 6 h 86"/>
                <a:gd name="T4" fmla="*/ 14 w 49"/>
                <a:gd name="T5" fmla="*/ 0 h 86"/>
                <a:gd name="T6" fmla="*/ 9 w 49"/>
                <a:gd name="T7" fmla="*/ 5 h 86"/>
                <a:gd name="T8" fmla="*/ 5 w 49"/>
                <a:gd name="T9" fmla="*/ 13 h 86"/>
                <a:gd name="T10" fmla="*/ 1 w 49"/>
                <a:gd name="T11" fmla="*/ 21 h 86"/>
                <a:gd name="T12" fmla="*/ 0 w 49"/>
                <a:gd name="T13" fmla="*/ 30 h 86"/>
                <a:gd name="T14" fmla="*/ 0 w 49"/>
                <a:gd name="T15" fmla="*/ 36 h 86"/>
                <a:gd name="T16" fmla="*/ 3 w 49"/>
                <a:gd name="T17" fmla="*/ 43 h 86"/>
                <a:gd name="T18" fmla="*/ 5 w 49"/>
                <a:gd name="T19" fmla="*/ 50 h 86"/>
                <a:gd name="T20" fmla="*/ 8 w 49"/>
                <a:gd name="T21" fmla="*/ 58 h 86"/>
                <a:gd name="T22" fmla="*/ 12 w 49"/>
                <a:gd name="T23" fmla="*/ 66 h 86"/>
                <a:gd name="T24" fmla="*/ 17 w 49"/>
                <a:gd name="T25" fmla="*/ 74 h 86"/>
                <a:gd name="T26" fmla="*/ 22 w 49"/>
                <a:gd name="T27" fmla="*/ 80 h 86"/>
                <a:gd name="T28" fmla="*/ 27 w 49"/>
                <a:gd name="T29" fmla="*/ 86 h 86"/>
                <a:gd name="T30" fmla="*/ 31 w 49"/>
                <a:gd name="T31" fmla="*/ 79 h 86"/>
                <a:gd name="T32" fmla="*/ 37 w 49"/>
                <a:gd name="T33" fmla="*/ 69 h 86"/>
                <a:gd name="T34" fmla="*/ 42 w 49"/>
                <a:gd name="T35" fmla="*/ 57 h 86"/>
                <a:gd name="T36" fmla="*/ 46 w 49"/>
                <a:gd name="T37" fmla="*/ 45 h 86"/>
                <a:gd name="T38" fmla="*/ 49 w 49"/>
                <a:gd name="T39" fmla="*/ 39 h 86"/>
                <a:gd name="T40" fmla="*/ 49 w 49"/>
                <a:gd name="T41" fmla="*/ 33 h 86"/>
                <a:gd name="T42" fmla="*/ 49 w 49"/>
                <a:gd name="T43" fmla="*/ 26 h 86"/>
                <a:gd name="T44" fmla="*/ 48 w 49"/>
                <a:gd name="T45" fmla="*/ 22 h 86"/>
                <a:gd name="T46" fmla="*/ 44 w 49"/>
                <a:gd name="T47" fmla="*/ 18 h 86"/>
                <a:gd name="T48" fmla="*/ 40 w 49"/>
                <a:gd name="T49" fmla="*/ 15 h 86"/>
                <a:gd name="T50" fmla="*/ 34 w 49"/>
                <a:gd name="T51" fmla="*/ 13 h 86"/>
                <a:gd name="T52" fmla="*/ 27 w 49"/>
                <a:gd name="T53" fmla="*/ 12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1" name="Freeform 63">
              <a:extLst>
                <a:ext uri="{FF2B5EF4-FFF2-40B4-BE49-F238E27FC236}">
                  <a16:creationId xmlns:a16="http://schemas.microsoft.com/office/drawing/2014/main" id="{F8C35ADE-485B-46E4-8691-7BFE31DD27C5}"/>
                </a:ext>
              </a:extLst>
            </p:cNvPr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12 h 12"/>
                <a:gd name="T2" fmla="*/ 6 w 6"/>
                <a:gd name="T3" fmla="*/ 0 h 12"/>
                <a:gd name="T4" fmla="*/ 4 w 6"/>
                <a:gd name="T5" fmla="*/ 0 h 12"/>
                <a:gd name="T6" fmla="*/ 2 w 6"/>
                <a:gd name="T7" fmla="*/ 2 h 12"/>
                <a:gd name="T8" fmla="*/ 1 w 6"/>
                <a:gd name="T9" fmla="*/ 4 h 12"/>
                <a:gd name="T10" fmla="*/ 0 w 6"/>
                <a:gd name="T11" fmla="*/ 6 h 12"/>
                <a:gd name="T12" fmla="*/ 0 w 6"/>
                <a:gd name="T13" fmla="*/ 10 h 12"/>
                <a:gd name="T14" fmla="*/ 0 w 6"/>
                <a:gd name="T1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2" name="Freeform 64">
              <a:extLst>
                <a:ext uri="{FF2B5EF4-FFF2-40B4-BE49-F238E27FC236}">
                  <a16:creationId xmlns:a16="http://schemas.microsoft.com/office/drawing/2014/main" id="{EC9763FE-FC2B-4081-8250-2206A8BE6FB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11 w 39"/>
                <a:gd name="T3" fmla="*/ 9 h 48"/>
                <a:gd name="T4" fmla="*/ 22 w 39"/>
                <a:gd name="T5" fmla="*/ 17 h 48"/>
                <a:gd name="T6" fmla="*/ 32 w 39"/>
                <a:gd name="T7" fmla="*/ 24 h 48"/>
                <a:gd name="T8" fmla="*/ 39 w 39"/>
                <a:gd name="T9" fmla="*/ 30 h 48"/>
                <a:gd name="T10" fmla="*/ 36 w 39"/>
                <a:gd name="T11" fmla="*/ 39 h 48"/>
                <a:gd name="T12" fmla="*/ 33 w 39"/>
                <a:gd name="T13" fmla="*/ 48 h 48"/>
                <a:gd name="T14" fmla="*/ 18 w 39"/>
                <a:gd name="T15" fmla="*/ 36 h 48"/>
                <a:gd name="T16" fmla="*/ 8 w 39"/>
                <a:gd name="T17" fmla="*/ 26 h 48"/>
                <a:gd name="T18" fmla="*/ 4 w 39"/>
                <a:gd name="T19" fmla="*/ 21 h 48"/>
                <a:gd name="T20" fmla="*/ 2 w 39"/>
                <a:gd name="T21" fmla="*/ 15 h 48"/>
                <a:gd name="T22" fmla="*/ 0 w 39"/>
                <a:gd name="T23" fmla="*/ 8 h 48"/>
                <a:gd name="T24" fmla="*/ 0 w 39"/>
                <a:gd name="T25" fmla="*/ 0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3" name="Freeform 65">
              <a:extLst>
                <a:ext uri="{FF2B5EF4-FFF2-40B4-BE49-F238E27FC236}">
                  <a16:creationId xmlns:a16="http://schemas.microsoft.com/office/drawing/2014/main" id="{365ED6EC-D3D3-4B6D-BA49-F7F1E97D65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7 w 16"/>
                <a:gd name="T1" fmla="*/ 0 h 43"/>
                <a:gd name="T2" fmla="*/ 11 w 16"/>
                <a:gd name="T3" fmla="*/ 9 h 43"/>
                <a:gd name="T4" fmla="*/ 15 w 16"/>
                <a:gd name="T5" fmla="*/ 16 h 43"/>
                <a:gd name="T6" fmla="*/ 16 w 16"/>
                <a:gd name="T7" fmla="*/ 22 h 43"/>
                <a:gd name="T8" fmla="*/ 16 w 16"/>
                <a:gd name="T9" fmla="*/ 27 h 43"/>
                <a:gd name="T10" fmla="*/ 15 w 16"/>
                <a:gd name="T11" fmla="*/ 31 h 43"/>
                <a:gd name="T12" fmla="*/ 11 w 16"/>
                <a:gd name="T13" fmla="*/ 35 h 43"/>
                <a:gd name="T14" fmla="*/ 7 w 16"/>
                <a:gd name="T15" fmla="*/ 39 h 43"/>
                <a:gd name="T16" fmla="*/ 0 w 16"/>
                <a:gd name="T17" fmla="*/ 43 h 43"/>
                <a:gd name="T18" fmla="*/ 2 w 16"/>
                <a:gd name="T19" fmla="*/ 28 h 43"/>
                <a:gd name="T20" fmla="*/ 4 w 16"/>
                <a:gd name="T21" fmla="*/ 18 h 43"/>
                <a:gd name="T22" fmla="*/ 6 w 16"/>
                <a:gd name="T23" fmla="*/ 9 h 43"/>
                <a:gd name="T24" fmla="*/ 7 w 16"/>
                <a:gd name="T25" fmla="*/ 0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4" name="Freeform 66">
              <a:extLst>
                <a:ext uri="{FF2B5EF4-FFF2-40B4-BE49-F238E27FC236}">
                  <a16:creationId xmlns:a16="http://schemas.microsoft.com/office/drawing/2014/main" id="{6FCF4205-C9AB-4BB4-8E1E-4F1F3357B523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24 w 24"/>
                <a:gd name="T1" fmla="*/ 36 h 37"/>
                <a:gd name="T2" fmla="*/ 19 w 24"/>
                <a:gd name="T3" fmla="*/ 27 h 37"/>
                <a:gd name="T4" fmla="*/ 15 w 24"/>
                <a:gd name="T5" fmla="*/ 18 h 37"/>
                <a:gd name="T6" fmla="*/ 12 w 24"/>
                <a:gd name="T7" fmla="*/ 9 h 37"/>
                <a:gd name="T8" fmla="*/ 11 w 24"/>
                <a:gd name="T9" fmla="*/ 0 h 37"/>
                <a:gd name="T10" fmla="*/ 6 w 24"/>
                <a:gd name="T11" fmla="*/ 10 h 37"/>
                <a:gd name="T12" fmla="*/ 3 w 24"/>
                <a:gd name="T13" fmla="*/ 19 h 37"/>
                <a:gd name="T14" fmla="*/ 1 w 24"/>
                <a:gd name="T15" fmla="*/ 26 h 37"/>
                <a:gd name="T16" fmla="*/ 0 w 24"/>
                <a:gd name="T17" fmla="*/ 31 h 37"/>
                <a:gd name="T18" fmla="*/ 1 w 24"/>
                <a:gd name="T19" fmla="*/ 33 h 37"/>
                <a:gd name="T20" fmla="*/ 2 w 24"/>
                <a:gd name="T21" fmla="*/ 35 h 37"/>
                <a:gd name="T22" fmla="*/ 4 w 24"/>
                <a:gd name="T23" fmla="*/ 36 h 37"/>
                <a:gd name="T24" fmla="*/ 6 w 24"/>
                <a:gd name="T25" fmla="*/ 37 h 37"/>
                <a:gd name="T26" fmla="*/ 14 w 24"/>
                <a:gd name="T27" fmla="*/ 37 h 37"/>
                <a:gd name="T28" fmla="*/ 24 w 24"/>
                <a:gd name="T29" fmla="*/ 3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5" name="Freeform 67">
              <a:extLst>
                <a:ext uri="{FF2B5EF4-FFF2-40B4-BE49-F238E27FC236}">
                  <a16:creationId xmlns:a16="http://schemas.microsoft.com/office/drawing/2014/main" id="{E07ADFF2-8243-46B8-9915-B504C1506CF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34 w 34"/>
                <a:gd name="T1" fmla="*/ 0 h 55"/>
                <a:gd name="T2" fmla="*/ 34 w 34"/>
                <a:gd name="T3" fmla="*/ 13 h 55"/>
                <a:gd name="T4" fmla="*/ 34 w 34"/>
                <a:gd name="T5" fmla="*/ 25 h 55"/>
                <a:gd name="T6" fmla="*/ 33 w 34"/>
                <a:gd name="T7" fmla="*/ 32 h 55"/>
                <a:gd name="T8" fmla="*/ 31 w 34"/>
                <a:gd name="T9" fmla="*/ 38 h 55"/>
                <a:gd name="T10" fmla="*/ 29 w 34"/>
                <a:gd name="T11" fmla="*/ 43 h 55"/>
                <a:gd name="T12" fmla="*/ 24 w 34"/>
                <a:gd name="T13" fmla="*/ 47 h 55"/>
                <a:gd name="T14" fmla="*/ 20 w 34"/>
                <a:gd name="T15" fmla="*/ 51 h 55"/>
                <a:gd name="T16" fmla="*/ 14 w 34"/>
                <a:gd name="T17" fmla="*/ 53 h 55"/>
                <a:gd name="T18" fmla="*/ 8 w 34"/>
                <a:gd name="T19" fmla="*/ 55 h 55"/>
                <a:gd name="T20" fmla="*/ 0 w 34"/>
                <a:gd name="T21" fmla="*/ 55 h 55"/>
                <a:gd name="T22" fmla="*/ 9 w 34"/>
                <a:gd name="T23" fmla="*/ 36 h 55"/>
                <a:gd name="T24" fmla="*/ 14 w 34"/>
                <a:gd name="T25" fmla="*/ 21 h 55"/>
                <a:gd name="T26" fmla="*/ 18 w 34"/>
                <a:gd name="T27" fmla="*/ 16 h 55"/>
                <a:gd name="T28" fmla="*/ 22 w 34"/>
                <a:gd name="T29" fmla="*/ 10 h 55"/>
                <a:gd name="T30" fmla="*/ 28 w 34"/>
                <a:gd name="T31" fmla="*/ 5 h 55"/>
                <a:gd name="T32" fmla="*/ 34 w 34"/>
                <a:gd name="T33" fmla="*/ 0 h 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6" name="Freeform 68">
              <a:extLst>
                <a:ext uri="{FF2B5EF4-FFF2-40B4-BE49-F238E27FC236}">
                  <a16:creationId xmlns:a16="http://schemas.microsoft.com/office/drawing/2014/main" id="{5A92C4DF-26BF-4CFE-911F-2C94BCC86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2 w 33"/>
                <a:gd name="T3" fmla="*/ 4 h 12"/>
                <a:gd name="T4" fmla="*/ 6 w 33"/>
                <a:gd name="T5" fmla="*/ 7 h 12"/>
                <a:gd name="T6" fmla="*/ 10 w 33"/>
                <a:gd name="T7" fmla="*/ 9 h 12"/>
                <a:gd name="T8" fmla="*/ 14 w 33"/>
                <a:gd name="T9" fmla="*/ 11 h 12"/>
                <a:gd name="T10" fmla="*/ 23 w 33"/>
                <a:gd name="T11" fmla="*/ 12 h 12"/>
                <a:gd name="T12" fmla="*/ 33 w 33"/>
                <a:gd name="T13" fmla="*/ 12 h 12"/>
                <a:gd name="T14" fmla="*/ 28 w 33"/>
                <a:gd name="T15" fmla="*/ 8 h 12"/>
                <a:gd name="T16" fmla="*/ 19 w 33"/>
                <a:gd name="T17" fmla="*/ 4 h 12"/>
                <a:gd name="T18" fmla="*/ 10 w 33"/>
                <a:gd name="T19" fmla="*/ 1 h 12"/>
                <a:gd name="T20" fmla="*/ 0 w 33"/>
                <a:gd name="T21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67" name="Freeform 69">
            <a:extLst>
              <a:ext uri="{FF2B5EF4-FFF2-40B4-BE49-F238E27FC236}">
                <a16:creationId xmlns:a16="http://schemas.microsoft.com/office/drawing/2014/main" id="{5BCAB059-02AB-438C-BDF5-BEB69F9A4438}"/>
              </a:ext>
            </a:extLst>
          </p:cNvPr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11513826" y="4579234"/>
            <a:ext cx="12222" cy="57150"/>
          </a:xfrm>
          <a:custGeom>
            <a:avLst/>
            <a:gdLst>
              <a:gd name="T0" fmla="*/ 0 w 33"/>
              <a:gd name="T1" fmla="*/ 62 h 62"/>
              <a:gd name="T2" fmla="*/ 0 w 33"/>
              <a:gd name="T3" fmla="*/ 53 h 62"/>
              <a:gd name="T4" fmla="*/ 0 w 33"/>
              <a:gd name="T5" fmla="*/ 45 h 62"/>
              <a:gd name="T6" fmla="*/ 0 w 33"/>
              <a:gd name="T7" fmla="*/ 37 h 62"/>
              <a:gd name="T8" fmla="*/ 0 w 33"/>
              <a:gd name="T9" fmla="*/ 31 h 62"/>
              <a:gd name="T10" fmla="*/ 0 w 33"/>
              <a:gd name="T11" fmla="*/ 26 h 62"/>
              <a:gd name="T12" fmla="*/ 2 w 33"/>
              <a:gd name="T13" fmla="*/ 22 h 62"/>
              <a:gd name="T14" fmla="*/ 4 w 33"/>
              <a:gd name="T15" fmla="*/ 17 h 62"/>
              <a:gd name="T16" fmla="*/ 8 w 33"/>
              <a:gd name="T17" fmla="*/ 13 h 62"/>
              <a:gd name="T18" fmla="*/ 14 w 33"/>
              <a:gd name="T19" fmla="*/ 6 h 62"/>
              <a:gd name="T20" fmla="*/ 20 w 33"/>
              <a:gd name="T21" fmla="*/ 0 h 62"/>
              <a:gd name="T22" fmla="*/ 26 w 33"/>
              <a:gd name="T23" fmla="*/ 6 h 62"/>
              <a:gd name="T24" fmla="*/ 33 w 33"/>
              <a:gd name="T25" fmla="*/ 13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68" name="Freeform 70">
            <a:extLst>
              <a:ext uri="{FF2B5EF4-FFF2-40B4-BE49-F238E27FC236}">
                <a16:creationId xmlns:a16="http://schemas.microsoft.com/office/drawing/2014/main" id="{83CF52AE-1294-4B61-BE5D-8CE22F78370F}"/>
              </a:ext>
            </a:extLst>
          </p:cNvPr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11522994" y="4669723"/>
            <a:ext cx="9167" cy="58737"/>
          </a:xfrm>
          <a:custGeom>
            <a:avLst/>
            <a:gdLst>
              <a:gd name="T0" fmla="*/ 0 w 26"/>
              <a:gd name="T1" fmla="*/ 18 h 18"/>
              <a:gd name="T2" fmla="*/ 0 w 26"/>
              <a:gd name="T3" fmla="*/ 0 h 18"/>
              <a:gd name="T4" fmla="*/ 26 w 26"/>
              <a:gd name="T5" fmla="*/ 0 h 18"/>
              <a:gd name="T6" fmla="*/ 6 w 26"/>
              <a:gd name="T7" fmla="*/ 12 h 18"/>
              <a:gd name="T8" fmla="*/ 6 w 26"/>
              <a:gd name="T9" fmla="*/ 6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69" name="Freeform 71">
            <a:extLst>
              <a:ext uri="{FF2B5EF4-FFF2-40B4-BE49-F238E27FC236}">
                <a16:creationId xmlns:a16="http://schemas.microsoft.com/office/drawing/2014/main" id="{62036FA5-68EB-4BF6-968E-81DB0FA6081E}"/>
              </a:ext>
            </a:extLst>
          </p:cNvPr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11632996" y="4579235"/>
            <a:ext cx="74863" cy="130175"/>
          </a:xfrm>
          <a:custGeom>
            <a:avLst/>
            <a:gdLst>
              <a:gd name="T0" fmla="*/ 180 w 180"/>
              <a:gd name="T1" fmla="*/ 222 h 240"/>
              <a:gd name="T2" fmla="*/ 175 w 180"/>
              <a:gd name="T3" fmla="*/ 223 h 240"/>
              <a:gd name="T4" fmla="*/ 171 w 180"/>
              <a:gd name="T5" fmla="*/ 223 h 240"/>
              <a:gd name="T6" fmla="*/ 167 w 180"/>
              <a:gd name="T7" fmla="*/ 225 h 240"/>
              <a:gd name="T8" fmla="*/ 164 w 180"/>
              <a:gd name="T9" fmla="*/ 227 h 240"/>
              <a:gd name="T10" fmla="*/ 158 w 180"/>
              <a:gd name="T11" fmla="*/ 232 h 240"/>
              <a:gd name="T12" fmla="*/ 153 w 180"/>
              <a:gd name="T13" fmla="*/ 240 h 240"/>
              <a:gd name="T14" fmla="*/ 140 w 180"/>
              <a:gd name="T15" fmla="*/ 232 h 240"/>
              <a:gd name="T16" fmla="*/ 131 w 180"/>
              <a:gd name="T17" fmla="*/ 223 h 240"/>
              <a:gd name="T18" fmla="*/ 123 w 180"/>
              <a:gd name="T19" fmla="*/ 214 h 240"/>
              <a:gd name="T20" fmla="*/ 118 w 180"/>
              <a:gd name="T21" fmla="*/ 206 h 240"/>
              <a:gd name="T22" fmla="*/ 112 w 180"/>
              <a:gd name="T23" fmla="*/ 195 h 240"/>
              <a:gd name="T24" fmla="*/ 106 w 180"/>
              <a:gd name="T25" fmla="*/ 185 h 240"/>
              <a:gd name="T26" fmla="*/ 98 w 180"/>
              <a:gd name="T27" fmla="*/ 174 h 240"/>
              <a:gd name="T28" fmla="*/ 87 w 180"/>
              <a:gd name="T29" fmla="*/ 161 h 240"/>
              <a:gd name="T30" fmla="*/ 82 w 180"/>
              <a:gd name="T31" fmla="*/ 153 h 240"/>
              <a:gd name="T32" fmla="*/ 75 w 180"/>
              <a:gd name="T33" fmla="*/ 146 h 240"/>
              <a:gd name="T34" fmla="*/ 70 w 180"/>
              <a:gd name="T35" fmla="*/ 139 h 240"/>
              <a:gd name="T36" fmla="*/ 62 w 180"/>
              <a:gd name="T37" fmla="*/ 133 h 240"/>
              <a:gd name="T38" fmla="*/ 48 w 180"/>
              <a:gd name="T39" fmla="*/ 121 h 240"/>
              <a:gd name="T40" fmla="*/ 33 w 180"/>
              <a:gd name="T41" fmla="*/ 110 h 240"/>
              <a:gd name="T42" fmla="*/ 27 w 180"/>
              <a:gd name="T43" fmla="*/ 104 h 240"/>
              <a:gd name="T44" fmla="*/ 21 w 180"/>
              <a:gd name="T45" fmla="*/ 98 h 240"/>
              <a:gd name="T46" fmla="*/ 15 w 180"/>
              <a:gd name="T47" fmla="*/ 92 h 240"/>
              <a:gd name="T48" fmla="*/ 10 w 180"/>
              <a:gd name="T49" fmla="*/ 84 h 240"/>
              <a:gd name="T50" fmla="*/ 6 w 180"/>
              <a:gd name="T51" fmla="*/ 77 h 240"/>
              <a:gd name="T52" fmla="*/ 4 w 180"/>
              <a:gd name="T53" fmla="*/ 68 h 240"/>
              <a:gd name="T54" fmla="*/ 1 w 180"/>
              <a:gd name="T55" fmla="*/ 60 h 240"/>
              <a:gd name="T56" fmla="*/ 0 w 180"/>
              <a:gd name="T57" fmla="*/ 50 h 240"/>
              <a:gd name="T58" fmla="*/ 0 w 180"/>
              <a:gd name="T59" fmla="*/ 35 h 240"/>
              <a:gd name="T60" fmla="*/ 0 w 180"/>
              <a:gd name="T61" fmla="*/ 25 h 240"/>
              <a:gd name="T62" fmla="*/ 0 w 180"/>
              <a:gd name="T63" fmla="*/ 15 h 240"/>
              <a:gd name="T64" fmla="*/ 0 w 180"/>
              <a:gd name="T65" fmla="*/ 0 h 240"/>
              <a:gd name="T66" fmla="*/ 10 w 180"/>
              <a:gd name="T67" fmla="*/ 8 h 240"/>
              <a:gd name="T68" fmla="*/ 19 w 180"/>
              <a:gd name="T69" fmla="*/ 17 h 240"/>
              <a:gd name="T70" fmla="*/ 27 w 180"/>
              <a:gd name="T71" fmla="*/ 27 h 240"/>
              <a:gd name="T72" fmla="*/ 34 w 180"/>
              <a:gd name="T73" fmla="*/ 38 h 240"/>
              <a:gd name="T74" fmla="*/ 41 w 180"/>
              <a:gd name="T75" fmla="*/ 48 h 240"/>
              <a:gd name="T76" fmla="*/ 46 w 180"/>
              <a:gd name="T77" fmla="*/ 58 h 240"/>
              <a:gd name="T78" fmla="*/ 51 w 180"/>
              <a:gd name="T79" fmla="*/ 66 h 240"/>
              <a:gd name="T80" fmla="*/ 54 w 180"/>
              <a:gd name="T81" fmla="*/ 74 h 240"/>
              <a:gd name="T82" fmla="*/ 60 w 180"/>
              <a:gd name="T83" fmla="*/ 86 h 240"/>
              <a:gd name="T84" fmla="*/ 66 w 180"/>
              <a:gd name="T85" fmla="*/ 98 h 240"/>
              <a:gd name="T86" fmla="*/ 74 w 180"/>
              <a:gd name="T87" fmla="*/ 107 h 240"/>
              <a:gd name="T88" fmla="*/ 82 w 180"/>
              <a:gd name="T89" fmla="*/ 116 h 240"/>
              <a:gd name="T90" fmla="*/ 100 w 180"/>
              <a:gd name="T91" fmla="*/ 133 h 240"/>
              <a:gd name="T92" fmla="*/ 119 w 180"/>
              <a:gd name="T93" fmla="*/ 149 h 240"/>
              <a:gd name="T94" fmla="*/ 139 w 180"/>
              <a:gd name="T95" fmla="*/ 164 h 240"/>
              <a:gd name="T96" fmla="*/ 155 w 180"/>
              <a:gd name="T97" fmla="*/ 180 h 240"/>
              <a:gd name="T98" fmla="*/ 163 w 180"/>
              <a:gd name="T99" fmla="*/ 189 h 240"/>
              <a:gd name="T100" fmla="*/ 169 w 180"/>
              <a:gd name="T101" fmla="*/ 199 h 240"/>
              <a:gd name="T102" fmla="*/ 175 w 180"/>
              <a:gd name="T103" fmla="*/ 210 h 240"/>
              <a:gd name="T104" fmla="*/ 180 w 180"/>
              <a:gd name="T105" fmla="*/ 222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0" name="Freeform 72">
            <a:extLst>
              <a:ext uri="{FF2B5EF4-FFF2-40B4-BE49-F238E27FC236}">
                <a16:creationId xmlns:a16="http://schemas.microsoft.com/office/drawing/2014/main" id="{F12E51F2-54AE-41AC-ACB2-F2F0F9769D56}"/>
              </a:ext>
            </a:extLst>
          </p:cNvPr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11632996" y="4552247"/>
            <a:ext cx="13751" cy="57150"/>
          </a:xfrm>
          <a:custGeom>
            <a:avLst/>
            <a:gdLst>
              <a:gd name="T0" fmla="*/ 0 w 27"/>
              <a:gd name="T1" fmla="*/ 0 h 30"/>
              <a:gd name="T2" fmla="*/ 1 w 27"/>
              <a:gd name="T3" fmla="*/ 5 h 30"/>
              <a:gd name="T4" fmla="*/ 3 w 27"/>
              <a:gd name="T5" fmla="*/ 11 h 30"/>
              <a:gd name="T6" fmla="*/ 4 w 27"/>
              <a:gd name="T7" fmla="*/ 14 h 30"/>
              <a:gd name="T8" fmla="*/ 4 w 27"/>
              <a:gd name="T9" fmla="*/ 19 h 30"/>
              <a:gd name="T10" fmla="*/ 3 w 27"/>
              <a:gd name="T11" fmla="*/ 24 h 30"/>
              <a:gd name="T12" fmla="*/ 0 w 27"/>
              <a:gd name="T13" fmla="*/ 30 h 30"/>
              <a:gd name="T14" fmla="*/ 17 w 27"/>
              <a:gd name="T15" fmla="*/ 27 h 30"/>
              <a:gd name="T16" fmla="*/ 27 w 27"/>
              <a:gd name="T17" fmla="*/ 24 h 30"/>
              <a:gd name="T18" fmla="*/ 23 w 27"/>
              <a:gd name="T19" fmla="*/ 20 h 30"/>
              <a:gd name="T20" fmla="*/ 17 w 27"/>
              <a:gd name="T21" fmla="*/ 12 h 30"/>
              <a:gd name="T22" fmla="*/ 11 w 27"/>
              <a:gd name="T23" fmla="*/ 8 h 30"/>
              <a:gd name="T24" fmla="*/ 7 w 27"/>
              <a:gd name="T25" fmla="*/ 4 h 30"/>
              <a:gd name="T26" fmla="*/ 4 w 27"/>
              <a:gd name="T27" fmla="*/ 1 h 30"/>
              <a:gd name="T28" fmla="*/ 0 w 27"/>
              <a:gd name="T29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5" name="Freeform 77">
            <a:extLst>
              <a:ext uri="{FF2B5EF4-FFF2-40B4-BE49-F238E27FC236}">
                <a16:creationId xmlns:a16="http://schemas.microsoft.com/office/drawing/2014/main" id="{5338EE77-10F6-4DF8-8990-8931EAEB6733}"/>
              </a:ext>
            </a:extLst>
          </p:cNvPr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10991316" y="3729922"/>
            <a:ext cx="9167" cy="57150"/>
          </a:xfrm>
          <a:custGeom>
            <a:avLst/>
            <a:gdLst>
              <a:gd name="T0" fmla="*/ 0 w 21"/>
              <a:gd name="T1" fmla="*/ 43 h 62"/>
              <a:gd name="T2" fmla="*/ 1 w 21"/>
              <a:gd name="T3" fmla="*/ 29 h 62"/>
              <a:gd name="T4" fmla="*/ 3 w 21"/>
              <a:gd name="T5" fmla="*/ 17 h 62"/>
              <a:gd name="T6" fmla="*/ 4 w 21"/>
              <a:gd name="T7" fmla="*/ 11 h 62"/>
              <a:gd name="T8" fmla="*/ 6 w 21"/>
              <a:gd name="T9" fmla="*/ 7 h 62"/>
              <a:gd name="T10" fmla="*/ 9 w 21"/>
              <a:gd name="T11" fmla="*/ 3 h 62"/>
              <a:gd name="T12" fmla="*/ 15 w 21"/>
              <a:gd name="T13" fmla="*/ 0 h 62"/>
              <a:gd name="T14" fmla="*/ 15 w 21"/>
              <a:gd name="T15" fmla="*/ 15 h 62"/>
              <a:gd name="T16" fmla="*/ 18 w 21"/>
              <a:gd name="T17" fmla="*/ 31 h 62"/>
              <a:gd name="T18" fmla="*/ 20 w 21"/>
              <a:gd name="T19" fmla="*/ 44 h 62"/>
              <a:gd name="T20" fmla="*/ 21 w 21"/>
              <a:gd name="T21" fmla="*/ 49 h 62"/>
              <a:gd name="T22" fmla="*/ 10 w 21"/>
              <a:gd name="T23" fmla="*/ 55 h 62"/>
              <a:gd name="T24" fmla="*/ 0 w 21"/>
              <a:gd name="T25" fmla="*/ 62 h 62"/>
              <a:gd name="T26" fmla="*/ 0 w 21"/>
              <a:gd name="T27" fmla="*/ 43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6" name="Freeform 78">
            <a:extLst>
              <a:ext uri="{FF2B5EF4-FFF2-40B4-BE49-F238E27FC236}">
                <a16:creationId xmlns:a16="http://schemas.microsoft.com/office/drawing/2014/main" id="{4372405D-7C93-4054-AD78-DFDB71F08254}"/>
              </a:ext>
            </a:extLst>
          </p:cNvPr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11691053" y="4631622"/>
            <a:ext cx="13751" cy="57150"/>
          </a:xfrm>
          <a:custGeom>
            <a:avLst/>
            <a:gdLst>
              <a:gd name="T0" fmla="*/ 0 w 33"/>
              <a:gd name="T1" fmla="*/ 0 h 24"/>
              <a:gd name="T2" fmla="*/ 5 w 33"/>
              <a:gd name="T3" fmla="*/ 5 h 24"/>
              <a:gd name="T4" fmla="*/ 10 w 33"/>
              <a:gd name="T5" fmla="*/ 10 h 24"/>
              <a:gd name="T6" fmla="*/ 11 w 33"/>
              <a:gd name="T7" fmla="*/ 13 h 24"/>
              <a:gd name="T8" fmla="*/ 12 w 33"/>
              <a:gd name="T9" fmla="*/ 16 h 24"/>
              <a:gd name="T10" fmla="*/ 13 w 33"/>
              <a:gd name="T11" fmla="*/ 20 h 24"/>
              <a:gd name="T12" fmla="*/ 13 w 33"/>
              <a:gd name="T13" fmla="*/ 24 h 24"/>
              <a:gd name="T14" fmla="*/ 33 w 33"/>
              <a:gd name="T15" fmla="*/ 0 h 24"/>
              <a:gd name="T16" fmla="*/ 24 w 33"/>
              <a:gd name="T17" fmla="*/ 0 h 24"/>
              <a:gd name="T18" fmla="*/ 16 w 33"/>
              <a:gd name="T19" fmla="*/ 0 h 24"/>
              <a:gd name="T20" fmla="*/ 9 w 33"/>
              <a:gd name="T21" fmla="*/ 0 h 24"/>
              <a:gd name="T22" fmla="*/ 0 w 33"/>
              <a:gd name="T23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7" name="Freeform 79">
            <a:extLst>
              <a:ext uri="{FF2B5EF4-FFF2-40B4-BE49-F238E27FC236}">
                <a16:creationId xmlns:a16="http://schemas.microsoft.com/office/drawing/2014/main" id="{C589BCD8-27FB-4BD5-81AC-4EBD8E7155BC}"/>
              </a:ext>
            </a:extLst>
          </p:cNvPr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11712443" y="4641148"/>
            <a:ext cx="16806" cy="58737"/>
          </a:xfrm>
          <a:custGeom>
            <a:avLst/>
            <a:gdLst>
              <a:gd name="T0" fmla="*/ 26 w 33"/>
              <a:gd name="T1" fmla="*/ 25 h 25"/>
              <a:gd name="T2" fmla="*/ 29 w 33"/>
              <a:gd name="T3" fmla="*/ 22 h 25"/>
              <a:gd name="T4" fmla="*/ 33 w 33"/>
              <a:gd name="T5" fmla="*/ 18 h 25"/>
              <a:gd name="T6" fmla="*/ 33 w 33"/>
              <a:gd name="T7" fmla="*/ 0 h 25"/>
              <a:gd name="T8" fmla="*/ 25 w 33"/>
              <a:gd name="T9" fmla="*/ 0 h 25"/>
              <a:gd name="T10" fmla="*/ 16 w 33"/>
              <a:gd name="T11" fmla="*/ 0 h 25"/>
              <a:gd name="T12" fmla="*/ 6 w 33"/>
              <a:gd name="T13" fmla="*/ 0 h 25"/>
              <a:gd name="T14" fmla="*/ 0 w 33"/>
              <a:gd name="T15" fmla="*/ 0 h 25"/>
              <a:gd name="T16" fmla="*/ 26 w 33"/>
              <a:gd name="T17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8" name="Freeform 80">
            <a:extLst>
              <a:ext uri="{FF2B5EF4-FFF2-40B4-BE49-F238E27FC236}">
                <a16:creationId xmlns:a16="http://schemas.microsoft.com/office/drawing/2014/main" id="{5370D862-F567-4044-8EB5-9D05BD4DF084}"/>
              </a:ext>
            </a:extLst>
          </p:cNvPr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11052427" y="3718810"/>
            <a:ext cx="1528" cy="55563"/>
          </a:xfrm>
          <a:custGeom>
            <a:avLst/>
            <a:gdLst>
              <a:gd name="T0" fmla="*/ 0 w 7"/>
              <a:gd name="T1" fmla="*/ 7 w 7"/>
              <a:gd name="T2" fmla="*/ 0 w 7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7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79" name="Freeform 81">
            <a:extLst>
              <a:ext uri="{FF2B5EF4-FFF2-40B4-BE49-F238E27FC236}">
                <a16:creationId xmlns:a16="http://schemas.microsoft.com/office/drawing/2014/main" id="{6F56EBBF-E11F-4EF5-870D-47764AD81A6A}"/>
              </a:ext>
            </a:extLst>
          </p:cNvPr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11108957" y="3663247"/>
            <a:ext cx="6111" cy="57150"/>
          </a:xfrm>
          <a:custGeom>
            <a:avLst/>
            <a:gdLst>
              <a:gd name="T0" fmla="*/ 16 w 16"/>
              <a:gd name="T1" fmla="*/ 0 h 25"/>
              <a:gd name="T2" fmla="*/ 16 w 16"/>
              <a:gd name="T3" fmla="*/ 6 h 25"/>
              <a:gd name="T4" fmla="*/ 14 w 16"/>
              <a:gd name="T5" fmla="*/ 13 h 25"/>
              <a:gd name="T6" fmla="*/ 13 w 16"/>
              <a:gd name="T7" fmla="*/ 16 h 25"/>
              <a:gd name="T8" fmla="*/ 11 w 16"/>
              <a:gd name="T9" fmla="*/ 20 h 25"/>
              <a:gd name="T10" fmla="*/ 7 w 16"/>
              <a:gd name="T11" fmla="*/ 23 h 25"/>
              <a:gd name="T12" fmla="*/ 3 w 16"/>
              <a:gd name="T13" fmla="*/ 25 h 25"/>
              <a:gd name="T14" fmla="*/ 1 w 16"/>
              <a:gd name="T15" fmla="*/ 24 h 25"/>
              <a:gd name="T16" fmla="*/ 0 w 16"/>
              <a:gd name="T17" fmla="*/ 21 h 25"/>
              <a:gd name="T18" fmla="*/ 1 w 16"/>
              <a:gd name="T19" fmla="*/ 18 h 25"/>
              <a:gd name="T20" fmla="*/ 2 w 16"/>
              <a:gd name="T21" fmla="*/ 13 h 25"/>
              <a:gd name="T22" fmla="*/ 4 w 16"/>
              <a:gd name="T23" fmla="*/ 9 h 25"/>
              <a:gd name="T24" fmla="*/ 7 w 16"/>
              <a:gd name="T25" fmla="*/ 4 h 25"/>
              <a:gd name="T26" fmla="*/ 11 w 16"/>
              <a:gd name="T27" fmla="*/ 1 h 25"/>
              <a:gd name="T28" fmla="*/ 16 w 16"/>
              <a:gd name="T29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0" name="Freeform 82">
            <a:extLst>
              <a:ext uri="{FF2B5EF4-FFF2-40B4-BE49-F238E27FC236}">
                <a16:creationId xmlns:a16="http://schemas.microsoft.com/office/drawing/2014/main" id="{2460BF9D-AEF9-4DA4-BC71-06DDC3390E86}"/>
              </a:ext>
            </a:extLst>
          </p:cNvPr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11217432" y="3552122"/>
            <a:ext cx="4584" cy="57150"/>
          </a:xfrm>
          <a:custGeom>
            <a:avLst/>
            <a:gdLst>
              <a:gd name="T0" fmla="*/ 0 w 14"/>
              <a:gd name="T1" fmla="*/ 0 h 18"/>
              <a:gd name="T2" fmla="*/ 3 w 14"/>
              <a:gd name="T3" fmla="*/ 1 h 18"/>
              <a:gd name="T4" fmla="*/ 5 w 14"/>
              <a:gd name="T5" fmla="*/ 2 h 18"/>
              <a:gd name="T6" fmla="*/ 7 w 14"/>
              <a:gd name="T7" fmla="*/ 4 h 18"/>
              <a:gd name="T8" fmla="*/ 9 w 14"/>
              <a:gd name="T9" fmla="*/ 7 h 18"/>
              <a:gd name="T10" fmla="*/ 13 w 14"/>
              <a:gd name="T11" fmla="*/ 13 h 18"/>
              <a:gd name="T12" fmla="*/ 14 w 14"/>
              <a:gd name="T13" fmla="*/ 18 h 18"/>
              <a:gd name="T14" fmla="*/ 0 w 14"/>
              <a:gd name="T15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1" name="Freeform 83">
            <a:extLst>
              <a:ext uri="{FF2B5EF4-FFF2-40B4-BE49-F238E27FC236}">
                <a16:creationId xmlns:a16="http://schemas.microsoft.com/office/drawing/2014/main" id="{7DCB689D-4E39-4FA7-83BB-4F0A06CB8547}"/>
              </a:ext>
            </a:extLst>
          </p:cNvPr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11364101" y="4250623"/>
            <a:ext cx="25973" cy="58737"/>
          </a:xfrm>
          <a:custGeom>
            <a:avLst/>
            <a:gdLst>
              <a:gd name="T0" fmla="*/ 0 w 67"/>
              <a:gd name="T1" fmla="*/ 0 h 74"/>
              <a:gd name="T2" fmla="*/ 1 w 67"/>
              <a:gd name="T3" fmla="*/ 17 h 74"/>
              <a:gd name="T4" fmla="*/ 3 w 67"/>
              <a:gd name="T5" fmla="*/ 30 h 74"/>
              <a:gd name="T6" fmla="*/ 7 w 67"/>
              <a:gd name="T7" fmla="*/ 41 h 74"/>
              <a:gd name="T8" fmla="*/ 12 w 67"/>
              <a:gd name="T9" fmla="*/ 50 h 74"/>
              <a:gd name="T10" fmla="*/ 17 w 67"/>
              <a:gd name="T11" fmla="*/ 58 h 74"/>
              <a:gd name="T12" fmla="*/ 23 w 67"/>
              <a:gd name="T13" fmla="*/ 64 h 74"/>
              <a:gd name="T14" fmla="*/ 28 w 67"/>
              <a:gd name="T15" fmla="*/ 69 h 74"/>
              <a:gd name="T16" fmla="*/ 33 w 67"/>
              <a:gd name="T17" fmla="*/ 74 h 74"/>
              <a:gd name="T18" fmla="*/ 44 w 67"/>
              <a:gd name="T19" fmla="*/ 65 h 74"/>
              <a:gd name="T20" fmla="*/ 55 w 67"/>
              <a:gd name="T21" fmla="*/ 55 h 74"/>
              <a:gd name="T22" fmla="*/ 59 w 67"/>
              <a:gd name="T23" fmla="*/ 49 h 74"/>
              <a:gd name="T24" fmla="*/ 63 w 67"/>
              <a:gd name="T25" fmla="*/ 43 h 74"/>
              <a:gd name="T26" fmla="*/ 66 w 67"/>
              <a:gd name="T27" fmla="*/ 37 h 74"/>
              <a:gd name="T28" fmla="*/ 67 w 67"/>
              <a:gd name="T29" fmla="*/ 30 h 74"/>
              <a:gd name="T30" fmla="*/ 67 w 67"/>
              <a:gd name="T31" fmla="*/ 25 h 74"/>
              <a:gd name="T32" fmla="*/ 67 w 67"/>
              <a:gd name="T33" fmla="*/ 18 h 74"/>
              <a:gd name="T34" fmla="*/ 67 w 67"/>
              <a:gd name="T35" fmla="*/ 9 h 74"/>
              <a:gd name="T36" fmla="*/ 67 w 67"/>
              <a:gd name="T37" fmla="*/ 0 h 74"/>
              <a:gd name="T38" fmla="*/ 48 w 67"/>
              <a:gd name="T39" fmla="*/ 0 h 74"/>
              <a:gd name="T40" fmla="*/ 33 w 67"/>
              <a:gd name="T41" fmla="*/ 0 h 74"/>
              <a:gd name="T42" fmla="*/ 17 w 67"/>
              <a:gd name="T43" fmla="*/ 0 h 74"/>
              <a:gd name="T44" fmla="*/ 0 w 67"/>
              <a:gd name="T45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2" name="Freeform 84">
            <a:extLst>
              <a:ext uri="{FF2B5EF4-FFF2-40B4-BE49-F238E27FC236}">
                <a16:creationId xmlns:a16="http://schemas.microsoft.com/office/drawing/2014/main" id="{50711A9E-54CB-4D61-A0CF-419EC2F8D2BA}"/>
              </a:ext>
            </a:extLst>
          </p:cNvPr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11425213" y="4264909"/>
            <a:ext cx="12222" cy="57150"/>
          </a:xfrm>
          <a:custGeom>
            <a:avLst/>
            <a:gdLst>
              <a:gd name="T0" fmla="*/ 0 w 34"/>
              <a:gd name="T1" fmla="*/ 0 h 38"/>
              <a:gd name="T2" fmla="*/ 2 w 34"/>
              <a:gd name="T3" fmla="*/ 3 h 38"/>
              <a:gd name="T4" fmla="*/ 4 w 34"/>
              <a:gd name="T5" fmla="*/ 7 h 38"/>
              <a:gd name="T6" fmla="*/ 5 w 34"/>
              <a:gd name="T7" fmla="*/ 11 h 38"/>
              <a:gd name="T8" fmla="*/ 6 w 34"/>
              <a:gd name="T9" fmla="*/ 16 h 38"/>
              <a:gd name="T10" fmla="*/ 10 w 34"/>
              <a:gd name="T11" fmla="*/ 28 h 38"/>
              <a:gd name="T12" fmla="*/ 13 w 34"/>
              <a:gd name="T13" fmla="*/ 38 h 38"/>
              <a:gd name="T14" fmla="*/ 16 w 34"/>
              <a:gd name="T15" fmla="*/ 37 h 38"/>
              <a:gd name="T16" fmla="*/ 20 w 34"/>
              <a:gd name="T17" fmla="*/ 36 h 38"/>
              <a:gd name="T18" fmla="*/ 23 w 34"/>
              <a:gd name="T19" fmla="*/ 34 h 38"/>
              <a:gd name="T20" fmla="*/ 26 w 34"/>
              <a:gd name="T21" fmla="*/ 31 h 38"/>
              <a:gd name="T22" fmla="*/ 28 w 34"/>
              <a:gd name="T23" fmla="*/ 28 h 38"/>
              <a:gd name="T24" fmla="*/ 32 w 34"/>
              <a:gd name="T25" fmla="*/ 24 h 38"/>
              <a:gd name="T26" fmla="*/ 33 w 34"/>
              <a:gd name="T27" fmla="*/ 21 h 38"/>
              <a:gd name="T28" fmla="*/ 34 w 34"/>
              <a:gd name="T29" fmla="*/ 19 h 38"/>
              <a:gd name="T30" fmla="*/ 31 w 34"/>
              <a:gd name="T31" fmla="*/ 18 h 38"/>
              <a:gd name="T32" fmla="*/ 28 w 34"/>
              <a:gd name="T33" fmla="*/ 17 h 38"/>
              <a:gd name="T34" fmla="*/ 26 w 34"/>
              <a:gd name="T35" fmla="*/ 14 h 38"/>
              <a:gd name="T36" fmla="*/ 24 w 34"/>
              <a:gd name="T37" fmla="*/ 12 h 38"/>
              <a:gd name="T38" fmla="*/ 19 w 34"/>
              <a:gd name="T39" fmla="*/ 6 h 38"/>
              <a:gd name="T40" fmla="*/ 13 w 34"/>
              <a:gd name="T41" fmla="*/ 0 h 38"/>
              <a:gd name="T42" fmla="*/ 6 w 34"/>
              <a:gd name="T43" fmla="*/ 0 h 38"/>
              <a:gd name="T44" fmla="*/ 0 w 34"/>
              <a:gd name="T45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3" name="Freeform 85">
            <a:extLst>
              <a:ext uri="{FF2B5EF4-FFF2-40B4-BE49-F238E27FC236}">
                <a16:creationId xmlns:a16="http://schemas.microsoft.com/office/drawing/2014/main" id="{07F92D7B-C45F-4481-8609-EB1230EBAA35}"/>
              </a:ext>
            </a:extLst>
          </p:cNvPr>
          <p:cNvSpPr>
            <a:spLocks/>
          </p:cNvSpPr>
          <p:nvPr>
            <p:custDataLst>
              <p:tags r:id="rId69"/>
            </p:custDataLst>
          </p:nvPr>
        </p:nvSpPr>
        <p:spPr bwMode="auto">
          <a:xfrm>
            <a:off x="11287710" y="4041072"/>
            <a:ext cx="24445" cy="55562"/>
          </a:xfrm>
          <a:custGeom>
            <a:avLst/>
            <a:gdLst>
              <a:gd name="T0" fmla="*/ 53 w 53"/>
              <a:gd name="T1" fmla="*/ 23 h 23"/>
              <a:gd name="T2" fmla="*/ 53 w 53"/>
              <a:gd name="T3" fmla="*/ 4 h 23"/>
              <a:gd name="T4" fmla="*/ 49 w 53"/>
              <a:gd name="T5" fmla="*/ 2 h 23"/>
              <a:gd name="T6" fmla="*/ 45 w 53"/>
              <a:gd name="T7" fmla="*/ 1 h 23"/>
              <a:gd name="T8" fmla="*/ 42 w 53"/>
              <a:gd name="T9" fmla="*/ 0 h 23"/>
              <a:gd name="T10" fmla="*/ 38 w 53"/>
              <a:gd name="T11" fmla="*/ 0 h 23"/>
              <a:gd name="T12" fmla="*/ 31 w 53"/>
              <a:gd name="T13" fmla="*/ 1 h 23"/>
              <a:gd name="T14" fmla="*/ 24 w 53"/>
              <a:gd name="T15" fmla="*/ 4 h 23"/>
              <a:gd name="T16" fmla="*/ 11 w 53"/>
              <a:gd name="T17" fmla="*/ 13 h 23"/>
              <a:gd name="T18" fmla="*/ 0 w 53"/>
              <a:gd name="T19" fmla="*/ 23 h 23"/>
              <a:gd name="T20" fmla="*/ 53 w 53"/>
              <a:gd name="T21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4" name="Freeform 86">
            <a:extLst>
              <a:ext uri="{FF2B5EF4-FFF2-40B4-BE49-F238E27FC236}">
                <a16:creationId xmlns:a16="http://schemas.microsoft.com/office/drawing/2014/main" id="{48E4DA34-572E-494D-B1DA-F09DF68FCF2D}"/>
              </a:ext>
            </a:extLst>
          </p:cNvPr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11232710" y="4015672"/>
            <a:ext cx="10695" cy="57150"/>
          </a:xfrm>
          <a:custGeom>
            <a:avLst/>
            <a:gdLst>
              <a:gd name="T0" fmla="*/ 0 w 26"/>
              <a:gd name="T1" fmla="*/ 0 h 12"/>
              <a:gd name="T2" fmla="*/ 4 w 26"/>
              <a:gd name="T3" fmla="*/ 4 h 12"/>
              <a:gd name="T4" fmla="*/ 11 w 26"/>
              <a:gd name="T5" fmla="*/ 8 h 12"/>
              <a:gd name="T6" fmla="*/ 14 w 26"/>
              <a:gd name="T7" fmla="*/ 9 h 12"/>
              <a:gd name="T8" fmla="*/ 18 w 26"/>
              <a:gd name="T9" fmla="*/ 11 h 12"/>
              <a:gd name="T10" fmla="*/ 22 w 26"/>
              <a:gd name="T11" fmla="*/ 11 h 12"/>
              <a:gd name="T12" fmla="*/ 26 w 26"/>
              <a:gd name="T13" fmla="*/ 12 h 12"/>
              <a:gd name="T14" fmla="*/ 21 w 26"/>
              <a:gd name="T15" fmla="*/ 7 h 12"/>
              <a:gd name="T16" fmla="*/ 13 w 26"/>
              <a:gd name="T17" fmla="*/ 3 h 12"/>
              <a:gd name="T18" fmla="*/ 5 w 26"/>
              <a:gd name="T19" fmla="*/ 1 h 12"/>
              <a:gd name="T20" fmla="*/ 0 w 26"/>
              <a:gd name="T21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5" name="Freeform 87">
            <a:extLst>
              <a:ext uri="{FF2B5EF4-FFF2-40B4-BE49-F238E27FC236}">
                <a16:creationId xmlns:a16="http://schemas.microsoft.com/office/drawing/2014/main" id="{402F7E26-D6B1-4A2A-8889-33B0BC596A88}"/>
              </a:ext>
            </a:extLst>
          </p:cNvPr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11425213" y="4347459"/>
            <a:ext cx="30556" cy="57150"/>
          </a:xfrm>
          <a:custGeom>
            <a:avLst/>
            <a:gdLst>
              <a:gd name="T0" fmla="*/ 0 w 73"/>
              <a:gd name="T1" fmla="*/ 20 w 73"/>
              <a:gd name="T2" fmla="*/ 37 w 73"/>
              <a:gd name="T3" fmla="*/ 55 w 73"/>
              <a:gd name="T4" fmla="*/ 73 w 73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  <a:cxn ang="0">
                <a:pos x="T3" y="0"/>
              </a:cxn>
              <a:cxn ang="0">
                <a:pos x="T4" y="0"/>
              </a:cxn>
            </a:cxnLst>
            <a:rect l="0" t="0" r="r" b="b"/>
            <a:pathLst>
              <a:path w="73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6" name="Freeform 88">
            <a:extLst>
              <a:ext uri="{FF2B5EF4-FFF2-40B4-BE49-F238E27FC236}">
                <a16:creationId xmlns:a16="http://schemas.microsoft.com/office/drawing/2014/main" id="{F44405CF-A56F-4270-8156-252143BE3C49}"/>
              </a:ext>
            </a:extLst>
          </p:cNvPr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11382436" y="4336347"/>
            <a:ext cx="21389" cy="57150"/>
          </a:xfrm>
          <a:custGeom>
            <a:avLst/>
            <a:gdLst>
              <a:gd name="T0" fmla="*/ 0 w 53"/>
              <a:gd name="T1" fmla="*/ 0 h 3"/>
              <a:gd name="T2" fmla="*/ 14 w 53"/>
              <a:gd name="T3" fmla="*/ 0 h 3"/>
              <a:gd name="T4" fmla="*/ 27 w 53"/>
              <a:gd name="T5" fmla="*/ 3 h 3"/>
              <a:gd name="T6" fmla="*/ 32 w 53"/>
              <a:gd name="T7" fmla="*/ 3 h 3"/>
              <a:gd name="T8" fmla="*/ 39 w 53"/>
              <a:gd name="T9" fmla="*/ 3 h 3"/>
              <a:gd name="T10" fmla="*/ 45 w 53"/>
              <a:gd name="T11" fmla="*/ 1 h 3"/>
              <a:gd name="T12" fmla="*/ 53 w 53"/>
              <a:gd name="T13" fmla="*/ 0 h 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7" name="Line 89">
            <a:extLst>
              <a:ext uri="{FF2B5EF4-FFF2-40B4-BE49-F238E27FC236}">
                <a16:creationId xmlns:a16="http://schemas.microsoft.com/office/drawing/2014/main" id="{C51D274A-A6C1-45EF-B179-7C14A791F237}"/>
              </a:ext>
            </a:extLst>
          </p:cNvPr>
          <p:cNvSpPr>
            <a:spLocks noChangeShapeType="1"/>
          </p:cNvSpPr>
          <p:nvPr>
            <p:custDataLst>
              <p:tags r:id="rId73"/>
            </p:custDataLst>
          </p:nvPr>
        </p:nvSpPr>
        <p:spPr bwMode="auto">
          <a:xfrm>
            <a:off x="11414520" y="4322059"/>
            <a:ext cx="19861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88" name="Freeform 90">
            <a:extLst>
              <a:ext uri="{FF2B5EF4-FFF2-40B4-BE49-F238E27FC236}">
                <a16:creationId xmlns:a16="http://schemas.microsoft.com/office/drawing/2014/main" id="{F91AFDD0-F5DE-4FE6-8101-D634FD52CA1F}"/>
              </a:ext>
            </a:extLst>
          </p:cNvPr>
          <p:cNvSpPr>
            <a:spLocks/>
          </p:cNvSpPr>
          <p:nvPr>
            <p:custDataLst>
              <p:tags r:id="rId74"/>
            </p:custDataLst>
          </p:nvPr>
        </p:nvSpPr>
        <p:spPr bwMode="auto">
          <a:xfrm>
            <a:off x="11434380" y="4328409"/>
            <a:ext cx="1528" cy="57150"/>
          </a:xfrm>
          <a:custGeom>
            <a:avLst/>
            <a:gdLst>
              <a:gd name="T0" fmla="*/ 0 h 13"/>
              <a:gd name="T1" fmla="*/ 6 h 13"/>
              <a:gd name="T2" fmla="*/ 13 h 13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89" name="Freeform 91">
            <a:extLst>
              <a:ext uri="{FF2B5EF4-FFF2-40B4-BE49-F238E27FC236}">
                <a16:creationId xmlns:a16="http://schemas.microsoft.com/office/drawing/2014/main" id="{8981D7C5-4FDD-46FD-AF40-60B2592D7AEA}"/>
              </a:ext>
            </a:extLst>
          </p:cNvPr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11390075" y="4322059"/>
            <a:ext cx="13750" cy="58738"/>
          </a:xfrm>
          <a:custGeom>
            <a:avLst/>
            <a:gdLst>
              <a:gd name="T0" fmla="*/ 0 w 26"/>
              <a:gd name="T1" fmla="*/ 15 w 26"/>
              <a:gd name="T2" fmla="*/ 26 w 26"/>
            </a:gdLst>
            <a:ahLst/>
            <a:cxnLst>
              <a:cxn ang="0">
                <a:pos x="T0" y="0"/>
              </a:cxn>
              <a:cxn ang="0">
                <a:pos x="T1" y="0"/>
              </a:cxn>
              <a:cxn ang="0">
                <a:pos x="T2" y="0"/>
              </a:cxn>
            </a:cxnLst>
            <a:rect l="0" t="0" r="r" b="b"/>
            <a:pathLst>
              <a:path w="26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0" name="Freeform 92">
            <a:extLst>
              <a:ext uri="{FF2B5EF4-FFF2-40B4-BE49-F238E27FC236}">
                <a16:creationId xmlns:a16="http://schemas.microsoft.com/office/drawing/2014/main" id="{4071327C-8905-4098-A541-B8B6A74A2618}"/>
              </a:ext>
            </a:extLst>
          </p:cNvPr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11383963" y="4303010"/>
            <a:ext cx="6111" cy="60325"/>
          </a:xfrm>
          <a:custGeom>
            <a:avLst/>
            <a:gdLst>
              <a:gd name="T0" fmla="*/ 20 w 20"/>
              <a:gd name="T1" fmla="*/ 0 h 25"/>
              <a:gd name="T2" fmla="*/ 0 w 20"/>
              <a:gd name="T3" fmla="*/ 13 h 25"/>
              <a:gd name="T4" fmla="*/ 4 w 20"/>
              <a:gd name="T5" fmla="*/ 18 h 25"/>
              <a:gd name="T6" fmla="*/ 10 w 20"/>
              <a:gd name="T7" fmla="*/ 21 h 25"/>
              <a:gd name="T8" fmla="*/ 14 w 20"/>
              <a:gd name="T9" fmla="*/ 24 h 25"/>
              <a:gd name="T10" fmla="*/ 20 w 20"/>
              <a:gd name="T11" fmla="*/ 25 h 25"/>
              <a:gd name="T12" fmla="*/ 20 w 20"/>
              <a:gd name="T13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91" name="Freeform 93">
            <a:extLst>
              <a:ext uri="{FF2B5EF4-FFF2-40B4-BE49-F238E27FC236}">
                <a16:creationId xmlns:a16="http://schemas.microsoft.com/office/drawing/2014/main" id="{CA1AD133-E928-481A-BC5B-26780303E146}"/>
              </a:ext>
            </a:extLst>
          </p:cNvPr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11461881" y="4029959"/>
            <a:ext cx="1528" cy="57150"/>
          </a:xfrm>
          <a:custGeom>
            <a:avLst/>
            <a:gdLst>
              <a:gd name="T0" fmla="*/ 0 w 6"/>
              <a:gd name="T1" fmla="*/ 24 h 24"/>
              <a:gd name="T2" fmla="*/ 0 w 6"/>
              <a:gd name="T3" fmla="*/ 0 h 24"/>
              <a:gd name="T4" fmla="*/ 6 w 6"/>
              <a:gd name="T5" fmla="*/ 12 h 24"/>
              <a:gd name="T6" fmla="*/ 0 w 6"/>
              <a:gd name="T7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92" name="Group 94">
            <a:extLst>
              <a:ext uri="{FF2B5EF4-FFF2-40B4-BE49-F238E27FC236}">
                <a16:creationId xmlns:a16="http://schemas.microsoft.com/office/drawing/2014/main" id="{C06481A8-DE0E-4CBD-B071-E9C1F28FE41E}"/>
              </a:ext>
            </a:extLst>
          </p:cNvPr>
          <p:cNvGrpSpPr>
            <a:grpSpLocks/>
          </p:cNvGrpSpPr>
          <p:nvPr>
            <p:custDataLst>
              <p:tags r:id="rId78"/>
            </p:custDataLst>
          </p:nvPr>
        </p:nvGrpSpPr>
        <p:grpSpPr bwMode="auto">
          <a:xfrm>
            <a:off x="11341184" y="3701347"/>
            <a:ext cx="157364" cy="114300"/>
            <a:chOff x="5379" y="2466"/>
            <a:chExt cx="122" cy="71"/>
          </a:xfrm>
        </p:grpSpPr>
        <p:sp>
          <p:nvSpPr>
            <p:cNvPr id="93" name="Freeform 95">
              <a:extLst>
                <a:ext uri="{FF2B5EF4-FFF2-40B4-BE49-F238E27FC236}">
                  <a16:creationId xmlns:a16="http://schemas.microsoft.com/office/drawing/2014/main" id="{5A4D5BED-D875-4523-AB81-E9D8F95A658C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19 w 19"/>
                <a:gd name="T1" fmla="*/ 25 h 25"/>
                <a:gd name="T2" fmla="*/ 18 w 19"/>
                <a:gd name="T3" fmla="*/ 20 h 25"/>
                <a:gd name="T4" fmla="*/ 17 w 19"/>
                <a:gd name="T5" fmla="*/ 12 h 25"/>
                <a:gd name="T6" fmla="*/ 16 w 19"/>
                <a:gd name="T7" fmla="*/ 9 h 25"/>
                <a:gd name="T8" fmla="*/ 17 w 19"/>
                <a:gd name="T9" fmla="*/ 6 h 25"/>
                <a:gd name="T10" fmla="*/ 17 w 19"/>
                <a:gd name="T11" fmla="*/ 3 h 25"/>
                <a:gd name="T12" fmla="*/ 19 w 19"/>
                <a:gd name="T13" fmla="*/ 0 h 25"/>
                <a:gd name="T14" fmla="*/ 0 w 19"/>
                <a:gd name="T15" fmla="*/ 0 h 25"/>
                <a:gd name="T16" fmla="*/ 1 w 19"/>
                <a:gd name="T17" fmla="*/ 7 h 25"/>
                <a:gd name="T18" fmla="*/ 5 w 19"/>
                <a:gd name="T19" fmla="*/ 15 h 25"/>
                <a:gd name="T20" fmla="*/ 7 w 19"/>
                <a:gd name="T21" fmla="*/ 19 h 25"/>
                <a:gd name="T22" fmla="*/ 11 w 19"/>
                <a:gd name="T23" fmla="*/ 23 h 25"/>
                <a:gd name="T24" fmla="*/ 15 w 19"/>
                <a:gd name="T25" fmla="*/ 25 h 25"/>
                <a:gd name="T26" fmla="*/ 19 w 19"/>
                <a:gd name="T2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4" name="Freeform 96">
              <a:extLst>
                <a:ext uri="{FF2B5EF4-FFF2-40B4-BE49-F238E27FC236}">
                  <a16:creationId xmlns:a16="http://schemas.microsoft.com/office/drawing/2014/main" id="{AD73F5B7-CFA7-41B8-B607-106E3D985CE8}"/>
                </a:ext>
              </a:extLst>
            </p:cNvPr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26 w 26"/>
                <a:gd name="T1" fmla="*/ 18 h 18"/>
                <a:gd name="T2" fmla="*/ 7 w 26"/>
                <a:gd name="T3" fmla="*/ 18 h 18"/>
                <a:gd name="T4" fmla="*/ 3 w 26"/>
                <a:gd name="T5" fmla="*/ 9 h 18"/>
                <a:gd name="T6" fmla="*/ 0 w 26"/>
                <a:gd name="T7" fmla="*/ 0 h 18"/>
                <a:gd name="T8" fmla="*/ 6 w 26"/>
                <a:gd name="T9" fmla="*/ 2 h 18"/>
                <a:gd name="T10" fmla="*/ 13 w 26"/>
                <a:gd name="T11" fmla="*/ 6 h 18"/>
                <a:gd name="T12" fmla="*/ 20 w 26"/>
                <a:gd name="T13" fmla="*/ 12 h 18"/>
                <a:gd name="T14" fmla="*/ 26 w 26"/>
                <a:gd name="T1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5" name="Freeform 97">
              <a:extLst>
                <a:ext uri="{FF2B5EF4-FFF2-40B4-BE49-F238E27FC236}">
                  <a16:creationId xmlns:a16="http://schemas.microsoft.com/office/drawing/2014/main" id="{CA81EAAC-51D1-4CF4-8C4F-F67592B12021}"/>
                </a:ext>
              </a:extLst>
            </p:cNvPr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18 h 18"/>
                <a:gd name="T2" fmla="*/ 13 w 13"/>
                <a:gd name="T3" fmla="*/ 0 h 18"/>
                <a:gd name="T4" fmla="*/ 0 w 13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6" name="Freeform 98">
              <a:extLst>
                <a:ext uri="{FF2B5EF4-FFF2-40B4-BE49-F238E27FC236}">
                  <a16:creationId xmlns:a16="http://schemas.microsoft.com/office/drawing/2014/main" id="{A76D5CA9-92A2-49D2-87FD-7DD7B2AC8AB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24 h 24"/>
                <a:gd name="T2" fmla="*/ 3 w 26"/>
                <a:gd name="T3" fmla="*/ 23 h 24"/>
                <a:gd name="T4" fmla="*/ 7 w 26"/>
                <a:gd name="T5" fmla="*/ 22 h 24"/>
                <a:gd name="T6" fmla="*/ 11 w 26"/>
                <a:gd name="T7" fmla="*/ 19 h 24"/>
                <a:gd name="T8" fmla="*/ 16 w 26"/>
                <a:gd name="T9" fmla="*/ 16 h 24"/>
                <a:gd name="T10" fmla="*/ 20 w 26"/>
                <a:gd name="T11" fmla="*/ 13 h 24"/>
                <a:gd name="T12" fmla="*/ 23 w 26"/>
                <a:gd name="T13" fmla="*/ 9 h 24"/>
                <a:gd name="T14" fmla="*/ 25 w 26"/>
                <a:gd name="T15" fmla="*/ 4 h 24"/>
                <a:gd name="T16" fmla="*/ 26 w 26"/>
                <a:gd name="T17" fmla="*/ 0 h 24"/>
                <a:gd name="T18" fmla="*/ 0 w 2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7" name="Freeform 99">
              <a:extLst>
                <a:ext uri="{FF2B5EF4-FFF2-40B4-BE49-F238E27FC236}">
                  <a16:creationId xmlns:a16="http://schemas.microsoft.com/office/drawing/2014/main" id="{C2078982-98A9-4BA6-9035-8EBAF0227983}"/>
                </a:ext>
              </a:extLst>
            </p:cNvPr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6 h 6"/>
                <a:gd name="T2" fmla="*/ 10 w 34"/>
                <a:gd name="T3" fmla="*/ 6 h 6"/>
                <a:gd name="T4" fmla="*/ 17 w 34"/>
                <a:gd name="T5" fmla="*/ 5 h 6"/>
                <a:gd name="T6" fmla="*/ 25 w 34"/>
                <a:gd name="T7" fmla="*/ 4 h 6"/>
                <a:gd name="T8" fmla="*/ 34 w 34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98" name="Line 100">
              <a:extLst>
                <a:ext uri="{FF2B5EF4-FFF2-40B4-BE49-F238E27FC236}">
                  <a16:creationId xmlns:a16="http://schemas.microsoft.com/office/drawing/2014/main" id="{345B1208-73F8-4829-B3C3-19649669E593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99" name="Freeform 101">
              <a:extLst>
                <a:ext uri="{FF2B5EF4-FFF2-40B4-BE49-F238E27FC236}">
                  <a16:creationId xmlns:a16="http://schemas.microsoft.com/office/drawing/2014/main" id="{098F4252-7800-4883-879E-5B6B1A408FE7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19 h 19"/>
                <a:gd name="T1" fmla="*/ 9 h 19"/>
                <a:gd name="T2" fmla="*/ 0 h 19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00" name="Line 102">
              <a:extLst>
                <a:ext uri="{FF2B5EF4-FFF2-40B4-BE49-F238E27FC236}">
                  <a16:creationId xmlns:a16="http://schemas.microsoft.com/office/drawing/2014/main" id="{2EEA793F-867E-4CC7-8365-F1010171C2D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01" name="Freeform 103">
              <a:extLst>
                <a:ext uri="{FF2B5EF4-FFF2-40B4-BE49-F238E27FC236}">
                  <a16:creationId xmlns:a16="http://schemas.microsoft.com/office/drawing/2014/main" id="{8A9ADBED-C701-4013-9FFC-E17523D8FE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14 w 14"/>
                <a:gd name="T1" fmla="*/ 0 h 6"/>
                <a:gd name="T2" fmla="*/ 7 w 14"/>
                <a:gd name="T3" fmla="*/ 3 h 6"/>
                <a:gd name="T4" fmla="*/ 0 w 14"/>
                <a:gd name="T5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02" name="Freeform 104">
            <a:extLst>
              <a:ext uri="{FF2B5EF4-FFF2-40B4-BE49-F238E27FC236}">
                <a16:creationId xmlns:a16="http://schemas.microsoft.com/office/drawing/2014/main" id="{6693B8D4-83BD-462B-B79E-D87588E5DBDA}"/>
              </a:ext>
            </a:extLst>
          </p:cNvPr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9978376" y="3563234"/>
            <a:ext cx="6111" cy="57150"/>
          </a:xfrm>
          <a:custGeom>
            <a:avLst/>
            <a:gdLst>
              <a:gd name="T0" fmla="*/ 13 w 26"/>
              <a:gd name="T1" fmla="*/ 111 h 111"/>
              <a:gd name="T2" fmla="*/ 9 w 26"/>
              <a:gd name="T3" fmla="*/ 103 h 111"/>
              <a:gd name="T4" fmla="*/ 4 w 26"/>
              <a:gd name="T5" fmla="*/ 95 h 111"/>
              <a:gd name="T6" fmla="*/ 2 w 26"/>
              <a:gd name="T7" fmla="*/ 91 h 111"/>
              <a:gd name="T8" fmla="*/ 1 w 26"/>
              <a:gd name="T9" fmla="*/ 87 h 111"/>
              <a:gd name="T10" fmla="*/ 0 w 26"/>
              <a:gd name="T11" fmla="*/ 80 h 111"/>
              <a:gd name="T12" fmla="*/ 0 w 26"/>
              <a:gd name="T13" fmla="*/ 74 h 111"/>
              <a:gd name="T14" fmla="*/ 0 w 26"/>
              <a:gd name="T15" fmla="*/ 61 h 111"/>
              <a:gd name="T16" fmla="*/ 1 w 26"/>
              <a:gd name="T17" fmla="*/ 51 h 111"/>
              <a:gd name="T18" fmla="*/ 3 w 26"/>
              <a:gd name="T19" fmla="*/ 41 h 111"/>
              <a:gd name="T20" fmla="*/ 5 w 26"/>
              <a:gd name="T21" fmla="*/ 33 h 111"/>
              <a:gd name="T22" fmla="*/ 9 w 26"/>
              <a:gd name="T23" fmla="*/ 24 h 111"/>
              <a:gd name="T24" fmla="*/ 14 w 26"/>
              <a:gd name="T25" fmla="*/ 17 h 111"/>
              <a:gd name="T26" fmla="*/ 20 w 26"/>
              <a:gd name="T27" fmla="*/ 9 h 111"/>
              <a:gd name="T28" fmla="*/ 26 w 26"/>
              <a:gd name="T29" fmla="*/ 0 h 111"/>
              <a:gd name="T30" fmla="*/ 26 w 26"/>
              <a:gd name="T31" fmla="*/ 6 h 111"/>
              <a:gd name="T32" fmla="*/ 26 w 26"/>
              <a:gd name="T33" fmla="*/ 13 h 111"/>
              <a:gd name="T34" fmla="*/ 26 w 26"/>
              <a:gd name="T35" fmla="*/ 22 h 111"/>
              <a:gd name="T36" fmla="*/ 26 w 26"/>
              <a:gd name="T37" fmla="*/ 32 h 111"/>
              <a:gd name="T38" fmla="*/ 25 w 26"/>
              <a:gd name="T39" fmla="*/ 44 h 111"/>
              <a:gd name="T40" fmla="*/ 22 w 26"/>
              <a:gd name="T41" fmla="*/ 56 h 111"/>
              <a:gd name="T42" fmla="*/ 18 w 26"/>
              <a:gd name="T43" fmla="*/ 67 h 111"/>
              <a:gd name="T44" fmla="*/ 13 w 26"/>
              <a:gd name="T45" fmla="*/ 80 h 111"/>
              <a:gd name="T46" fmla="*/ 13 w 26"/>
              <a:gd name="T47" fmla="*/ 111 h 1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3" name="Freeform 106">
            <a:extLst>
              <a:ext uri="{FF2B5EF4-FFF2-40B4-BE49-F238E27FC236}">
                <a16:creationId xmlns:a16="http://schemas.microsoft.com/office/drawing/2014/main" id="{228C7E6A-DF39-41CE-AA59-660B6C604E38}"/>
              </a:ext>
            </a:extLst>
          </p:cNvPr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9209888" y="5541260"/>
            <a:ext cx="29029" cy="55563"/>
          </a:xfrm>
          <a:custGeom>
            <a:avLst/>
            <a:gdLst>
              <a:gd name="T0" fmla="*/ 0 w 66"/>
              <a:gd name="T1" fmla="*/ 0 h 44"/>
              <a:gd name="T2" fmla="*/ 13 w 66"/>
              <a:gd name="T3" fmla="*/ 1 h 44"/>
              <a:gd name="T4" fmla="*/ 23 w 66"/>
              <a:gd name="T5" fmla="*/ 2 h 44"/>
              <a:gd name="T6" fmla="*/ 32 w 66"/>
              <a:gd name="T7" fmla="*/ 4 h 44"/>
              <a:gd name="T8" fmla="*/ 38 w 66"/>
              <a:gd name="T9" fmla="*/ 7 h 44"/>
              <a:gd name="T10" fmla="*/ 44 w 66"/>
              <a:gd name="T11" fmla="*/ 9 h 44"/>
              <a:gd name="T12" fmla="*/ 50 w 66"/>
              <a:gd name="T13" fmla="*/ 11 h 44"/>
              <a:gd name="T14" fmla="*/ 57 w 66"/>
              <a:gd name="T15" fmla="*/ 12 h 44"/>
              <a:gd name="T16" fmla="*/ 66 w 66"/>
              <a:gd name="T17" fmla="*/ 13 h 44"/>
              <a:gd name="T18" fmla="*/ 65 w 66"/>
              <a:gd name="T19" fmla="*/ 17 h 44"/>
              <a:gd name="T20" fmla="*/ 62 w 66"/>
              <a:gd name="T21" fmla="*/ 21 h 44"/>
              <a:gd name="T22" fmla="*/ 60 w 66"/>
              <a:gd name="T23" fmla="*/ 25 h 44"/>
              <a:gd name="T24" fmla="*/ 57 w 66"/>
              <a:gd name="T25" fmla="*/ 28 h 44"/>
              <a:gd name="T26" fmla="*/ 49 w 66"/>
              <a:gd name="T27" fmla="*/ 34 h 44"/>
              <a:gd name="T28" fmla="*/ 40 w 66"/>
              <a:gd name="T29" fmla="*/ 39 h 44"/>
              <a:gd name="T30" fmla="*/ 31 w 66"/>
              <a:gd name="T31" fmla="*/ 42 h 44"/>
              <a:gd name="T32" fmla="*/ 21 w 66"/>
              <a:gd name="T33" fmla="*/ 44 h 44"/>
              <a:gd name="T34" fmla="*/ 10 w 66"/>
              <a:gd name="T35" fmla="*/ 44 h 44"/>
              <a:gd name="T36" fmla="*/ 0 w 66"/>
              <a:gd name="T37" fmla="*/ 43 h 44"/>
              <a:gd name="T38" fmla="*/ 0 w 66"/>
              <a:gd name="T39" fmla="*/ 31 h 44"/>
              <a:gd name="T40" fmla="*/ 0 w 66"/>
              <a:gd name="T41" fmla="*/ 22 h 44"/>
              <a:gd name="T42" fmla="*/ 0 w 66"/>
              <a:gd name="T43" fmla="*/ 12 h 44"/>
              <a:gd name="T44" fmla="*/ 0 w 66"/>
              <a:gd name="T45" fmla="*/ 0 h 4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4" name="Freeform 107">
            <a:extLst>
              <a:ext uri="{FF2B5EF4-FFF2-40B4-BE49-F238E27FC236}">
                <a16:creationId xmlns:a16="http://schemas.microsoft.com/office/drawing/2014/main" id="{5FB35F1B-59D6-4B77-B92E-EB6BB967A35D}"/>
              </a:ext>
            </a:extLst>
          </p:cNvPr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11283128" y="2312284"/>
            <a:ext cx="19861" cy="57150"/>
          </a:xfrm>
          <a:custGeom>
            <a:avLst/>
            <a:gdLst>
              <a:gd name="T0" fmla="*/ 46 w 46"/>
              <a:gd name="T1" fmla="*/ 0 h 16"/>
              <a:gd name="T2" fmla="*/ 40 w 46"/>
              <a:gd name="T3" fmla="*/ 7 h 16"/>
              <a:gd name="T4" fmla="*/ 35 w 46"/>
              <a:gd name="T5" fmla="*/ 13 h 16"/>
              <a:gd name="T6" fmla="*/ 31 w 46"/>
              <a:gd name="T7" fmla="*/ 14 h 16"/>
              <a:gd name="T8" fmla="*/ 29 w 46"/>
              <a:gd name="T9" fmla="*/ 15 h 16"/>
              <a:gd name="T10" fmla="*/ 26 w 46"/>
              <a:gd name="T11" fmla="*/ 16 h 16"/>
              <a:gd name="T12" fmla="*/ 23 w 46"/>
              <a:gd name="T13" fmla="*/ 16 h 16"/>
              <a:gd name="T14" fmla="*/ 16 w 46"/>
              <a:gd name="T15" fmla="*/ 14 h 16"/>
              <a:gd name="T16" fmla="*/ 11 w 46"/>
              <a:gd name="T17" fmla="*/ 11 h 16"/>
              <a:gd name="T18" fmla="*/ 5 w 46"/>
              <a:gd name="T19" fmla="*/ 6 h 16"/>
              <a:gd name="T20" fmla="*/ 0 w 46"/>
              <a:gd name="T21" fmla="*/ 0 h 16"/>
              <a:gd name="T22" fmla="*/ 46 w 46"/>
              <a:gd name="T23" fmla="*/ 0 h 1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5" name="Freeform 108">
            <a:extLst>
              <a:ext uri="{FF2B5EF4-FFF2-40B4-BE49-F238E27FC236}">
                <a16:creationId xmlns:a16="http://schemas.microsoft.com/office/drawing/2014/main" id="{C07EC89E-A0F0-4C34-A02F-6AAF721FCBAC}"/>
              </a:ext>
            </a:extLst>
          </p:cNvPr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11452715" y="2345622"/>
            <a:ext cx="15278" cy="57150"/>
          </a:xfrm>
          <a:custGeom>
            <a:avLst/>
            <a:gdLst>
              <a:gd name="T0" fmla="*/ 39 w 39"/>
              <a:gd name="T1" fmla="*/ 25 h 26"/>
              <a:gd name="T2" fmla="*/ 36 w 39"/>
              <a:gd name="T3" fmla="*/ 26 h 26"/>
              <a:gd name="T4" fmla="*/ 32 w 39"/>
              <a:gd name="T5" fmla="*/ 26 h 26"/>
              <a:gd name="T6" fmla="*/ 28 w 39"/>
              <a:gd name="T7" fmla="*/ 26 h 26"/>
              <a:gd name="T8" fmla="*/ 25 w 39"/>
              <a:gd name="T9" fmla="*/ 25 h 26"/>
              <a:gd name="T10" fmla="*/ 18 w 39"/>
              <a:gd name="T11" fmla="*/ 22 h 26"/>
              <a:gd name="T12" fmla="*/ 12 w 39"/>
              <a:gd name="T13" fmla="*/ 18 h 26"/>
              <a:gd name="T14" fmla="*/ 7 w 39"/>
              <a:gd name="T15" fmla="*/ 13 h 26"/>
              <a:gd name="T16" fmla="*/ 3 w 39"/>
              <a:gd name="T17" fmla="*/ 7 h 26"/>
              <a:gd name="T18" fmla="*/ 1 w 39"/>
              <a:gd name="T19" fmla="*/ 3 h 26"/>
              <a:gd name="T20" fmla="*/ 0 w 39"/>
              <a:gd name="T21" fmla="*/ 0 h 26"/>
              <a:gd name="T22" fmla="*/ 11 w 39"/>
              <a:gd name="T23" fmla="*/ 6 h 26"/>
              <a:gd name="T24" fmla="*/ 22 w 39"/>
              <a:gd name="T25" fmla="*/ 13 h 26"/>
              <a:gd name="T26" fmla="*/ 33 w 39"/>
              <a:gd name="T27" fmla="*/ 20 h 26"/>
              <a:gd name="T28" fmla="*/ 39 w 39"/>
              <a:gd name="T29" fmla="*/ 25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6" name="Freeform 109">
            <a:extLst>
              <a:ext uri="{FF2B5EF4-FFF2-40B4-BE49-F238E27FC236}">
                <a16:creationId xmlns:a16="http://schemas.microsoft.com/office/drawing/2014/main" id="{04627BC0-D911-408D-892B-90783C974C5F}"/>
              </a:ext>
            </a:extLst>
          </p:cNvPr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10922564" y="2575809"/>
            <a:ext cx="4583" cy="58738"/>
          </a:xfrm>
          <a:custGeom>
            <a:avLst/>
            <a:gdLst>
              <a:gd name="T0" fmla="*/ 11 w 11"/>
              <a:gd name="T1" fmla="*/ 0 h 25"/>
              <a:gd name="T2" fmla="*/ 11 w 11"/>
              <a:gd name="T3" fmla="*/ 5 h 25"/>
              <a:gd name="T4" fmla="*/ 10 w 11"/>
              <a:gd name="T5" fmla="*/ 12 h 25"/>
              <a:gd name="T6" fmla="*/ 9 w 11"/>
              <a:gd name="T7" fmla="*/ 20 h 25"/>
              <a:gd name="T8" fmla="*/ 4 w 11"/>
              <a:gd name="T9" fmla="*/ 25 h 25"/>
              <a:gd name="T10" fmla="*/ 2 w 11"/>
              <a:gd name="T11" fmla="*/ 23 h 25"/>
              <a:gd name="T12" fmla="*/ 1 w 11"/>
              <a:gd name="T13" fmla="*/ 20 h 25"/>
              <a:gd name="T14" fmla="*/ 0 w 11"/>
              <a:gd name="T15" fmla="*/ 15 h 25"/>
              <a:gd name="T16" fmla="*/ 0 w 11"/>
              <a:gd name="T17" fmla="*/ 12 h 25"/>
              <a:gd name="T18" fmla="*/ 1 w 11"/>
              <a:gd name="T19" fmla="*/ 9 h 25"/>
              <a:gd name="T20" fmla="*/ 3 w 11"/>
              <a:gd name="T21" fmla="*/ 5 h 25"/>
              <a:gd name="T22" fmla="*/ 6 w 11"/>
              <a:gd name="T23" fmla="*/ 2 h 25"/>
              <a:gd name="T24" fmla="*/ 11 w 11"/>
              <a:gd name="T25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7" name="Freeform 110">
            <a:extLst>
              <a:ext uri="{FF2B5EF4-FFF2-40B4-BE49-F238E27FC236}">
                <a16:creationId xmlns:a16="http://schemas.microsoft.com/office/drawing/2014/main" id="{9C55BFA6-4E48-47FC-BF83-9ACDCAB6D399}"/>
              </a:ext>
            </a:extLst>
          </p:cNvPr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10743809" y="3137784"/>
            <a:ext cx="13751" cy="58738"/>
          </a:xfrm>
          <a:custGeom>
            <a:avLst/>
            <a:gdLst>
              <a:gd name="T0" fmla="*/ 20 w 20"/>
              <a:gd name="T1" fmla="*/ 0 h 31"/>
              <a:gd name="T2" fmla="*/ 16 w 20"/>
              <a:gd name="T3" fmla="*/ 12 h 31"/>
              <a:gd name="T4" fmla="*/ 10 w 20"/>
              <a:gd name="T5" fmla="*/ 20 h 31"/>
              <a:gd name="T6" fmla="*/ 5 w 20"/>
              <a:gd name="T7" fmla="*/ 26 h 31"/>
              <a:gd name="T8" fmla="*/ 0 w 20"/>
              <a:gd name="T9" fmla="*/ 31 h 31"/>
              <a:gd name="T10" fmla="*/ 0 w 20"/>
              <a:gd name="T11" fmla="*/ 25 h 31"/>
              <a:gd name="T12" fmla="*/ 1 w 20"/>
              <a:gd name="T13" fmla="*/ 19 h 31"/>
              <a:gd name="T14" fmla="*/ 2 w 20"/>
              <a:gd name="T15" fmla="*/ 13 h 31"/>
              <a:gd name="T16" fmla="*/ 5 w 20"/>
              <a:gd name="T17" fmla="*/ 9 h 31"/>
              <a:gd name="T18" fmla="*/ 8 w 20"/>
              <a:gd name="T19" fmla="*/ 6 h 31"/>
              <a:gd name="T20" fmla="*/ 11 w 20"/>
              <a:gd name="T21" fmla="*/ 3 h 31"/>
              <a:gd name="T22" fmla="*/ 16 w 20"/>
              <a:gd name="T23" fmla="*/ 0 h 31"/>
              <a:gd name="T24" fmla="*/ 20 w 20"/>
              <a:gd name="T25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8" name="Freeform 111">
            <a:extLst>
              <a:ext uri="{FF2B5EF4-FFF2-40B4-BE49-F238E27FC236}">
                <a16:creationId xmlns:a16="http://schemas.microsoft.com/office/drawing/2014/main" id="{9EBACDB1-0CF0-4CE8-9FA7-886507AF4A2E}"/>
              </a:ext>
            </a:extLst>
          </p:cNvPr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10760617" y="3072697"/>
            <a:ext cx="15278" cy="57150"/>
          </a:xfrm>
          <a:custGeom>
            <a:avLst/>
            <a:gdLst>
              <a:gd name="T0" fmla="*/ 13 w 26"/>
              <a:gd name="T1" fmla="*/ 37 h 37"/>
              <a:gd name="T2" fmla="*/ 0 w 26"/>
              <a:gd name="T3" fmla="*/ 12 h 37"/>
              <a:gd name="T4" fmla="*/ 6 w 26"/>
              <a:gd name="T5" fmla="*/ 7 h 37"/>
              <a:gd name="T6" fmla="*/ 13 w 26"/>
              <a:gd name="T7" fmla="*/ 4 h 37"/>
              <a:gd name="T8" fmla="*/ 21 w 26"/>
              <a:gd name="T9" fmla="*/ 1 h 37"/>
              <a:gd name="T10" fmla="*/ 26 w 26"/>
              <a:gd name="T11" fmla="*/ 0 h 37"/>
              <a:gd name="T12" fmla="*/ 26 w 26"/>
              <a:gd name="T13" fmla="*/ 6 h 37"/>
              <a:gd name="T14" fmla="*/ 25 w 26"/>
              <a:gd name="T15" fmla="*/ 11 h 37"/>
              <a:gd name="T16" fmla="*/ 24 w 26"/>
              <a:gd name="T17" fmla="*/ 17 h 37"/>
              <a:gd name="T18" fmla="*/ 23 w 26"/>
              <a:gd name="T19" fmla="*/ 21 h 37"/>
              <a:gd name="T20" fmla="*/ 18 w 26"/>
              <a:gd name="T21" fmla="*/ 29 h 37"/>
              <a:gd name="T22" fmla="*/ 13 w 26"/>
              <a:gd name="T23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09" name="Freeform 112">
            <a:extLst>
              <a:ext uri="{FF2B5EF4-FFF2-40B4-BE49-F238E27FC236}">
                <a16:creationId xmlns:a16="http://schemas.microsoft.com/office/drawing/2014/main" id="{20561454-2EB0-445B-A5A3-D5B605FB3ED2}"/>
              </a:ext>
            </a:extLst>
          </p:cNvPr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10653670" y="2921885"/>
            <a:ext cx="1527" cy="60325"/>
          </a:xfrm>
          <a:custGeom>
            <a:avLst/>
            <a:gdLst>
              <a:gd name="T0" fmla="*/ 0 w 7"/>
              <a:gd name="T1" fmla="*/ 18 h 18"/>
              <a:gd name="T2" fmla="*/ 0 w 7"/>
              <a:gd name="T3" fmla="*/ 0 h 18"/>
              <a:gd name="T4" fmla="*/ 7 w 7"/>
              <a:gd name="T5" fmla="*/ 12 h 18"/>
              <a:gd name="T6" fmla="*/ 0 w 7"/>
              <a:gd name="T7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0" name="Freeform 113">
            <a:extLst>
              <a:ext uri="{FF2B5EF4-FFF2-40B4-BE49-F238E27FC236}">
                <a16:creationId xmlns:a16="http://schemas.microsoft.com/office/drawing/2014/main" id="{C8BD8B0E-C811-4C3E-86D9-4984FAB729F7}"/>
              </a:ext>
            </a:extLst>
          </p:cNvPr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7624019" y="2048759"/>
            <a:ext cx="9167" cy="57150"/>
          </a:xfrm>
          <a:custGeom>
            <a:avLst/>
            <a:gdLst>
              <a:gd name="T0" fmla="*/ 0 w 33"/>
              <a:gd name="T1" fmla="*/ 12 h 31"/>
              <a:gd name="T2" fmla="*/ 19 w 33"/>
              <a:gd name="T3" fmla="*/ 0 h 31"/>
              <a:gd name="T4" fmla="*/ 24 w 33"/>
              <a:gd name="T5" fmla="*/ 5 h 31"/>
              <a:gd name="T6" fmla="*/ 28 w 33"/>
              <a:gd name="T7" fmla="*/ 12 h 31"/>
              <a:gd name="T8" fmla="*/ 32 w 33"/>
              <a:gd name="T9" fmla="*/ 22 h 31"/>
              <a:gd name="T10" fmla="*/ 33 w 33"/>
              <a:gd name="T11" fmla="*/ 31 h 31"/>
              <a:gd name="T12" fmla="*/ 27 w 33"/>
              <a:gd name="T13" fmla="*/ 30 h 31"/>
              <a:gd name="T14" fmla="*/ 22 w 33"/>
              <a:gd name="T15" fmla="*/ 28 h 31"/>
              <a:gd name="T16" fmla="*/ 16 w 33"/>
              <a:gd name="T17" fmla="*/ 25 h 31"/>
              <a:gd name="T18" fmla="*/ 11 w 33"/>
              <a:gd name="T19" fmla="*/ 22 h 31"/>
              <a:gd name="T20" fmla="*/ 3 w 33"/>
              <a:gd name="T21" fmla="*/ 15 h 31"/>
              <a:gd name="T22" fmla="*/ 0 w 33"/>
              <a:gd name="T23" fmla="*/ 12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1" name="Freeform 114">
            <a:extLst>
              <a:ext uri="{FF2B5EF4-FFF2-40B4-BE49-F238E27FC236}">
                <a16:creationId xmlns:a16="http://schemas.microsoft.com/office/drawing/2014/main" id="{F64A95BA-F205-4037-8A2D-6E5CE359DA43}"/>
              </a:ext>
            </a:extLst>
          </p:cNvPr>
          <p:cNvSpPr>
            <a:spLocks/>
          </p:cNvSpPr>
          <p:nvPr>
            <p:custDataLst>
              <p:tags r:id="rId88"/>
            </p:custDataLst>
          </p:nvPr>
        </p:nvSpPr>
        <p:spPr bwMode="auto">
          <a:xfrm>
            <a:off x="7610269" y="1816984"/>
            <a:ext cx="3056" cy="57150"/>
          </a:xfrm>
          <a:custGeom>
            <a:avLst/>
            <a:gdLst>
              <a:gd name="T0" fmla="*/ 14 w 14"/>
              <a:gd name="T1" fmla="*/ 0 h 6"/>
              <a:gd name="T2" fmla="*/ 0 w 14"/>
              <a:gd name="T3" fmla="*/ 6 h 6"/>
              <a:gd name="T4" fmla="*/ 14 w 14"/>
              <a:gd name="T5" fmla="*/ 0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2" name="Freeform 115">
            <a:extLst>
              <a:ext uri="{FF2B5EF4-FFF2-40B4-BE49-F238E27FC236}">
                <a16:creationId xmlns:a16="http://schemas.microsoft.com/office/drawing/2014/main" id="{C3226F01-A6C4-41E5-9BC6-8469C1E9407B}"/>
              </a:ext>
            </a:extLst>
          </p:cNvPr>
          <p:cNvSpPr>
            <a:spLocks/>
          </p:cNvSpPr>
          <p:nvPr>
            <p:custDataLst>
              <p:tags r:id="rId89"/>
            </p:custDataLst>
          </p:nvPr>
        </p:nvSpPr>
        <p:spPr bwMode="auto">
          <a:xfrm>
            <a:off x="9035716" y="3594985"/>
            <a:ext cx="24445" cy="55563"/>
          </a:xfrm>
          <a:custGeom>
            <a:avLst/>
            <a:gdLst>
              <a:gd name="T0" fmla="*/ 59 w 59"/>
              <a:gd name="T1" fmla="*/ 6 h 31"/>
              <a:gd name="T2" fmla="*/ 57 w 59"/>
              <a:gd name="T3" fmla="*/ 11 h 31"/>
              <a:gd name="T4" fmla="*/ 53 w 59"/>
              <a:gd name="T5" fmla="*/ 15 h 31"/>
              <a:gd name="T6" fmla="*/ 49 w 59"/>
              <a:gd name="T7" fmla="*/ 19 h 31"/>
              <a:gd name="T8" fmla="*/ 45 w 59"/>
              <a:gd name="T9" fmla="*/ 24 h 31"/>
              <a:gd name="T10" fmla="*/ 40 w 59"/>
              <a:gd name="T11" fmla="*/ 27 h 31"/>
              <a:gd name="T12" fmla="*/ 36 w 59"/>
              <a:gd name="T13" fmla="*/ 29 h 31"/>
              <a:gd name="T14" fmla="*/ 30 w 59"/>
              <a:gd name="T15" fmla="*/ 31 h 31"/>
              <a:gd name="T16" fmla="*/ 26 w 59"/>
              <a:gd name="T17" fmla="*/ 31 h 31"/>
              <a:gd name="T18" fmla="*/ 21 w 59"/>
              <a:gd name="T19" fmla="*/ 31 h 31"/>
              <a:gd name="T20" fmla="*/ 17 w 59"/>
              <a:gd name="T21" fmla="*/ 30 h 31"/>
              <a:gd name="T22" fmla="*/ 14 w 59"/>
              <a:gd name="T23" fmla="*/ 29 h 31"/>
              <a:gd name="T24" fmla="*/ 11 w 59"/>
              <a:gd name="T25" fmla="*/ 27 h 31"/>
              <a:gd name="T26" fmla="*/ 4 w 59"/>
              <a:gd name="T27" fmla="*/ 20 h 31"/>
              <a:gd name="T28" fmla="*/ 0 w 59"/>
              <a:gd name="T29" fmla="*/ 12 h 31"/>
              <a:gd name="T30" fmla="*/ 1 w 59"/>
              <a:gd name="T31" fmla="*/ 9 h 31"/>
              <a:gd name="T32" fmla="*/ 3 w 59"/>
              <a:gd name="T33" fmla="*/ 6 h 31"/>
              <a:gd name="T34" fmla="*/ 5 w 59"/>
              <a:gd name="T35" fmla="*/ 4 h 31"/>
              <a:gd name="T36" fmla="*/ 8 w 59"/>
              <a:gd name="T37" fmla="*/ 3 h 31"/>
              <a:gd name="T38" fmla="*/ 16 w 59"/>
              <a:gd name="T39" fmla="*/ 1 h 31"/>
              <a:gd name="T40" fmla="*/ 24 w 59"/>
              <a:gd name="T41" fmla="*/ 0 h 31"/>
              <a:gd name="T42" fmla="*/ 34 w 59"/>
              <a:gd name="T43" fmla="*/ 0 h 31"/>
              <a:gd name="T44" fmla="*/ 42 w 59"/>
              <a:gd name="T45" fmla="*/ 2 h 31"/>
              <a:gd name="T46" fmla="*/ 51 w 59"/>
              <a:gd name="T47" fmla="*/ 4 h 31"/>
              <a:gd name="T48" fmla="*/ 59 w 59"/>
              <a:gd name="T49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13" name="Freeform 116">
            <a:extLst>
              <a:ext uri="{FF2B5EF4-FFF2-40B4-BE49-F238E27FC236}">
                <a16:creationId xmlns:a16="http://schemas.microsoft.com/office/drawing/2014/main" id="{93CF7AFE-5DC0-49FE-A0CA-864A9D1C8CB7}"/>
              </a:ext>
            </a:extLst>
          </p:cNvPr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8750016" y="3456873"/>
            <a:ext cx="18334" cy="58737"/>
          </a:xfrm>
          <a:custGeom>
            <a:avLst/>
            <a:gdLst>
              <a:gd name="T0" fmla="*/ 14 w 47"/>
              <a:gd name="T1" fmla="*/ 0 h 68"/>
              <a:gd name="T2" fmla="*/ 8 w 47"/>
              <a:gd name="T3" fmla="*/ 10 h 68"/>
              <a:gd name="T4" fmla="*/ 4 w 47"/>
              <a:gd name="T5" fmla="*/ 19 h 68"/>
              <a:gd name="T6" fmla="*/ 2 w 47"/>
              <a:gd name="T7" fmla="*/ 28 h 68"/>
              <a:gd name="T8" fmla="*/ 0 w 47"/>
              <a:gd name="T9" fmla="*/ 37 h 68"/>
              <a:gd name="T10" fmla="*/ 0 w 47"/>
              <a:gd name="T11" fmla="*/ 42 h 68"/>
              <a:gd name="T12" fmla="*/ 2 w 47"/>
              <a:gd name="T13" fmla="*/ 47 h 68"/>
              <a:gd name="T14" fmla="*/ 3 w 47"/>
              <a:gd name="T15" fmla="*/ 51 h 68"/>
              <a:gd name="T16" fmla="*/ 5 w 47"/>
              <a:gd name="T17" fmla="*/ 55 h 68"/>
              <a:gd name="T18" fmla="*/ 7 w 47"/>
              <a:gd name="T19" fmla="*/ 58 h 68"/>
              <a:gd name="T20" fmla="*/ 9 w 47"/>
              <a:gd name="T21" fmla="*/ 60 h 68"/>
              <a:gd name="T22" fmla="*/ 13 w 47"/>
              <a:gd name="T23" fmla="*/ 62 h 68"/>
              <a:gd name="T24" fmla="*/ 16 w 47"/>
              <a:gd name="T25" fmla="*/ 64 h 68"/>
              <a:gd name="T26" fmla="*/ 22 w 47"/>
              <a:gd name="T27" fmla="*/ 67 h 68"/>
              <a:gd name="T28" fmla="*/ 31 w 47"/>
              <a:gd name="T29" fmla="*/ 68 h 68"/>
              <a:gd name="T30" fmla="*/ 39 w 47"/>
              <a:gd name="T31" fmla="*/ 68 h 68"/>
              <a:gd name="T32" fmla="*/ 47 w 47"/>
              <a:gd name="T33" fmla="*/ 68 h 68"/>
              <a:gd name="T34" fmla="*/ 41 w 47"/>
              <a:gd name="T35" fmla="*/ 58 h 68"/>
              <a:gd name="T36" fmla="*/ 38 w 47"/>
              <a:gd name="T37" fmla="*/ 48 h 68"/>
              <a:gd name="T38" fmla="*/ 36 w 47"/>
              <a:gd name="T39" fmla="*/ 43 h 68"/>
              <a:gd name="T40" fmla="*/ 35 w 47"/>
              <a:gd name="T41" fmla="*/ 38 h 68"/>
              <a:gd name="T42" fmla="*/ 33 w 47"/>
              <a:gd name="T43" fmla="*/ 31 h 68"/>
              <a:gd name="T44" fmla="*/ 33 w 47"/>
              <a:gd name="T45" fmla="*/ 25 h 68"/>
              <a:gd name="T46" fmla="*/ 24 w 47"/>
              <a:gd name="T47" fmla="*/ 13 h 68"/>
              <a:gd name="T48" fmla="*/ 14 w 47"/>
              <a:gd name="T49" fmla="*/ 0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114" name="Group 117">
            <a:extLst>
              <a:ext uri="{FF2B5EF4-FFF2-40B4-BE49-F238E27FC236}">
                <a16:creationId xmlns:a16="http://schemas.microsoft.com/office/drawing/2014/main" id="{B0DF69F2-E134-479D-9957-1D9032EA9B23}"/>
              </a:ext>
            </a:extLst>
          </p:cNvPr>
          <p:cNvGrpSpPr>
            <a:grpSpLocks/>
          </p:cNvGrpSpPr>
          <p:nvPr>
            <p:custDataLst>
              <p:tags r:id="rId91"/>
            </p:custDataLst>
          </p:nvPr>
        </p:nvGrpSpPr>
        <p:grpSpPr bwMode="auto">
          <a:xfrm>
            <a:off x="9492533" y="3644197"/>
            <a:ext cx="44306" cy="374650"/>
            <a:chOff x="3950" y="2430"/>
            <a:chExt cx="36" cy="234"/>
          </a:xfrm>
        </p:grpSpPr>
        <p:sp>
          <p:nvSpPr>
            <p:cNvPr id="115" name="Freeform 118">
              <a:extLst>
                <a:ext uri="{FF2B5EF4-FFF2-40B4-BE49-F238E27FC236}">
                  <a16:creationId xmlns:a16="http://schemas.microsoft.com/office/drawing/2014/main" id="{7731BD77-1E17-4AAA-B62B-011B1123EBF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0 h 20"/>
                <a:gd name="T4" fmla="*/ 19 w 19"/>
                <a:gd name="T5" fmla="*/ 14 h 20"/>
                <a:gd name="T6" fmla="*/ 14 w 19"/>
                <a:gd name="T7" fmla="*/ 8 h 20"/>
                <a:gd name="T8" fmla="*/ 10 w 19"/>
                <a:gd name="T9" fmla="*/ 4 h 20"/>
                <a:gd name="T10" fmla="*/ 4 w 19"/>
                <a:gd name="T11" fmla="*/ 1 h 20"/>
                <a:gd name="T12" fmla="*/ 0 w 19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6" name="Freeform 119">
              <a:extLst>
                <a:ext uri="{FF2B5EF4-FFF2-40B4-BE49-F238E27FC236}">
                  <a16:creationId xmlns:a16="http://schemas.microsoft.com/office/drawing/2014/main" id="{FB60A11F-69F0-4C5D-9698-DCC7DC88C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3 w 19"/>
                <a:gd name="T1" fmla="*/ 12 h 12"/>
                <a:gd name="T2" fmla="*/ 19 w 19"/>
                <a:gd name="T3" fmla="*/ 0 h 12"/>
                <a:gd name="T4" fmla="*/ 0 w 19"/>
                <a:gd name="T5" fmla="*/ 0 h 12"/>
                <a:gd name="T6" fmla="*/ 13 w 19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7" name="Freeform 120">
              <a:extLst>
                <a:ext uri="{FF2B5EF4-FFF2-40B4-BE49-F238E27FC236}">
                  <a16:creationId xmlns:a16="http://schemas.microsoft.com/office/drawing/2014/main" id="{FA87D649-2200-45A6-9605-2459F039143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10 w 19"/>
                <a:gd name="T2" fmla="*/ 19 w 19"/>
                <a:gd name="T3" fmla="*/ 10 w 19"/>
                <a:gd name="T4" fmla="*/ 0 w 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8" name="Rectangle 121">
              <a:extLst>
                <a:ext uri="{FF2B5EF4-FFF2-40B4-BE49-F238E27FC236}">
                  <a16:creationId xmlns:a16="http://schemas.microsoft.com/office/drawing/2014/main" id="{7247FF17-A54D-40EA-99FA-7643F182211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19" name="Line 122">
              <a:extLst>
                <a:ext uri="{FF2B5EF4-FFF2-40B4-BE49-F238E27FC236}">
                  <a16:creationId xmlns:a16="http://schemas.microsoft.com/office/drawing/2014/main" id="{30E90005-B696-4363-9688-F265372A4756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0" name="Freeform 123">
              <a:extLst>
                <a:ext uri="{FF2B5EF4-FFF2-40B4-BE49-F238E27FC236}">
                  <a16:creationId xmlns:a16="http://schemas.microsoft.com/office/drawing/2014/main" id="{43D979BD-E00C-4F70-BFC1-977DA9ED39E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6 w 6"/>
                <a:gd name="T1" fmla="*/ 0 h 3"/>
                <a:gd name="T2" fmla="*/ 5 w 6"/>
                <a:gd name="T3" fmla="*/ 1 h 3"/>
                <a:gd name="T4" fmla="*/ 3 w 6"/>
                <a:gd name="T5" fmla="*/ 2 h 3"/>
                <a:gd name="T6" fmla="*/ 1 w 6"/>
                <a:gd name="T7" fmla="*/ 3 h 3"/>
                <a:gd name="T8" fmla="*/ 0 w 6"/>
                <a:gd name="T9" fmla="*/ 2 h 3"/>
                <a:gd name="T10" fmla="*/ 0 w 6"/>
                <a:gd name="T11" fmla="*/ 2 h 3"/>
                <a:gd name="T12" fmla="*/ 0 w 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1" name="Freeform 124">
              <a:extLst>
                <a:ext uri="{FF2B5EF4-FFF2-40B4-BE49-F238E27FC236}">
                  <a16:creationId xmlns:a16="http://schemas.microsoft.com/office/drawing/2014/main" id="{6AFCB673-B653-4EC4-8EDF-B5626CA724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14 w 14"/>
                <a:gd name="T1" fmla="*/ 0 h 24"/>
                <a:gd name="T2" fmla="*/ 13 w 14"/>
                <a:gd name="T3" fmla="*/ 5 h 24"/>
                <a:gd name="T4" fmla="*/ 9 w 14"/>
                <a:gd name="T5" fmla="*/ 12 h 24"/>
                <a:gd name="T6" fmla="*/ 5 w 14"/>
                <a:gd name="T7" fmla="*/ 19 h 24"/>
                <a:gd name="T8" fmla="*/ 0 w 14"/>
                <a:gd name="T9" fmla="*/ 24 h 24"/>
                <a:gd name="T10" fmla="*/ 0 w 14"/>
                <a:gd name="T11" fmla="*/ 16 h 24"/>
                <a:gd name="T12" fmla="*/ 0 w 14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2" name="Line 125">
              <a:extLst>
                <a:ext uri="{FF2B5EF4-FFF2-40B4-BE49-F238E27FC236}">
                  <a16:creationId xmlns:a16="http://schemas.microsoft.com/office/drawing/2014/main" id="{3A63AB75-21CA-4EDE-98FF-3B4F05BB03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3" name="Freeform 126">
              <a:extLst>
                <a:ext uri="{FF2B5EF4-FFF2-40B4-BE49-F238E27FC236}">
                  <a16:creationId xmlns:a16="http://schemas.microsoft.com/office/drawing/2014/main" id="{A7C33595-3564-43E8-8074-62294E55A78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3 w 13"/>
                <a:gd name="T1" fmla="*/ 12 h 12"/>
                <a:gd name="T2" fmla="*/ 0 w 13"/>
                <a:gd name="T3" fmla="*/ 0 h 12"/>
                <a:gd name="T4" fmla="*/ 13 w 13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4" name="Freeform 127">
              <a:extLst>
                <a:ext uri="{FF2B5EF4-FFF2-40B4-BE49-F238E27FC236}">
                  <a16:creationId xmlns:a16="http://schemas.microsoft.com/office/drawing/2014/main" id="{C41C3432-A921-47EA-BCAD-C8831AFDEFC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19 h 19"/>
                <a:gd name="T4" fmla="*/ 0 w 7"/>
                <a:gd name="T5" fmla="*/ 0 h 19"/>
                <a:gd name="T6" fmla="*/ 7 w 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5" name="Line 128">
              <a:extLst>
                <a:ext uri="{FF2B5EF4-FFF2-40B4-BE49-F238E27FC236}">
                  <a16:creationId xmlns:a16="http://schemas.microsoft.com/office/drawing/2014/main" id="{64F31238-DEFC-4123-8778-CA744892EA0A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26" name="Freeform 129">
              <a:extLst>
                <a:ext uri="{FF2B5EF4-FFF2-40B4-BE49-F238E27FC236}">
                  <a16:creationId xmlns:a16="http://schemas.microsoft.com/office/drawing/2014/main" id="{2BACC23F-1216-44D3-8BAF-F7D4141E349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18 h 18"/>
                <a:gd name="T2" fmla="*/ 8 w 8"/>
                <a:gd name="T3" fmla="*/ 6 h 18"/>
                <a:gd name="T4" fmla="*/ 0 w 8"/>
                <a:gd name="T5" fmla="*/ 0 h 18"/>
                <a:gd name="T6" fmla="*/ 0 w 8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7" name="Freeform 130">
              <a:extLst>
                <a:ext uri="{FF2B5EF4-FFF2-40B4-BE49-F238E27FC236}">
                  <a16:creationId xmlns:a16="http://schemas.microsoft.com/office/drawing/2014/main" id="{A2D57417-87F9-419A-95BA-6F45AF0074A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19 h 19"/>
                <a:gd name="T4" fmla="*/ 6 w 6"/>
                <a:gd name="T5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8" name="Freeform 131">
              <a:extLst>
                <a:ext uri="{FF2B5EF4-FFF2-40B4-BE49-F238E27FC236}">
                  <a16:creationId xmlns:a16="http://schemas.microsoft.com/office/drawing/2014/main" id="{0B225B90-8003-43D5-BEDA-FBC4A2AB759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9 h 19"/>
                <a:gd name="T4" fmla="*/ 28 w 28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29" name="Freeform 132">
              <a:extLst>
                <a:ext uri="{FF2B5EF4-FFF2-40B4-BE49-F238E27FC236}">
                  <a16:creationId xmlns:a16="http://schemas.microsoft.com/office/drawing/2014/main" id="{E4049686-70FD-466A-88F1-63FBEDF8FAD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15 w 15"/>
                <a:gd name="T1" fmla="*/ 19 h 19"/>
                <a:gd name="T2" fmla="*/ 8 w 15"/>
                <a:gd name="T3" fmla="*/ 9 h 19"/>
                <a:gd name="T4" fmla="*/ 0 w 15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0" name="Freeform 133">
              <a:extLst>
                <a:ext uri="{FF2B5EF4-FFF2-40B4-BE49-F238E27FC236}">
                  <a16:creationId xmlns:a16="http://schemas.microsoft.com/office/drawing/2014/main" id="{EF7945FC-0855-46CD-B5E2-74B6D5CDC5B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20 h 20"/>
                <a:gd name="T4" fmla="*/ 19 w 19"/>
                <a:gd name="T5" fmla="*/ 14 h 20"/>
                <a:gd name="T6" fmla="*/ 14 w 19"/>
                <a:gd name="T7" fmla="*/ 8 h 20"/>
                <a:gd name="T8" fmla="*/ 10 w 19"/>
                <a:gd name="T9" fmla="*/ 4 h 20"/>
                <a:gd name="T10" fmla="*/ 4 w 19"/>
                <a:gd name="T11" fmla="*/ 1 h 20"/>
                <a:gd name="T12" fmla="*/ 0 w 19"/>
                <a:gd name="T13" fmla="*/ 0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1" name="Freeform 134">
              <a:extLst>
                <a:ext uri="{FF2B5EF4-FFF2-40B4-BE49-F238E27FC236}">
                  <a16:creationId xmlns:a16="http://schemas.microsoft.com/office/drawing/2014/main" id="{5F41BC33-734D-41AF-9A69-7A425D8CBFB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13 w 19"/>
                <a:gd name="T1" fmla="*/ 12 h 12"/>
                <a:gd name="T2" fmla="*/ 19 w 19"/>
                <a:gd name="T3" fmla="*/ 0 h 12"/>
                <a:gd name="T4" fmla="*/ 0 w 19"/>
                <a:gd name="T5" fmla="*/ 0 h 12"/>
                <a:gd name="T6" fmla="*/ 13 w 19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2" name="Freeform 135">
              <a:extLst>
                <a:ext uri="{FF2B5EF4-FFF2-40B4-BE49-F238E27FC236}">
                  <a16:creationId xmlns:a16="http://schemas.microsoft.com/office/drawing/2014/main" id="{49593F96-F769-4B49-BC22-DB662513A96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10 w 19"/>
                <a:gd name="T2" fmla="*/ 19 w 19"/>
                <a:gd name="T3" fmla="*/ 10 w 19"/>
                <a:gd name="T4" fmla="*/ 0 w 19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  <a:cxn ang="0">
                  <a:pos x="T4" y="0"/>
                </a:cxn>
              </a:cxnLst>
              <a:rect l="0" t="0" r="r" b="b"/>
              <a:pathLst>
                <a:path w="19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3" name="Rectangle 136">
              <a:extLst>
                <a:ext uri="{FF2B5EF4-FFF2-40B4-BE49-F238E27FC236}">
                  <a16:creationId xmlns:a16="http://schemas.microsoft.com/office/drawing/2014/main" id="{8B2ADB47-2955-49C2-9140-4F257C600D8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4" name="Line 137">
              <a:extLst>
                <a:ext uri="{FF2B5EF4-FFF2-40B4-BE49-F238E27FC236}">
                  <a16:creationId xmlns:a16="http://schemas.microsoft.com/office/drawing/2014/main" id="{A76D3B69-97C0-4B37-85C1-7B052170D593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5" name="Freeform 138">
              <a:extLst>
                <a:ext uri="{FF2B5EF4-FFF2-40B4-BE49-F238E27FC236}">
                  <a16:creationId xmlns:a16="http://schemas.microsoft.com/office/drawing/2014/main" id="{79D9839E-7759-40D6-80D4-DDBBD91363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6 w 6"/>
                <a:gd name="T1" fmla="*/ 0 h 3"/>
                <a:gd name="T2" fmla="*/ 5 w 6"/>
                <a:gd name="T3" fmla="*/ 1 h 3"/>
                <a:gd name="T4" fmla="*/ 3 w 6"/>
                <a:gd name="T5" fmla="*/ 2 h 3"/>
                <a:gd name="T6" fmla="*/ 1 w 6"/>
                <a:gd name="T7" fmla="*/ 3 h 3"/>
                <a:gd name="T8" fmla="*/ 0 w 6"/>
                <a:gd name="T9" fmla="*/ 2 h 3"/>
                <a:gd name="T10" fmla="*/ 0 w 6"/>
                <a:gd name="T11" fmla="*/ 2 h 3"/>
                <a:gd name="T12" fmla="*/ 0 w 6"/>
                <a:gd name="T13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6" name="Freeform 139">
              <a:extLst>
                <a:ext uri="{FF2B5EF4-FFF2-40B4-BE49-F238E27FC236}">
                  <a16:creationId xmlns:a16="http://schemas.microsoft.com/office/drawing/2014/main" id="{0A07A447-B843-4E2F-8871-BB4E9B92A69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14 w 14"/>
                <a:gd name="T1" fmla="*/ 0 h 24"/>
                <a:gd name="T2" fmla="*/ 13 w 14"/>
                <a:gd name="T3" fmla="*/ 5 h 24"/>
                <a:gd name="T4" fmla="*/ 9 w 14"/>
                <a:gd name="T5" fmla="*/ 12 h 24"/>
                <a:gd name="T6" fmla="*/ 5 w 14"/>
                <a:gd name="T7" fmla="*/ 19 h 24"/>
                <a:gd name="T8" fmla="*/ 0 w 14"/>
                <a:gd name="T9" fmla="*/ 24 h 24"/>
                <a:gd name="T10" fmla="*/ 0 w 14"/>
                <a:gd name="T11" fmla="*/ 16 h 24"/>
                <a:gd name="T12" fmla="*/ 0 w 14"/>
                <a:gd name="T13" fmla="*/ 12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7" name="Line 140">
              <a:extLst>
                <a:ext uri="{FF2B5EF4-FFF2-40B4-BE49-F238E27FC236}">
                  <a16:creationId xmlns:a16="http://schemas.microsoft.com/office/drawing/2014/main" id="{90706254-4EF7-4A25-9473-3CAA47C5395F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38" name="Freeform 141">
              <a:extLst>
                <a:ext uri="{FF2B5EF4-FFF2-40B4-BE49-F238E27FC236}">
                  <a16:creationId xmlns:a16="http://schemas.microsoft.com/office/drawing/2014/main" id="{B6B72A24-9DF6-423F-86C8-FF399F7FC8C4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13 w 13"/>
                <a:gd name="T1" fmla="*/ 12 h 12"/>
                <a:gd name="T2" fmla="*/ 0 w 13"/>
                <a:gd name="T3" fmla="*/ 0 h 12"/>
                <a:gd name="T4" fmla="*/ 13 w 13"/>
                <a:gd name="T5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39" name="Freeform 142">
              <a:extLst>
                <a:ext uri="{FF2B5EF4-FFF2-40B4-BE49-F238E27FC236}">
                  <a16:creationId xmlns:a16="http://schemas.microsoft.com/office/drawing/2014/main" id="{9817CA3A-922A-47FA-9F2E-0AA3D502B61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19 h 19"/>
                <a:gd name="T4" fmla="*/ 0 w 7"/>
                <a:gd name="T5" fmla="*/ 0 h 19"/>
                <a:gd name="T6" fmla="*/ 7 w 7"/>
                <a:gd name="T7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0" name="Line 143">
              <a:extLst>
                <a:ext uri="{FF2B5EF4-FFF2-40B4-BE49-F238E27FC236}">
                  <a16:creationId xmlns:a16="http://schemas.microsoft.com/office/drawing/2014/main" id="{F1BBCBC7-E5A8-4AC8-BC30-F30CDE912521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41" name="Freeform 144">
              <a:extLst>
                <a:ext uri="{FF2B5EF4-FFF2-40B4-BE49-F238E27FC236}">
                  <a16:creationId xmlns:a16="http://schemas.microsoft.com/office/drawing/2014/main" id="{9A91561A-068B-4C94-81B4-E89AFA06F5C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18 h 18"/>
                <a:gd name="T2" fmla="*/ 8 w 8"/>
                <a:gd name="T3" fmla="*/ 6 h 18"/>
                <a:gd name="T4" fmla="*/ 0 w 8"/>
                <a:gd name="T5" fmla="*/ 0 h 18"/>
                <a:gd name="T6" fmla="*/ 0 w 8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2" name="Freeform 145">
              <a:extLst>
                <a:ext uri="{FF2B5EF4-FFF2-40B4-BE49-F238E27FC236}">
                  <a16:creationId xmlns:a16="http://schemas.microsoft.com/office/drawing/2014/main" id="{BD45A96B-0FED-4B29-AD42-5780A7370D8F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19 h 19"/>
                <a:gd name="T4" fmla="*/ 6 w 6"/>
                <a:gd name="T5" fmla="*/ 13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3" name="Freeform 146">
              <a:extLst>
                <a:ext uri="{FF2B5EF4-FFF2-40B4-BE49-F238E27FC236}">
                  <a16:creationId xmlns:a16="http://schemas.microsoft.com/office/drawing/2014/main" id="{5B50086A-F94B-4376-B4E5-955594E90D49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19 h 19"/>
                <a:gd name="T4" fmla="*/ 28 w 28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4" name="Freeform 147">
              <a:extLst>
                <a:ext uri="{FF2B5EF4-FFF2-40B4-BE49-F238E27FC236}">
                  <a16:creationId xmlns:a16="http://schemas.microsoft.com/office/drawing/2014/main" id="{30D3B04B-5C30-4618-90A3-284723B62626}"/>
                </a:ext>
              </a:extLst>
            </p:cNvPr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15 w 15"/>
                <a:gd name="T1" fmla="*/ 19 h 19"/>
                <a:gd name="T2" fmla="*/ 8 w 15"/>
                <a:gd name="T3" fmla="*/ 9 h 19"/>
                <a:gd name="T4" fmla="*/ 0 w 15"/>
                <a:gd name="T5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5" name="Freeform 148">
              <a:extLst>
                <a:ext uri="{FF2B5EF4-FFF2-40B4-BE49-F238E27FC236}">
                  <a16:creationId xmlns:a16="http://schemas.microsoft.com/office/drawing/2014/main" id="{665B421B-FEDD-4980-A296-68F2AD2E05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13 w 20"/>
                <a:gd name="T1" fmla="*/ 18 h 18"/>
                <a:gd name="T2" fmla="*/ 20 w 20"/>
                <a:gd name="T3" fmla="*/ 0 h 18"/>
                <a:gd name="T4" fmla="*/ 0 w 20"/>
                <a:gd name="T5" fmla="*/ 0 h 18"/>
                <a:gd name="T6" fmla="*/ 13 w 20"/>
                <a:gd name="T7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146" name="Group 149">
            <a:extLst>
              <a:ext uri="{FF2B5EF4-FFF2-40B4-BE49-F238E27FC236}">
                <a16:creationId xmlns:a16="http://schemas.microsoft.com/office/drawing/2014/main" id="{914E5DED-67FC-4CED-9CA6-EFCF124A2010}"/>
              </a:ext>
            </a:extLst>
          </p:cNvPr>
          <p:cNvGrpSpPr>
            <a:grpSpLocks/>
          </p:cNvGrpSpPr>
          <p:nvPr>
            <p:custDataLst>
              <p:tags r:id="rId92"/>
            </p:custDataLst>
          </p:nvPr>
        </p:nvGrpSpPr>
        <p:grpSpPr bwMode="auto">
          <a:xfrm>
            <a:off x="11480215" y="4144260"/>
            <a:ext cx="178754" cy="214313"/>
            <a:chOff x="5486" y="2743"/>
            <a:chExt cx="137" cy="132"/>
          </a:xfrm>
        </p:grpSpPr>
        <p:sp>
          <p:nvSpPr>
            <p:cNvPr id="147" name="Freeform 150">
              <a:extLst>
                <a:ext uri="{FF2B5EF4-FFF2-40B4-BE49-F238E27FC236}">
                  <a16:creationId xmlns:a16="http://schemas.microsoft.com/office/drawing/2014/main" id="{4C09C380-DE44-4311-B499-737DEEFF68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31 h 87"/>
                <a:gd name="T2" fmla="*/ 0 w 40"/>
                <a:gd name="T3" fmla="*/ 42 h 87"/>
                <a:gd name="T4" fmla="*/ 2 w 40"/>
                <a:gd name="T5" fmla="*/ 51 h 87"/>
                <a:gd name="T6" fmla="*/ 5 w 40"/>
                <a:gd name="T7" fmla="*/ 59 h 87"/>
                <a:gd name="T8" fmla="*/ 10 w 40"/>
                <a:gd name="T9" fmla="*/ 66 h 87"/>
                <a:gd name="T10" fmla="*/ 15 w 40"/>
                <a:gd name="T11" fmla="*/ 72 h 87"/>
                <a:gd name="T12" fmla="*/ 22 w 40"/>
                <a:gd name="T13" fmla="*/ 77 h 87"/>
                <a:gd name="T14" fmla="*/ 31 w 40"/>
                <a:gd name="T15" fmla="*/ 82 h 87"/>
                <a:gd name="T16" fmla="*/ 40 w 40"/>
                <a:gd name="T17" fmla="*/ 87 h 87"/>
                <a:gd name="T18" fmla="*/ 35 w 40"/>
                <a:gd name="T19" fmla="*/ 82 h 87"/>
                <a:gd name="T20" fmla="*/ 32 w 40"/>
                <a:gd name="T21" fmla="*/ 77 h 87"/>
                <a:gd name="T22" fmla="*/ 29 w 40"/>
                <a:gd name="T23" fmla="*/ 71 h 87"/>
                <a:gd name="T24" fmla="*/ 26 w 40"/>
                <a:gd name="T25" fmla="*/ 65 h 87"/>
                <a:gd name="T26" fmla="*/ 22 w 40"/>
                <a:gd name="T27" fmla="*/ 52 h 87"/>
                <a:gd name="T28" fmla="*/ 20 w 40"/>
                <a:gd name="T29" fmla="*/ 39 h 87"/>
                <a:gd name="T30" fmla="*/ 18 w 40"/>
                <a:gd name="T31" fmla="*/ 27 h 87"/>
                <a:gd name="T32" fmla="*/ 13 w 40"/>
                <a:gd name="T33" fmla="*/ 16 h 87"/>
                <a:gd name="T34" fmla="*/ 11 w 40"/>
                <a:gd name="T35" fmla="*/ 11 h 87"/>
                <a:gd name="T36" fmla="*/ 8 w 40"/>
                <a:gd name="T37" fmla="*/ 6 h 87"/>
                <a:gd name="T38" fmla="*/ 4 w 40"/>
                <a:gd name="T39" fmla="*/ 3 h 87"/>
                <a:gd name="T40" fmla="*/ 0 w 40"/>
                <a:gd name="T41" fmla="*/ 0 h 87"/>
                <a:gd name="T42" fmla="*/ 0 w 40"/>
                <a:gd name="T43" fmla="*/ 9 h 87"/>
                <a:gd name="T44" fmla="*/ 0 w 40"/>
                <a:gd name="T45" fmla="*/ 16 h 87"/>
                <a:gd name="T46" fmla="*/ 0 w 40"/>
                <a:gd name="T47" fmla="*/ 23 h 87"/>
                <a:gd name="T48" fmla="*/ 0 w 40"/>
                <a:gd name="T49" fmla="*/ 31 h 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8" name="Freeform 151">
              <a:extLst>
                <a:ext uri="{FF2B5EF4-FFF2-40B4-BE49-F238E27FC236}">
                  <a16:creationId xmlns:a16="http://schemas.microsoft.com/office/drawing/2014/main" id="{7196CCA5-EC12-4AE6-92FF-BE765AE1246A}"/>
                </a:ext>
              </a:extLst>
            </p:cNvPr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31 h 37"/>
                <a:gd name="T2" fmla="*/ 19 w 61"/>
                <a:gd name="T3" fmla="*/ 32 h 37"/>
                <a:gd name="T4" fmla="*/ 35 w 61"/>
                <a:gd name="T5" fmla="*/ 34 h 37"/>
                <a:gd name="T6" fmla="*/ 49 w 61"/>
                <a:gd name="T7" fmla="*/ 36 h 37"/>
                <a:gd name="T8" fmla="*/ 61 w 61"/>
                <a:gd name="T9" fmla="*/ 37 h 37"/>
                <a:gd name="T10" fmla="*/ 55 w 61"/>
                <a:gd name="T11" fmla="*/ 29 h 37"/>
                <a:gd name="T12" fmla="*/ 49 w 61"/>
                <a:gd name="T13" fmla="*/ 22 h 37"/>
                <a:gd name="T14" fmla="*/ 42 w 61"/>
                <a:gd name="T15" fmla="*/ 17 h 37"/>
                <a:gd name="T16" fmla="*/ 35 w 61"/>
                <a:gd name="T17" fmla="*/ 12 h 37"/>
                <a:gd name="T18" fmla="*/ 28 w 61"/>
                <a:gd name="T19" fmla="*/ 9 h 37"/>
                <a:gd name="T20" fmla="*/ 19 w 61"/>
                <a:gd name="T21" fmla="*/ 5 h 37"/>
                <a:gd name="T22" fmla="*/ 10 w 61"/>
                <a:gd name="T23" fmla="*/ 2 h 37"/>
                <a:gd name="T24" fmla="*/ 0 w 61"/>
                <a:gd name="T25" fmla="*/ 0 h 37"/>
                <a:gd name="T26" fmla="*/ 0 w 61"/>
                <a:gd name="T27" fmla="*/ 31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49" name="Freeform 152">
              <a:extLst>
                <a:ext uri="{FF2B5EF4-FFF2-40B4-BE49-F238E27FC236}">
                  <a16:creationId xmlns:a16="http://schemas.microsoft.com/office/drawing/2014/main" id="{06C8BC7C-3C42-4C8E-A271-8A343EEA7C41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40 w 40"/>
                <a:gd name="T1" fmla="*/ 30 h 30"/>
                <a:gd name="T2" fmla="*/ 33 w 40"/>
                <a:gd name="T3" fmla="*/ 28 h 30"/>
                <a:gd name="T4" fmla="*/ 26 w 40"/>
                <a:gd name="T5" fmla="*/ 25 h 30"/>
                <a:gd name="T6" fmla="*/ 21 w 40"/>
                <a:gd name="T7" fmla="*/ 22 h 30"/>
                <a:gd name="T8" fmla="*/ 15 w 40"/>
                <a:gd name="T9" fmla="*/ 19 h 30"/>
                <a:gd name="T10" fmla="*/ 11 w 40"/>
                <a:gd name="T11" fmla="*/ 16 h 30"/>
                <a:gd name="T12" fmla="*/ 6 w 40"/>
                <a:gd name="T13" fmla="*/ 11 h 30"/>
                <a:gd name="T14" fmla="*/ 3 w 40"/>
                <a:gd name="T15" fmla="*/ 6 h 30"/>
                <a:gd name="T16" fmla="*/ 0 w 40"/>
                <a:gd name="T17" fmla="*/ 0 h 30"/>
                <a:gd name="T18" fmla="*/ 8 w 40"/>
                <a:gd name="T19" fmla="*/ 2 h 30"/>
                <a:gd name="T20" fmla="*/ 15 w 40"/>
                <a:gd name="T21" fmla="*/ 6 h 30"/>
                <a:gd name="T22" fmla="*/ 22 w 40"/>
                <a:gd name="T23" fmla="*/ 10 h 30"/>
                <a:gd name="T24" fmla="*/ 27 w 40"/>
                <a:gd name="T25" fmla="*/ 15 h 30"/>
                <a:gd name="T26" fmla="*/ 33 w 40"/>
                <a:gd name="T27" fmla="*/ 19 h 30"/>
                <a:gd name="T28" fmla="*/ 36 w 40"/>
                <a:gd name="T29" fmla="*/ 23 h 30"/>
                <a:gd name="T30" fmla="*/ 39 w 40"/>
                <a:gd name="T31" fmla="*/ 27 h 30"/>
                <a:gd name="T32" fmla="*/ 40 w 40"/>
                <a:gd name="T33" fmla="*/ 30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0" name="Freeform 153">
              <a:extLst>
                <a:ext uri="{FF2B5EF4-FFF2-40B4-BE49-F238E27FC236}">
                  <a16:creationId xmlns:a16="http://schemas.microsoft.com/office/drawing/2014/main" id="{CFA7A137-2388-4F6A-8A3F-06711E12804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74 w 74"/>
                <a:gd name="T1" fmla="*/ 80 h 80"/>
                <a:gd name="T2" fmla="*/ 72 w 74"/>
                <a:gd name="T3" fmla="*/ 73 h 80"/>
                <a:gd name="T4" fmla="*/ 71 w 74"/>
                <a:gd name="T5" fmla="*/ 66 h 80"/>
                <a:gd name="T6" fmla="*/ 69 w 74"/>
                <a:gd name="T7" fmla="*/ 60 h 80"/>
                <a:gd name="T8" fmla="*/ 66 w 74"/>
                <a:gd name="T9" fmla="*/ 53 h 80"/>
                <a:gd name="T10" fmla="*/ 58 w 74"/>
                <a:gd name="T11" fmla="*/ 42 h 80"/>
                <a:gd name="T12" fmla="*/ 48 w 74"/>
                <a:gd name="T13" fmla="*/ 33 h 80"/>
                <a:gd name="T14" fmla="*/ 38 w 74"/>
                <a:gd name="T15" fmla="*/ 25 h 80"/>
                <a:gd name="T16" fmla="*/ 29 w 74"/>
                <a:gd name="T17" fmla="*/ 17 h 80"/>
                <a:gd name="T18" fmla="*/ 20 w 74"/>
                <a:gd name="T19" fmla="*/ 9 h 80"/>
                <a:gd name="T20" fmla="*/ 13 w 74"/>
                <a:gd name="T21" fmla="*/ 0 h 80"/>
                <a:gd name="T22" fmla="*/ 9 w 74"/>
                <a:gd name="T23" fmla="*/ 5 h 80"/>
                <a:gd name="T24" fmla="*/ 4 w 74"/>
                <a:gd name="T25" fmla="*/ 10 h 80"/>
                <a:gd name="T26" fmla="*/ 1 w 74"/>
                <a:gd name="T27" fmla="*/ 14 h 80"/>
                <a:gd name="T28" fmla="*/ 0 w 74"/>
                <a:gd name="T29" fmla="*/ 19 h 80"/>
                <a:gd name="T30" fmla="*/ 0 w 74"/>
                <a:gd name="T31" fmla="*/ 25 h 80"/>
                <a:gd name="T32" fmla="*/ 2 w 74"/>
                <a:gd name="T33" fmla="*/ 30 h 80"/>
                <a:gd name="T34" fmla="*/ 4 w 74"/>
                <a:gd name="T35" fmla="*/ 36 h 80"/>
                <a:gd name="T36" fmla="*/ 7 w 74"/>
                <a:gd name="T37" fmla="*/ 41 h 80"/>
                <a:gd name="T38" fmla="*/ 10 w 74"/>
                <a:gd name="T39" fmla="*/ 46 h 80"/>
                <a:gd name="T40" fmla="*/ 14 w 74"/>
                <a:gd name="T41" fmla="*/ 51 h 80"/>
                <a:gd name="T42" fmla="*/ 19 w 74"/>
                <a:gd name="T43" fmla="*/ 56 h 80"/>
                <a:gd name="T44" fmla="*/ 24 w 74"/>
                <a:gd name="T45" fmla="*/ 61 h 80"/>
                <a:gd name="T46" fmla="*/ 30 w 74"/>
                <a:gd name="T47" fmla="*/ 66 h 80"/>
                <a:gd name="T48" fmla="*/ 35 w 74"/>
                <a:gd name="T49" fmla="*/ 69 h 80"/>
                <a:gd name="T50" fmla="*/ 42 w 74"/>
                <a:gd name="T51" fmla="*/ 72 h 80"/>
                <a:gd name="T52" fmla="*/ 47 w 74"/>
                <a:gd name="T53" fmla="*/ 75 h 80"/>
                <a:gd name="T54" fmla="*/ 54 w 74"/>
                <a:gd name="T55" fmla="*/ 77 h 80"/>
                <a:gd name="T56" fmla="*/ 60 w 74"/>
                <a:gd name="T57" fmla="*/ 79 h 80"/>
                <a:gd name="T58" fmla="*/ 67 w 74"/>
                <a:gd name="T59" fmla="*/ 80 h 80"/>
                <a:gd name="T60" fmla="*/ 74 w 74"/>
                <a:gd name="T61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1" name="Freeform 154">
              <a:extLst>
                <a:ext uri="{FF2B5EF4-FFF2-40B4-BE49-F238E27FC236}">
                  <a16:creationId xmlns:a16="http://schemas.microsoft.com/office/drawing/2014/main" id="{F8A41D77-9FB4-4BD5-BD30-7A2E361714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52 w 86"/>
                <a:gd name="T1" fmla="*/ 80 h 80"/>
                <a:gd name="T2" fmla="*/ 86 w 86"/>
                <a:gd name="T3" fmla="*/ 80 h 80"/>
                <a:gd name="T4" fmla="*/ 86 w 86"/>
                <a:gd name="T5" fmla="*/ 61 h 80"/>
                <a:gd name="T6" fmla="*/ 79 w 86"/>
                <a:gd name="T7" fmla="*/ 59 h 80"/>
                <a:gd name="T8" fmla="*/ 72 w 86"/>
                <a:gd name="T9" fmla="*/ 56 h 80"/>
                <a:gd name="T10" fmla="*/ 67 w 86"/>
                <a:gd name="T11" fmla="*/ 53 h 80"/>
                <a:gd name="T12" fmla="*/ 61 w 86"/>
                <a:gd name="T13" fmla="*/ 49 h 80"/>
                <a:gd name="T14" fmla="*/ 51 w 86"/>
                <a:gd name="T15" fmla="*/ 41 h 80"/>
                <a:gd name="T16" fmla="*/ 43 w 86"/>
                <a:gd name="T17" fmla="*/ 33 h 80"/>
                <a:gd name="T18" fmla="*/ 34 w 86"/>
                <a:gd name="T19" fmla="*/ 25 h 80"/>
                <a:gd name="T20" fmla="*/ 24 w 86"/>
                <a:gd name="T21" fmla="*/ 16 h 80"/>
                <a:gd name="T22" fmla="*/ 13 w 86"/>
                <a:gd name="T23" fmla="*/ 7 h 80"/>
                <a:gd name="T24" fmla="*/ 0 w 86"/>
                <a:gd name="T25" fmla="*/ 0 h 80"/>
                <a:gd name="T26" fmla="*/ 1 w 86"/>
                <a:gd name="T27" fmla="*/ 8 h 80"/>
                <a:gd name="T28" fmla="*/ 5 w 86"/>
                <a:gd name="T29" fmla="*/ 20 h 80"/>
                <a:gd name="T30" fmla="*/ 11 w 86"/>
                <a:gd name="T31" fmla="*/ 32 h 80"/>
                <a:gd name="T32" fmla="*/ 18 w 86"/>
                <a:gd name="T33" fmla="*/ 44 h 80"/>
                <a:gd name="T34" fmla="*/ 27 w 86"/>
                <a:gd name="T35" fmla="*/ 57 h 80"/>
                <a:gd name="T36" fmla="*/ 36 w 86"/>
                <a:gd name="T37" fmla="*/ 67 h 80"/>
                <a:gd name="T38" fmla="*/ 40 w 86"/>
                <a:gd name="T39" fmla="*/ 72 h 80"/>
                <a:gd name="T40" fmla="*/ 45 w 86"/>
                <a:gd name="T41" fmla="*/ 76 h 80"/>
                <a:gd name="T42" fmla="*/ 49 w 86"/>
                <a:gd name="T43" fmla="*/ 79 h 80"/>
                <a:gd name="T44" fmla="*/ 52 w 86"/>
                <a:gd name="T45" fmla="*/ 80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2" name="Freeform 155">
              <a:extLst>
                <a:ext uri="{FF2B5EF4-FFF2-40B4-BE49-F238E27FC236}">
                  <a16:creationId xmlns:a16="http://schemas.microsoft.com/office/drawing/2014/main" id="{6EEDF28B-03A8-45EB-9CA1-3EE41CECB31A}"/>
                </a:ext>
              </a:extLst>
            </p:cNvPr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7 h 31"/>
                <a:gd name="T2" fmla="*/ 3 w 74"/>
                <a:gd name="T3" fmla="*/ 11 h 31"/>
                <a:gd name="T4" fmla="*/ 5 w 74"/>
                <a:gd name="T5" fmla="*/ 15 h 31"/>
                <a:gd name="T6" fmla="*/ 9 w 74"/>
                <a:gd name="T7" fmla="*/ 18 h 31"/>
                <a:gd name="T8" fmla="*/ 14 w 74"/>
                <a:gd name="T9" fmla="*/ 21 h 31"/>
                <a:gd name="T10" fmla="*/ 18 w 74"/>
                <a:gd name="T11" fmla="*/ 24 h 31"/>
                <a:gd name="T12" fmla="*/ 23 w 74"/>
                <a:gd name="T13" fmla="*/ 26 h 31"/>
                <a:gd name="T14" fmla="*/ 29 w 74"/>
                <a:gd name="T15" fmla="*/ 28 h 31"/>
                <a:gd name="T16" fmla="*/ 34 w 74"/>
                <a:gd name="T17" fmla="*/ 29 h 31"/>
                <a:gd name="T18" fmla="*/ 47 w 74"/>
                <a:gd name="T19" fmla="*/ 31 h 31"/>
                <a:gd name="T20" fmla="*/ 58 w 74"/>
                <a:gd name="T21" fmla="*/ 31 h 31"/>
                <a:gd name="T22" fmla="*/ 63 w 74"/>
                <a:gd name="T23" fmla="*/ 30 h 31"/>
                <a:gd name="T24" fmla="*/ 67 w 74"/>
                <a:gd name="T25" fmla="*/ 29 h 31"/>
                <a:gd name="T26" fmla="*/ 71 w 74"/>
                <a:gd name="T27" fmla="*/ 27 h 31"/>
                <a:gd name="T28" fmla="*/ 74 w 74"/>
                <a:gd name="T29" fmla="*/ 25 h 31"/>
                <a:gd name="T30" fmla="*/ 64 w 74"/>
                <a:gd name="T31" fmla="*/ 18 h 31"/>
                <a:gd name="T32" fmla="*/ 55 w 74"/>
                <a:gd name="T33" fmla="*/ 13 h 31"/>
                <a:gd name="T34" fmla="*/ 51 w 74"/>
                <a:gd name="T35" fmla="*/ 10 h 31"/>
                <a:gd name="T36" fmla="*/ 47 w 74"/>
                <a:gd name="T37" fmla="*/ 8 h 31"/>
                <a:gd name="T38" fmla="*/ 43 w 74"/>
                <a:gd name="T39" fmla="*/ 5 h 31"/>
                <a:gd name="T40" fmla="*/ 41 w 74"/>
                <a:gd name="T41" fmla="*/ 0 h 31"/>
                <a:gd name="T42" fmla="*/ 33 w 74"/>
                <a:gd name="T43" fmla="*/ 1 h 31"/>
                <a:gd name="T44" fmla="*/ 28 w 74"/>
                <a:gd name="T45" fmla="*/ 1 h 31"/>
                <a:gd name="T46" fmla="*/ 22 w 74"/>
                <a:gd name="T47" fmla="*/ 1 h 31"/>
                <a:gd name="T48" fmla="*/ 18 w 74"/>
                <a:gd name="T49" fmla="*/ 0 h 31"/>
                <a:gd name="T50" fmla="*/ 14 w 74"/>
                <a:gd name="T51" fmla="*/ 0 h 31"/>
                <a:gd name="T52" fmla="*/ 10 w 74"/>
                <a:gd name="T53" fmla="*/ 0 h 31"/>
                <a:gd name="T54" fmla="*/ 6 w 74"/>
                <a:gd name="T55" fmla="*/ 3 h 31"/>
                <a:gd name="T56" fmla="*/ 0 w 74"/>
                <a:gd name="T57" fmla="*/ 7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3" name="Freeform 156">
              <a:extLst>
                <a:ext uri="{FF2B5EF4-FFF2-40B4-BE49-F238E27FC236}">
                  <a16:creationId xmlns:a16="http://schemas.microsoft.com/office/drawing/2014/main" id="{1C702E42-9A35-4D11-B03A-F62D32244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20 w 20"/>
                <a:gd name="T1" fmla="*/ 0 w 20"/>
                <a:gd name="T2" fmla="*/ 10 w 20"/>
                <a:gd name="T3" fmla="*/ 20 w 2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" name="Freeform 157">
              <a:extLst>
                <a:ext uri="{FF2B5EF4-FFF2-40B4-BE49-F238E27FC236}">
                  <a16:creationId xmlns:a16="http://schemas.microsoft.com/office/drawing/2014/main" id="{39AC19AC-496A-475C-A364-45C6D5D873F5}"/>
                </a:ext>
              </a:extLst>
            </p:cNvPr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7 w 100"/>
                <a:gd name="T1" fmla="*/ 25 h 65"/>
                <a:gd name="T2" fmla="*/ 35 w 100"/>
                <a:gd name="T3" fmla="*/ 40 h 65"/>
                <a:gd name="T4" fmla="*/ 61 w 100"/>
                <a:gd name="T5" fmla="*/ 55 h 65"/>
                <a:gd name="T6" fmla="*/ 72 w 100"/>
                <a:gd name="T7" fmla="*/ 60 h 65"/>
                <a:gd name="T8" fmla="*/ 83 w 100"/>
                <a:gd name="T9" fmla="*/ 65 h 65"/>
                <a:gd name="T10" fmla="*/ 87 w 100"/>
                <a:gd name="T11" fmla="*/ 65 h 65"/>
                <a:gd name="T12" fmla="*/ 91 w 100"/>
                <a:gd name="T13" fmla="*/ 65 h 65"/>
                <a:gd name="T14" fmla="*/ 96 w 100"/>
                <a:gd name="T15" fmla="*/ 65 h 65"/>
                <a:gd name="T16" fmla="*/ 100 w 100"/>
                <a:gd name="T17" fmla="*/ 62 h 65"/>
                <a:gd name="T18" fmla="*/ 94 w 100"/>
                <a:gd name="T19" fmla="*/ 60 h 65"/>
                <a:gd name="T20" fmla="*/ 88 w 100"/>
                <a:gd name="T21" fmla="*/ 56 h 65"/>
                <a:gd name="T22" fmla="*/ 83 w 100"/>
                <a:gd name="T23" fmla="*/ 52 h 65"/>
                <a:gd name="T24" fmla="*/ 78 w 100"/>
                <a:gd name="T25" fmla="*/ 46 h 65"/>
                <a:gd name="T26" fmla="*/ 67 w 100"/>
                <a:gd name="T27" fmla="*/ 34 h 65"/>
                <a:gd name="T28" fmla="*/ 57 w 100"/>
                <a:gd name="T29" fmla="*/ 21 h 65"/>
                <a:gd name="T30" fmla="*/ 52 w 100"/>
                <a:gd name="T31" fmla="*/ 15 h 65"/>
                <a:gd name="T32" fmla="*/ 46 w 100"/>
                <a:gd name="T33" fmla="*/ 10 h 65"/>
                <a:gd name="T34" fmla="*/ 40 w 100"/>
                <a:gd name="T35" fmla="*/ 4 h 65"/>
                <a:gd name="T36" fmla="*/ 33 w 100"/>
                <a:gd name="T37" fmla="*/ 1 h 65"/>
                <a:gd name="T38" fmla="*/ 27 w 100"/>
                <a:gd name="T39" fmla="*/ 0 h 65"/>
                <a:gd name="T40" fmla="*/ 18 w 100"/>
                <a:gd name="T41" fmla="*/ 0 h 65"/>
                <a:gd name="T42" fmla="*/ 10 w 100"/>
                <a:gd name="T43" fmla="*/ 2 h 65"/>
                <a:gd name="T44" fmla="*/ 0 w 100"/>
                <a:gd name="T45" fmla="*/ 6 h 65"/>
                <a:gd name="T46" fmla="*/ 7 w 100"/>
                <a:gd name="T47" fmla="*/ 25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5" name="Freeform 158">
              <a:extLst>
                <a:ext uri="{FF2B5EF4-FFF2-40B4-BE49-F238E27FC236}">
                  <a16:creationId xmlns:a16="http://schemas.microsoft.com/office/drawing/2014/main" id="{71FA8425-5F49-46F9-84AA-46289FDA5DAF}"/>
                </a:ext>
              </a:extLst>
            </p:cNvPr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72 w 79"/>
                <a:gd name="T1" fmla="*/ 85 h 104"/>
                <a:gd name="T2" fmla="*/ 56 w 79"/>
                <a:gd name="T3" fmla="*/ 61 h 104"/>
                <a:gd name="T4" fmla="*/ 43 w 79"/>
                <a:gd name="T5" fmla="*/ 41 h 104"/>
                <a:gd name="T6" fmla="*/ 29 w 79"/>
                <a:gd name="T7" fmla="*/ 20 h 104"/>
                <a:gd name="T8" fmla="*/ 12 w 79"/>
                <a:gd name="T9" fmla="*/ 0 h 104"/>
                <a:gd name="T10" fmla="*/ 6 w 79"/>
                <a:gd name="T11" fmla="*/ 16 h 104"/>
                <a:gd name="T12" fmla="*/ 2 w 79"/>
                <a:gd name="T13" fmla="*/ 33 h 104"/>
                <a:gd name="T14" fmla="*/ 0 w 79"/>
                <a:gd name="T15" fmla="*/ 40 h 104"/>
                <a:gd name="T16" fmla="*/ 0 w 79"/>
                <a:gd name="T17" fmla="*/ 48 h 104"/>
                <a:gd name="T18" fmla="*/ 0 w 79"/>
                <a:gd name="T19" fmla="*/ 55 h 104"/>
                <a:gd name="T20" fmla="*/ 0 w 79"/>
                <a:gd name="T21" fmla="*/ 62 h 104"/>
                <a:gd name="T22" fmla="*/ 1 w 79"/>
                <a:gd name="T23" fmla="*/ 68 h 104"/>
                <a:gd name="T24" fmla="*/ 3 w 79"/>
                <a:gd name="T25" fmla="*/ 74 h 104"/>
                <a:gd name="T26" fmla="*/ 6 w 79"/>
                <a:gd name="T27" fmla="*/ 79 h 104"/>
                <a:gd name="T28" fmla="*/ 10 w 79"/>
                <a:gd name="T29" fmla="*/ 83 h 104"/>
                <a:gd name="T30" fmla="*/ 14 w 79"/>
                <a:gd name="T31" fmla="*/ 88 h 104"/>
                <a:gd name="T32" fmla="*/ 20 w 79"/>
                <a:gd name="T33" fmla="*/ 90 h 104"/>
                <a:gd name="T34" fmla="*/ 25 w 79"/>
                <a:gd name="T35" fmla="*/ 92 h 104"/>
                <a:gd name="T36" fmla="*/ 33 w 79"/>
                <a:gd name="T37" fmla="*/ 92 h 104"/>
                <a:gd name="T38" fmla="*/ 43 w 79"/>
                <a:gd name="T39" fmla="*/ 93 h 104"/>
                <a:gd name="T40" fmla="*/ 54 w 79"/>
                <a:gd name="T41" fmla="*/ 96 h 104"/>
                <a:gd name="T42" fmla="*/ 65 w 79"/>
                <a:gd name="T43" fmla="*/ 100 h 104"/>
                <a:gd name="T44" fmla="*/ 79 w 79"/>
                <a:gd name="T45" fmla="*/ 104 h 104"/>
                <a:gd name="T46" fmla="*/ 72 w 79"/>
                <a:gd name="T47" fmla="*/ 85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56" name="Freeform 159">
            <a:extLst>
              <a:ext uri="{FF2B5EF4-FFF2-40B4-BE49-F238E27FC236}">
                <a16:creationId xmlns:a16="http://schemas.microsoft.com/office/drawing/2014/main" id="{781FA1CE-0294-4FAD-B7E6-E57B390A08C6}"/>
              </a:ext>
            </a:extLst>
          </p:cNvPr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7963193" y="3882322"/>
            <a:ext cx="10695" cy="55562"/>
          </a:xfrm>
          <a:custGeom>
            <a:avLst/>
            <a:gdLst>
              <a:gd name="T0" fmla="*/ 27 w 27"/>
              <a:gd name="T1" fmla="*/ 0 h 19"/>
              <a:gd name="T2" fmla="*/ 27 w 27"/>
              <a:gd name="T3" fmla="*/ 12 h 19"/>
              <a:gd name="T4" fmla="*/ 27 w 27"/>
              <a:gd name="T5" fmla="*/ 19 h 19"/>
              <a:gd name="T6" fmla="*/ 9 w 27"/>
              <a:gd name="T7" fmla="*/ 19 h 19"/>
              <a:gd name="T8" fmla="*/ 0 w 27"/>
              <a:gd name="T9" fmla="*/ 19 h 19"/>
              <a:gd name="T10" fmla="*/ 9 w 27"/>
              <a:gd name="T11" fmla="*/ 12 h 19"/>
              <a:gd name="T12" fmla="*/ 27 w 27"/>
              <a:gd name="T1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57" name="Freeform 160">
            <a:extLst>
              <a:ext uri="{FF2B5EF4-FFF2-40B4-BE49-F238E27FC236}">
                <a16:creationId xmlns:a16="http://schemas.microsoft.com/office/drawing/2014/main" id="{B5DFAE4C-12AA-4A4E-8202-8541ED4692C3}"/>
              </a:ext>
            </a:extLst>
          </p:cNvPr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7889858" y="4022022"/>
            <a:ext cx="13751" cy="57150"/>
          </a:xfrm>
          <a:custGeom>
            <a:avLst/>
            <a:gdLst>
              <a:gd name="T0" fmla="*/ 0 w 39"/>
              <a:gd name="T1" fmla="*/ 0 h 35"/>
              <a:gd name="T2" fmla="*/ 39 w 39"/>
              <a:gd name="T3" fmla="*/ 0 h 35"/>
              <a:gd name="T4" fmla="*/ 36 w 39"/>
              <a:gd name="T5" fmla="*/ 9 h 35"/>
              <a:gd name="T6" fmla="*/ 33 w 39"/>
              <a:gd name="T7" fmla="*/ 19 h 35"/>
              <a:gd name="T8" fmla="*/ 27 w 39"/>
              <a:gd name="T9" fmla="*/ 28 h 35"/>
              <a:gd name="T10" fmla="*/ 22 w 39"/>
              <a:gd name="T11" fmla="*/ 34 h 35"/>
              <a:gd name="T12" fmla="*/ 19 w 39"/>
              <a:gd name="T13" fmla="*/ 35 h 35"/>
              <a:gd name="T14" fmla="*/ 16 w 39"/>
              <a:gd name="T15" fmla="*/ 35 h 35"/>
              <a:gd name="T16" fmla="*/ 13 w 39"/>
              <a:gd name="T17" fmla="*/ 34 h 35"/>
              <a:gd name="T18" fmla="*/ 11 w 39"/>
              <a:gd name="T19" fmla="*/ 31 h 35"/>
              <a:gd name="T20" fmla="*/ 7 w 39"/>
              <a:gd name="T21" fmla="*/ 26 h 35"/>
              <a:gd name="T22" fmla="*/ 5 w 39"/>
              <a:gd name="T23" fmla="*/ 20 h 35"/>
              <a:gd name="T24" fmla="*/ 2 w 39"/>
              <a:gd name="T25" fmla="*/ 11 h 35"/>
              <a:gd name="T26" fmla="*/ 0 w 39"/>
              <a:gd name="T27" fmla="*/ 0 h 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58" name="Freeform 161">
            <a:extLst>
              <a:ext uri="{FF2B5EF4-FFF2-40B4-BE49-F238E27FC236}">
                <a16:creationId xmlns:a16="http://schemas.microsoft.com/office/drawing/2014/main" id="{656CBF77-0C91-4FEB-87A0-9D314458E1F6}"/>
              </a:ext>
            </a:extLst>
          </p:cNvPr>
          <p:cNvSpPr>
            <a:spLocks/>
          </p:cNvSpPr>
          <p:nvPr>
            <p:custDataLst>
              <p:tags r:id="rId95"/>
            </p:custDataLst>
          </p:nvPr>
        </p:nvSpPr>
        <p:spPr bwMode="auto">
          <a:xfrm>
            <a:off x="9620868" y="2348798"/>
            <a:ext cx="701265" cy="331787"/>
          </a:xfrm>
          <a:custGeom>
            <a:avLst/>
            <a:gdLst>
              <a:gd name="T0" fmla="*/ 32 w 1688"/>
              <a:gd name="T1" fmla="*/ 216 h 630"/>
              <a:gd name="T2" fmla="*/ 86 w 1688"/>
              <a:gd name="T3" fmla="*/ 249 h 630"/>
              <a:gd name="T4" fmla="*/ 155 w 1688"/>
              <a:gd name="T5" fmla="*/ 264 h 630"/>
              <a:gd name="T6" fmla="*/ 191 w 1688"/>
              <a:gd name="T7" fmla="*/ 281 h 630"/>
              <a:gd name="T8" fmla="*/ 238 w 1688"/>
              <a:gd name="T9" fmla="*/ 331 h 630"/>
              <a:gd name="T10" fmla="*/ 253 w 1688"/>
              <a:gd name="T11" fmla="*/ 349 h 630"/>
              <a:gd name="T12" fmla="*/ 254 w 1688"/>
              <a:gd name="T13" fmla="*/ 386 h 630"/>
              <a:gd name="T14" fmla="*/ 273 w 1688"/>
              <a:gd name="T15" fmla="*/ 408 h 630"/>
              <a:gd name="T16" fmla="*/ 341 w 1688"/>
              <a:gd name="T17" fmla="*/ 416 h 630"/>
              <a:gd name="T18" fmla="*/ 463 w 1688"/>
              <a:gd name="T19" fmla="*/ 452 h 630"/>
              <a:gd name="T20" fmla="*/ 546 w 1688"/>
              <a:gd name="T21" fmla="*/ 469 h 630"/>
              <a:gd name="T22" fmla="*/ 575 w 1688"/>
              <a:gd name="T23" fmla="*/ 510 h 630"/>
              <a:gd name="T24" fmla="*/ 622 w 1688"/>
              <a:gd name="T25" fmla="*/ 542 h 630"/>
              <a:gd name="T26" fmla="*/ 670 w 1688"/>
              <a:gd name="T27" fmla="*/ 555 h 630"/>
              <a:gd name="T28" fmla="*/ 917 w 1688"/>
              <a:gd name="T29" fmla="*/ 576 h 630"/>
              <a:gd name="T30" fmla="*/ 1037 w 1688"/>
              <a:gd name="T31" fmla="*/ 614 h 630"/>
              <a:gd name="T32" fmla="*/ 1117 w 1688"/>
              <a:gd name="T33" fmla="*/ 630 h 630"/>
              <a:gd name="T34" fmla="*/ 1157 w 1688"/>
              <a:gd name="T35" fmla="*/ 613 h 630"/>
              <a:gd name="T36" fmla="*/ 1344 w 1688"/>
              <a:gd name="T37" fmla="*/ 564 h 630"/>
              <a:gd name="T38" fmla="*/ 1395 w 1688"/>
              <a:gd name="T39" fmla="*/ 510 h 630"/>
              <a:gd name="T40" fmla="*/ 1403 w 1688"/>
              <a:gd name="T41" fmla="*/ 483 h 630"/>
              <a:gd name="T42" fmla="*/ 1386 w 1688"/>
              <a:gd name="T43" fmla="*/ 455 h 630"/>
              <a:gd name="T44" fmla="*/ 1370 w 1688"/>
              <a:gd name="T45" fmla="*/ 415 h 630"/>
              <a:gd name="T46" fmla="*/ 1499 w 1688"/>
              <a:gd name="T47" fmla="*/ 394 h 630"/>
              <a:gd name="T48" fmla="*/ 1594 w 1688"/>
              <a:gd name="T49" fmla="*/ 343 h 630"/>
              <a:gd name="T50" fmla="*/ 1651 w 1688"/>
              <a:gd name="T51" fmla="*/ 325 h 630"/>
              <a:gd name="T52" fmla="*/ 1688 w 1688"/>
              <a:gd name="T53" fmla="*/ 297 h 630"/>
              <a:gd name="T54" fmla="*/ 1656 w 1688"/>
              <a:gd name="T55" fmla="*/ 279 h 630"/>
              <a:gd name="T56" fmla="*/ 1619 w 1688"/>
              <a:gd name="T57" fmla="*/ 252 h 630"/>
              <a:gd name="T58" fmla="*/ 1583 w 1688"/>
              <a:gd name="T59" fmla="*/ 248 h 630"/>
              <a:gd name="T60" fmla="*/ 1553 w 1688"/>
              <a:gd name="T61" fmla="*/ 258 h 630"/>
              <a:gd name="T62" fmla="*/ 1497 w 1688"/>
              <a:gd name="T63" fmla="*/ 256 h 630"/>
              <a:gd name="T64" fmla="*/ 1457 w 1688"/>
              <a:gd name="T65" fmla="*/ 235 h 630"/>
              <a:gd name="T66" fmla="*/ 1434 w 1688"/>
              <a:gd name="T67" fmla="*/ 187 h 630"/>
              <a:gd name="T68" fmla="*/ 1367 w 1688"/>
              <a:gd name="T69" fmla="*/ 124 h 630"/>
              <a:gd name="T70" fmla="*/ 1286 w 1688"/>
              <a:gd name="T71" fmla="*/ 120 h 630"/>
              <a:gd name="T72" fmla="*/ 1260 w 1688"/>
              <a:gd name="T73" fmla="*/ 147 h 630"/>
              <a:gd name="T74" fmla="*/ 1236 w 1688"/>
              <a:gd name="T75" fmla="*/ 165 h 630"/>
              <a:gd name="T76" fmla="*/ 1168 w 1688"/>
              <a:gd name="T77" fmla="*/ 167 h 630"/>
              <a:gd name="T78" fmla="*/ 1044 w 1688"/>
              <a:gd name="T79" fmla="*/ 167 h 630"/>
              <a:gd name="T80" fmla="*/ 986 w 1688"/>
              <a:gd name="T81" fmla="*/ 140 h 630"/>
              <a:gd name="T82" fmla="*/ 922 w 1688"/>
              <a:gd name="T83" fmla="*/ 108 h 630"/>
              <a:gd name="T84" fmla="*/ 852 w 1688"/>
              <a:gd name="T85" fmla="*/ 100 h 630"/>
              <a:gd name="T86" fmla="*/ 801 w 1688"/>
              <a:gd name="T87" fmla="*/ 114 h 630"/>
              <a:gd name="T88" fmla="*/ 740 w 1688"/>
              <a:gd name="T89" fmla="*/ 116 h 630"/>
              <a:gd name="T90" fmla="*/ 692 w 1688"/>
              <a:gd name="T91" fmla="*/ 101 h 630"/>
              <a:gd name="T92" fmla="*/ 662 w 1688"/>
              <a:gd name="T93" fmla="*/ 68 h 630"/>
              <a:gd name="T94" fmla="*/ 446 w 1688"/>
              <a:gd name="T95" fmla="*/ 7 h 630"/>
              <a:gd name="T96" fmla="*/ 446 w 1688"/>
              <a:gd name="T97" fmla="*/ 44 h 630"/>
              <a:gd name="T98" fmla="*/ 471 w 1688"/>
              <a:gd name="T99" fmla="*/ 79 h 630"/>
              <a:gd name="T100" fmla="*/ 490 w 1688"/>
              <a:gd name="T101" fmla="*/ 106 h 630"/>
              <a:gd name="T102" fmla="*/ 307 w 1688"/>
              <a:gd name="T103" fmla="*/ 122 h 630"/>
              <a:gd name="T104" fmla="*/ 294 w 1688"/>
              <a:gd name="T105" fmla="*/ 87 h 630"/>
              <a:gd name="T106" fmla="*/ 225 w 1688"/>
              <a:gd name="T107" fmla="*/ 97 h 630"/>
              <a:gd name="T108" fmla="*/ 185 w 1688"/>
              <a:gd name="T109" fmla="*/ 88 h 630"/>
              <a:gd name="T110" fmla="*/ 138 w 1688"/>
              <a:gd name="T111" fmla="*/ 97 h 630"/>
              <a:gd name="T112" fmla="*/ 68 w 1688"/>
              <a:gd name="T113" fmla="*/ 143 h 630"/>
              <a:gd name="T114" fmla="*/ 31 w 1688"/>
              <a:gd name="T115" fmla="*/ 151 h 630"/>
              <a:gd name="T116" fmla="*/ 4 w 1688"/>
              <a:gd name="T117" fmla="*/ 169 h 6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59" name="Freeform 162">
            <a:extLst>
              <a:ext uri="{FF2B5EF4-FFF2-40B4-BE49-F238E27FC236}">
                <a16:creationId xmlns:a16="http://schemas.microsoft.com/office/drawing/2014/main" id="{2B7B1CCF-E48A-4410-93BC-085D9476DFF1}"/>
              </a:ext>
            </a:extLst>
          </p:cNvPr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6085513" y="4315710"/>
            <a:ext cx="316257" cy="415925"/>
          </a:xfrm>
          <a:custGeom>
            <a:avLst/>
            <a:gdLst>
              <a:gd name="T0" fmla="*/ 26 w 758"/>
              <a:gd name="T1" fmla="*/ 80 h 795"/>
              <a:gd name="T2" fmla="*/ 49 w 758"/>
              <a:gd name="T3" fmla="*/ 88 h 795"/>
              <a:gd name="T4" fmla="*/ 72 w 758"/>
              <a:gd name="T5" fmla="*/ 108 h 795"/>
              <a:gd name="T6" fmla="*/ 88 w 758"/>
              <a:gd name="T7" fmla="*/ 134 h 795"/>
              <a:gd name="T8" fmla="*/ 93 w 758"/>
              <a:gd name="T9" fmla="*/ 169 h 795"/>
              <a:gd name="T10" fmla="*/ 84 w 758"/>
              <a:gd name="T11" fmla="*/ 186 h 795"/>
              <a:gd name="T12" fmla="*/ 81 w 758"/>
              <a:gd name="T13" fmla="*/ 205 h 795"/>
              <a:gd name="T14" fmla="*/ 88 w 758"/>
              <a:gd name="T15" fmla="*/ 240 h 795"/>
              <a:gd name="T16" fmla="*/ 95 w 758"/>
              <a:gd name="T17" fmla="*/ 278 h 795"/>
              <a:gd name="T18" fmla="*/ 83 w 758"/>
              <a:gd name="T19" fmla="*/ 308 h 795"/>
              <a:gd name="T20" fmla="*/ 81 w 758"/>
              <a:gd name="T21" fmla="*/ 352 h 795"/>
              <a:gd name="T22" fmla="*/ 93 w 758"/>
              <a:gd name="T23" fmla="*/ 390 h 795"/>
              <a:gd name="T24" fmla="*/ 99 w 758"/>
              <a:gd name="T25" fmla="*/ 415 h 795"/>
              <a:gd name="T26" fmla="*/ 78 w 758"/>
              <a:gd name="T27" fmla="*/ 457 h 795"/>
              <a:gd name="T28" fmla="*/ 113 w 758"/>
              <a:gd name="T29" fmla="*/ 529 h 795"/>
              <a:gd name="T30" fmla="*/ 138 w 758"/>
              <a:gd name="T31" fmla="*/ 577 h 795"/>
              <a:gd name="T32" fmla="*/ 146 w 758"/>
              <a:gd name="T33" fmla="*/ 622 h 795"/>
              <a:gd name="T34" fmla="*/ 152 w 758"/>
              <a:gd name="T35" fmla="*/ 659 h 795"/>
              <a:gd name="T36" fmla="*/ 187 w 758"/>
              <a:gd name="T37" fmla="*/ 738 h 795"/>
              <a:gd name="T38" fmla="*/ 214 w 758"/>
              <a:gd name="T39" fmla="*/ 782 h 795"/>
              <a:gd name="T40" fmla="*/ 230 w 758"/>
              <a:gd name="T41" fmla="*/ 794 h 795"/>
              <a:gd name="T42" fmla="*/ 251 w 758"/>
              <a:gd name="T43" fmla="*/ 790 h 795"/>
              <a:gd name="T44" fmla="*/ 289 w 758"/>
              <a:gd name="T45" fmla="*/ 761 h 795"/>
              <a:gd name="T46" fmla="*/ 324 w 758"/>
              <a:gd name="T47" fmla="*/ 746 h 795"/>
              <a:gd name="T48" fmla="*/ 355 w 758"/>
              <a:gd name="T49" fmla="*/ 748 h 795"/>
              <a:gd name="T50" fmla="*/ 388 w 758"/>
              <a:gd name="T51" fmla="*/ 770 h 795"/>
              <a:gd name="T52" fmla="*/ 418 w 758"/>
              <a:gd name="T53" fmla="*/ 780 h 795"/>
              <a:gd name="T54" fmla="*/ 437 w 758"/>
              <a:gd name="T55" fmla="*/ 758 h 795"/>
              <a:gd name="T56" fmla="*/ 478 w 758"/>
              <a:gd name="T57" fmla="*/ 745 h 795"/>
              <a:gd name="T58" fmla="*/ 525 w 758"/>
              <a:gd name="T59" fmla="*/ 622 h 795"/>
              <a:gd name="T60" fmla="*/ 539 w 758"/>
              <a:gd name="T61" fmla="*/ 600 h 795"/>
              <a:gd name="T62" fmla="*/ 575 w 758"/>
              <a:gd name="T63" fmla="*/ 584 h 795"/>
              <a:gd name="T64" fmla="*/ 665 w 758"/>
              <a:gd name="T65" fmla="*/ 573 h 795"/>
              <a:gd name="T66" fmla="*/ 687 w 758"/>
              <a:gd name="T67" fmla="*/ 579 h 795"/>
              <a:gd name="T68" fmla="*/ 704 w 758"/>
              <a:gd name="T69" fmla="*/ 585 h 795"/>
              <a:gd name="T70" fmla="*/ 744 w 758"/>
              <a:gd name="T71" fmla="*/ 573 h 795"/>
              <a:gd name="T72" fmla="*/ 757 w 758"/>
              <a:gd name="T73" fmla="*/ 541 h 795"/>
              <a:gd name="T74" fmla="*/ 752 w 758"/>
              <a:gd name="T75" fmla="*/ 499 h 795"/>
              <a:gd name="T76" fmla="*/ 726 w 758"/>
              <a:gd name="T77" fmla="*/ 462 h 795"/>
              <a:gd name="T78" fmla="*/ 710 w 758"/>
              <a:gd name="T79" fmla="*/ 435 h 795"/>
              <a:gd name="T80" fmla="*/ 671 w 758"/>
              <a:gd name="T81" fmla="*/ 401 h 795"/>
              <a:gd name="T82" fmla="*/ 633 w 758"/>
              <a:gd name="T83" fmla="*/ 399 h 795"/>
              <a:gd name="T84" fmla="*/ 605 w 758"/>
              <a:gd name="T85" fmla="*/ 378 h 795"/>
              <a:gd name="T86" fmla="*/ 590 w 758"/>
              <a:gd name="T87" fmla="*/ 349 h 795"/>
              <a:gd name="T88" fmla="*/ 585 w 758"/>
              <a:gd name="T89" fmla="*/ 311 h 795"/>
              <a:gd name="T90" fmla="*/ 583 w 758"/>
              <a:gd name="T91" fmla="*/ 269 h 795"/>
              <a:gd name="T92" fmla="*/ 560 w 758"/>
              <a:gd name="T93" fmla="*/ 242 h 795"/>
              <a:gd name="T94" fmla="*/ 503 w 758"/>
              <a:gd name="T95" fmla="*/ 205 h 795"/>
              <a:gd name="T96" fmla="*/ 440 w 758"/>
              <a:gd name="T97" fmla="*/ 178 h 795"/>
              <a:gd name="T98" fmla="*/ 392 w 758"/>
              <a:gd name="T99" fmla="*/ 167 h 795"/>
              <a:gd name="T100" fmla="*/ 359 w 758"/>
              <a:gd name="T101" fmla="*/ 161 h 795"/>
              <a:gd name="T102" fmla="*/ 330 w 758"/>
              <a:gd name="T103" fmla="*/ 145 h 795"/>
              <a:gd name="T104" fmla="*/ 307 w 758"/>
              <a:gd name="T105" fmla="*/ 122 h 795"/>
              <a:gd name="T106" fmla="*/ 292 w 758"/>
              <a:gd name="T107" fmla="*/ 92 h 795"/>
              <a:gd name="T108" fmla="*/ 279 w 758"/>
              <a:gd name="T109" fmla="*/ 19 h 795"/>
              <a:gd name="T110" fmla="*/ 261 w 758"/>
              <a:gd name="T111" fmla="*/ 3 h 795"/>
              <a:gd name="T112" fmla="*/ 227 w 758"/>
              <a:gd name="T113" fmla="*/ 3 h 795"/>
              <a:gd name="T114" fmla="*/ 173 w 758"/>
              <a:gd name="T115" fmla="*/ 30 h 795"/>
              <a:gd name="T116" fmla="*/ 119 w 758"/>
              <a:gd name="T117" fmla="*/ 66 h 795"/>
              <a:gd name="T118" fmla="*/ 0 w 758"/>
              <a:gd name="T119" fmla="*/ 80 h 79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US"/>
          </a:p>
        </p:txBody>
      </p:sp>
      <p:sp>
        <p:nvSpPr>
          <p:cNvPr id="160" name="Freeform 163">
            <a:extLst>
              <a:ext uri="{FF2B5EF4-FFF2-40B4-BE49-F238E27FC236}">
                <a16:creationId xmlns:a16="http://schemas.microsoft.com/office/drawing/2014/main" id="{441BBD7F-6B77-4F3C-956F-90AC8D38E407}"/>
              </a:ext>
            </a:extLst>
          </p:cNvPr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6291768" y="3745797"/>
            <a:ext cx="114586" cy="215900"/>
          </a:xfrm>
          <a:custGeom>
            <a:avLst/>
            <a:gdLst>
              <a:gd name="T0" fmla="*/ 225 w 273"/>
              <a:gd name="T1" fmla="*/ 140 h 414"/>
              <a:gd name="T2" fmla="*/ 213 w 273"/>
              <a:gd name="T3" fmla="*/ 133 h 414"/>
              <a:gd name="T4" fmla="*/ 201 w 273"/>
              <a:gd name="T5" fmla="*/ 121 h 414"/>
              <a:gd name="T6" fmla="*/ 190 w 273"/>
              <a:gd name="T7" fmla="*/ 105 h 414"/>
              <a:gd name="T8" fmla="*/ 183 w 273"/>
              <a:gd name="T9" fmla="*/ 96 h 414"/>
              <a:gd name="T10" fmla="*/ 176 w 273"/>
              <a:gd name="T11" fmla="*/ 93 h 414"/>
              <a:gd name="T12" fmla="*/ 167 w 273"/>
              <a:gd name="T13" fmla="*/ 94 h 414"/>
              <a:gd name="T14" fmla="*/ 161 w 273"/>
              <a:gd name="T15" fmla="*/ 101 h 414"/>
              <a:gd name="T16" fmla="*/ 153 w 273"/>
              <a:gd name="T17" fmla="*/ 86 h 414"/>
              <a:gd name="T18" fmla="*/ 142 w 273"/>
              <a:gd name="T19" fmla="*/ 54 h 414"/>
              <a:gd name="T20" fmla="*/ 132 w 273"/>
              <a:gd name="T21" fmla="*/ 36 h 414"/>
              <a:gd name="T22" fmla="*/ 123 w 273"/>
              <a:gd name="T23" fmla="*/ 25 h 414"/>
              <a:gd name="T24" fmla="*/ 111 w 273"/>
              <a:gd name="T25" fmla="*/ 14 h 414"/>
              <a:gd name="T26" fmla="*/ 96 w 273"/>
              <a:gd name="T27" fmla="*/ 5 h 414"/>
              <a:gd name="T28" fmla="*/ 80 w 273"/>
              <a:gd name="T29" fmla="*/ 7 h 414"/>
              <a:gd name="T30" fmla="*/ 69 w 273"/>
              <a:gd name="T31" fmla="*/ 19 h 414"/>
              <a:gd name="T32" fmla="*/ 63 w 273"/>
              <a:gd name="T33" fmla="*/ 25 h 414"/>
              <a:gd name="T34" fmla="*/ 57 w 273"/>
              <a:gd name="T35" fmla="*/ 32 h 414"/>
              <a:gd name="T36" fmla="*/ 56 w 273"/>
              <a:gd name="T37" fmla="*/ 42 h 414"/>
              <a:gd name="T38" fmla="*/ 58 w 273"/>
              <a:gd name="T39" fmla="*/ 59 h 414"/>
              <a:gd name="T40" fmla="*/ 52 w 273"/>
              <a:gd name="T41" fmla="*/ 78 h 414"/>
              <a:gd name="T42" fmla="*/ 33 w 273"/>
              <a:gd name="T43" fmla="*/ 90 h 414"/>
              <a:gd name="T44" fmla="*/ 17 w 273"/>
              <a:gd name="T45" fmla="*/ 104 h 414"/>
              <a:gd name="T46" fmla="*/ 4 w 273"/>
              <a:gd name="T47" fmla="*/ 118 h 414"/>
              <a:gd name="T48" fmla="*/ 40 w 273"/>
              <a:gd name="T49" fmla="*/ 198 h 414"/>
              <a:gd name="T50" fmla="*/ 73 w 273"/>
              <a:gd name="T51" fmla="*/ 205 h 414"/>
              <a:gd name="T52" fmla="*/ 84 w 273"/>
              <a:gd name="T53" fmla="*/ 210 h 414"/>
              <a:gd name="T54" fmla="*/ 93 w 273"/>
              <a:gd name="T55" fmla="*/ 218 h 414"/>
              <a:gd name="T56" fmla="*/ 99 w 273"/>
              <a:gd name="T57" fmla="*/ 226 h 414"/>
              <a:gd name="T58" fmla="*/ 103 w 273"/>
              <a:gd name="T59" fmla="*/ 237 h 414"/>
              <a:gd name="T60" fmla="*/ 106 w 273"/>
              <a:gd name="T61" fmla="*/ 265 h 414"/>
              <a:gd name="T62" fmla="*/ 103 w 273"/>
              <a:gd name="T63" fmla="*/ 279 h 414"/>
              <a:gd name="T64" fmla="*/ 96 w 273"/>
              <a:gd name="T65" fmla="*/ 293 h 414"/>
              <a:gd name="T66" fmla="*/ 89 w 273"/>
              <a:gd name="T67" fmla="*/ 307 h 414"/>
              <a:gd name="T68" fmla="*/ 86 w 273"/>
              <a:gd name="T69" fmla="*/ 321 h 414"/>
              <a:gd name="T70" fmla="*/ 91 w 273"/>
              <a:gd name="T71" fmla="*/ 343 h 414"/>
              <a:gd name="T72" fmla="*/ 107 w 273"/>
              <a:gd name="T73" fmla="*/ 374 h 414"/>
              <a:gd name="T74" fmla="*/ 117 w 273"/>
              <a:gd name="T75" fmla="*/ 389 h 414"/>
              <a:gd name="T76" fmla="*/ 129 w 273"/>
              <a:gd name="T77" fmla="*/ 401 h 414"/>
              <a:gd name="T78" fmla="*/ 141 w 273"/>
              <a:gd name="T79" fmla="*/ 411 h 414"/>
              <a:gd name="T80" fmla="*/ 153 w 273"/>
              <a:gd name="T81" fmla="*/ 414 h 414"/>
              <a:gd name="T82" fmla="*/ 215 w 273"/>
              <a:gd name="T83" fmla="*/ 398 h 414"/>
              <a:gd name="T84" fmla="*/ 255 w 273"/>
              <a:gd name="T85" fmla="*/ 385 h 414"/>
              <a:gd name="T86" fmla="*/ 267 w 273"/>
              <a:gd name="T87" fmla="*/ 377 h 414"/>
              <a:gd name="T88" fmla="*/ 273 w 273"/>
              <a:gd name="T89" fmla="*/ 370 h 414"/>
              <a:gd name="T90" fmla="*/ 269 w 273"/>
              <a:gd name="T91" fmla="*/ 352 h 414"/>
              <a:gd name="T92" fmla="*/ 263 w 273"/>
              <a:gd name="T93" fmla="*/ 335 h 414"/>
              <a:gd name="T94" fmla="*/ 242 w 273"/>
              <a:gd name="T95" fmla="*/ 309 h 414"/>
              <a:gd name="T96" fmla="*/ 222 w 273"/>
              <a:gd name="T97" fmla="*/ 282 h 414"/>
              <a:gd name="T98" fmla="*/ 215 w 273"/>
              <a:gd name="T99" fmla="*/ 266 h 414"/>
              <a:gd name="T100" fmla="*/ 212 w 273"/>
              <a:gd name="T101" fmla="*/ 247 h 414"/>
              <a:gd name="T102" fmla="*/ 215 w 273"/>
              <a:gd name="T103" fmla="*/ 215 h 414"/>
              <a:gd name="T104" fmla="*/ 222 w 273"/>
              <a:gd name="T105" fmla="*/ 190 h 414"/>
              <a:gd name="T106" fmla="*/ 230 w 273"/>
              <a:gd name="T107" fmla="*/ 167 h 414"/>
              <a:gd name="T108" fmla="*/ 232 w 273"/>
              <a:gd name="T109" fmla="*/ 142 h 4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US"/>
          </a:p>
        </p:txBody>
      </p:sp>
      <p:grpSp>
        <p:nvGrpSpPr>
          <p:cNvPr id="161" name="Group 164">
            <a:extLst>
              <a:ext uri="{FF2B5EF4-FFF2-40B4-BE49-F238E27FC236}">
                <a16:creationId xmlns:a16="http://schemas.microsoft.com/office/drawing/2014/main" id="{2A28895C-8553-4C72-B587-FDBCD6FFF6E0}"/>
              </a:ext>
            </a:extLst>
          </p:cNvPr>
          <p:cNvGrpSpPr>
            <a:grpSpLocks/>
          </p:cNvGrpSpPr>
          <p:nvPr>
            <p:custDataLst>
              <p:tags r:id="rId98"/>
            </p:custDataLst>
          </p:nvPr>
        </p:nvGrpSpPr>
        <p:grpSpPr bwMode="auto">
          <a:xfrm>
            <a:off x="6016761" y="3580698"/>
            <a:ext cx="311674" cy="401637"/>
            <a:chOff x="1486" y="2412"/>
            <a:chExt cx="244" cy="256"/>
          </a:xfrm>
        </p:grpSpPr>
        <p:sp>
          <p:nvSpPr>
            <p:cNvPr id="162" name="Freeform 165">
              <a:extLst>
                <a:ext uri="{FF2B5EF4-FFF2-40B4-BE49-F238E27FC236}">
                  <a16:creationId xmlns:a16="http://schemas.microsoft.com/office/drawing/2014/main" id="{AD69D76F-C72E-456D-BE2A-B72FD278236D}"/>
                </a:ext>
              </a:extLst>
            </p:cNvPr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18 h 22"/>
                <a:gd name="T4" fmla="*/ 6 w 54"/>
                <a:gd name="T5" fmla="*/ 20 h 22"/>
                <a:gd name="T6" fmla="*/ 10 w 54"/>
                <a:gd name="T7" fmla="*/ 21 h 22"/>
                <a:gd name="T8" fmla="*/ 14 w 54"/>
                <a:gd name="T9" fmla="*/ 22 h 22"/>
                <a:gd name="T10" fmla="*/ 20 w 54"/>
                <a:gd name="T11" fmla="*/ 22 h 22"/>
                <a:gd name="T12" fmla="*/ 23 w 54"/>
                <a:gd name="T13" fmla="*/ 22 h 22"/>
                <a:gd name="T14" fmla="*/ 27 w 54"/>
                <a:gd name="T15" fmla="*/ 21 h 22"/>
                <a:gd name="T16" fmla="*/ 31 w 54"/>
                <a:gd name="T17" fmla="*/ 20 h 22"/>
                <a:gd name="T18" fmla="*/ 33 w 54"/>
                <a:gd name="T19" fmla="*/ 18 h 22"/>
                <a:gd name="T20" fmla="*/ 35 w 54"/>
                <a:gd name="T21" fmla="*/ 16 h 22"/>
                <a:gd name="T22" fmla="*/ 41 w 54"/>
                <a:gd name="T23" fmla="*/ 12 h 22"/>
                <a:gd name="T24" fmla="*/ 47 w 54"/>
                <a:gd name="T25" fmla="*/ 8 h 22"/>
                <a:gd name="T26" fmla="*/ 54 w 54"/>
                <a:gd name="T27" fmla="*/ 6 h 22"/>
                <a:gd name="T28" fmla="*/ 36 w 54"/>
                <a:gd name="T29" fmla="*/ 5 h 22"/>
                <a:gd name="T30" fmla="*/ 20 w 54"/>
                <a:gd name="T31" fmla="*/ 3 h 22"/>
                <a:gd name="T32" fmla="*/ 6 w 54"/>
                <a:gd name="T33" fmla="*/ 1 h 22"/>
                <a:gd name="T34" fmla="*/ 0 w 54"/>
                <a:gd name="T35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3" name="Freeform 166">
              <a:extLst>
                <a:ext uri="{FF2B5EF4-FFF2-40B4-BE49-F238E27FC236}">
                  <a16:creationId xmlns:a16="http://schemas.microsoft.com/office/drawing/2014/main" id="{4AE218BF-56D1-4487-9318-BE4AEDB81BE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6 w 6"/>
                <a:gd name="T1" fmla="*/ 24 h 24"/>
                <a:gd name="T2" fmla="*/ 6 w 6"/>
                <a:gd name="T3" fmla="*/ 0 h 24"/>
                <a:gd name="T4" fmla="*/ 4 w 6"/>
                <a:gd name="T5" fmla="*/ 1 h 24"/>
                <a:gd name="T6" fmla="*/ 1 w 6"/>
                <a:gd name="T7" fmla="*/ 3 h 24"/>
                <a:gd name="T8" fmla="*/ 0 w 6"/>
                <a:gd name="T9" fmla="*/ 7 h 24"/>
                <a:gd name="T10" fmla="*/ 0 w 6"/>
                <a:gd name="T11" fmla="*/ 12 h 24"/>
                <a:gd name="T12" fmla="*/ 0 w 6"/>
                <a:gd name="T13" fmla="*/ 16 h 24"/>
                <a:gd name="T14" fmla="*/ 1 w 6"/>
                <a:gd name="T15" fmla="*/ 20 h 24"/>
                <a:gd name="T16" fmla="*/ 4 w 6"/>
                <a:gd name="T17" fmla="*/ 23 h 24"/>
                <a:gd name="T18" fmla="*/ 6 w 6"/>
                <a:gd name="T19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4" name="Freeform 167">
              <a:extLst>
                <a:ext uri="{FF2B5EF4-FFF2-40B4-BE49-F238E27FC236}">
                  <a16:creationId xmlns:a16="http://schemas.microsoft.com/office/drawing/2014/main" id="{5EE22E3B-CD5F-4EA2-A49B-E82F79951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12 h 12"/>
                <a:gd name="T2" fmla="*/ 27 w 27"/>
                <a:gd name="T3" fmla="*/ 12 h 12"/>
                <a:gd name="T4" fmla="*/ 14 w 27"/>
                <a:gd name="T5" fmla="*/ 0 h 12"/>
                <a:gd name="T6" fmla="*/ 0 w 27"/>
                <a:gd name="T7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165" name="Freeform 168">
              <a:extLst>
                <a:ext uri="{FF2B5EF4-FFF2-40B4-BE49-F238E27FC236}">
                  <a16:creationId xmlns:a16="http://schemas.microsoft.com/office/drawing/2014/main" id="{675F82B5-5408-45F8-BC98-A9C7772C7C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9 w 743"/>
                <a:gd name="T1" fmla="*/ 208 h 672"/>
                <a:gd name="T2" fmla="*/ 50 w 743"/>
                <a:gd name="T3" fmla="*/ 266 h 672"/>
                <a:gd name="T4" fmla="*/ 121 w 743"/>
                <a:gd name="T5" fmla="*/ 294 h 672"/>
                <a:gd name="T6" fmla="*/ 166 w 743"/>
                <a:gd name="T7" fmla="*/ 316 h 672"/>
                <a:gd name="T8" fmla="*/ 198 w 743"/>
                <a:gd name="T9" fmla="*/ 346 h 672"/>
                <a:gd name="T10" fmla="*/ 296 w 743"/>
                <a:gd name="T11" fmla="*/ 379 h 672"/>
                <a:gd name="T12" fmla="*/ 286 w 743"/>
                <a:gd name="T13" fmla="*/ 420 h 672"/>
                <a:gd name="T14" fmla="*/ 311 w 743"/>
                <a:gd name="T15" fmla="*/ 513 h 672"/>
                <a:gd name="T16" fmla="*/ 303 w 743"/>
                <a:gd name="T17" fmla="*/ 535 h 672"/>
                <a:gd name="T18" fmla="*/ 302 w 743"/>
                <a:gd name="T19" fmla="*/ 566 h 672"/>
                <a:gd name="T20" fmla="*/ 328 w 743"/>
                <a:gd name="T21" fmla="*/ 617 h 672"/>
                <a:gd name="T22" fmla="*/ 371 w 743"/>
                <a:gd name="T23" fmla="*/ 659 h 672"/>
                <a:gd name="T24" fmla="*/ 415 w 743"/>
                <a:gd name="T25" fmla="*/ 671 h 672"/>
                <a:gd name="T26" fmla="*/ 465 w 743"/>
                <a:gd name="T27" fmla="*/ 653 h 672"/>
                <a:gd name="T28" fmla="*/ 507 w 743"/>
                <a:gd name="T29" fmla="*/ 619 h 672"/>
                <a:gd name="T30" fmla="*/ 524 w 743"/>
                <a:gd name="T31" fmla="*/ 586 h 672"/>
                <a:gd name="T32" fmla="*/ 477 w 743"/>
                <a:gd name="T33" fmla="*/ 469 h 672"/>
                <a:gd name="T34" fmla="*/ 577 w 743"/>
                <a:gd name="T35" fmla="*/ 500 h 672"/>
                <a:gd name="T36" fmla="*/ 600 w 743"/>
                <a:gd name="T37" fmla="*/ 477 h 672"/>
                <a:gd name="T38" fmla="*/ 652 w 743"/>
                <a:gd name="T39" fmla="*/ 445 h 672"/>
                <a:gd name="T40" fmla="*/ 669 w 743"/>
                <a:gd name="T41" fmla="*/ 441 h 672"/>
                <a:gd name="T42" fmla="*/ 685 w 743"/>
                <a:gd name="T43" fmla="*/ 435 h 672"/>
                <a:gd name="T44" fmla="*/ 666 w 743"/>
                <a:gd name="T45" fmla="*/ 327 h 672"/>
                <a:gd name="T46" fmla="*/ 709 w 743"/>
                <a:gd name="T47" fmla="*/ 294 h 672"/>
                <a:gd name="T48" fmla="*/ 714 w 743"/>
                <a:gd name="T49" fmla="*/ 253 h 672"/>
                <a:gd name="T50" fmla="*/ 726 w 743"/>
                <a:gd name="T51" fmla="*/ 235 h 672"/>
                <a:gd name="T52" fmla="*/ 728 w 743"/>
                <a:gd name="T53" fmla="*/ 213 h 672"/>
                <a:gd name="T54" fmla="*/ 700 w 743"/>
                <a:gd name="T55" fmla="*/ 196 h 672"/>
                <a:gd name="T56" fmla="*/ 686 w 743"/>
                <a:gd name="T57" fmla="*/ 168 h 672"/>
                <a:gd name="T58" fmla="*/ 670 w 743"/>
                <a:gd name="T59" fmla="*/ 145 h 672"/>
                <a:gd name="T60" fmla="*/ 639 w 743"/>
                <a:gd name="T61" fmla="*/ 152 h 672"/>
                <a:gd name="T62" fmla="*/ 630 w 743"/>
                <a:gd name="T63" fmla="*/ 134 h 672"/>
                <a:gd name="T64" fmla="*/ 602 w 743"/>
                <a:gd name="T65" fmla="*/ 115 h 672"/>
                <a:gd name="T66" fmla="*/ 584 w 743"/>
                <a:gd name="T67" fmla="*/ 97 h 672"/>
                <a:gd name="T68" fmla="*/ 536 w 743"/>
                <a:gd name="T69" fmla="*/ 75 h 672"/>
                <a:gd name="T70" fmla="*/ 490 w 743"/>
                <a:gd name="T71" fmla="*/ 87 h 672"/>
                <a:gd name="T72" fmla="*/ 472 w 743"/>
                <a:gd name="T73" fmla="*/ 101 h 672"/>
                <a:gd name="T74" fmla="*/ 434 w 743"/>
                <a:gd name="T75" fmla="*/ 116 h 672"/>
                <a:gd name="T76" fmla="*/ 418 w 743"/>
                <a:gd name="T77" fmla="*/ 104 h 672"/>
                <a:gd name="T78" fmla="*/ 393 w 743"/>
                <a:gd name="T79" fmla="*/ 102 h 672"/>
                <a:gd name="T80" fmla="*/ 359 w 743"/>
                <a:gd name="T81" fmla="*/ 83 h 672"/>
                <a:gd name="T82" fmla="*/ 317 w 743"/>
                <a:gd name="T83" fmla="*/ 85 h 672"/>
                <a:gd name="T84" fmla="*/ 291 w 743"/>
                <a:gd name="T85" fmla="*/ 92 h 672"/>
                <a:gd name="T86" fmla="*/ 252 w 743"/>
                <a:gd name="T87" fmla="*/ 93 h 672"/>
                <a:gd name="T88" fmla="*/ 233 w 743"/>
                <a:gd name="T89" fmla="*/ 52 h 672"/>
                <a:gd name="T90" fmla="*/ 179 w 743"/>
                <a:gd name="T91" fmla="*/ 22 h 672"/>
                <a:gd name="T92" fmla="*/ 148 w 743"/>
                <a:gd name="T93" fmla="*/ 10 h 672"/>
                <a:gd name="T94" fmla="*/ 136 w 743"/>
                <a:gd name="T95" fmla="*/ 46 h 672"/>
                <a:gd name="T96" fmla="*/ 119 w 743"/>
                <a:gd name="T97" fmla="*/ 69 h 672"/>
                <a:gd name="T98" fmla="*/ 119 w 743"/>
                <a:gd name="T99" fmla="*/ 137 h 672"/>
                <a:gd name="T100" fmla="*/ 104 w 743"/>
                <a:gd name="T101" fmla="*/ 194 h 672"/>
                <a:gd name="T102" fmla="*/ 87 w 743"/>
                <a:gd name="T103" fmla="*/ 190 h 672"/>
                <a:gd name="T104" fmla="*/ 70 w 743"/>
                <a:gd name="T105" fmla="*/ 184 h 672"/>
                <a:gd name="T106" fmla="*/ 57 w 743"/>
                <a:gd name="T107" fmla="*/ 169 h 672"/>
                <a:gd name="T108" fmla="*/ 52 w 743"/>
                <a:gd name="T109" fmla="*/ 119 h 672"/>
                <a:gd name="T110" fmla="*/ 73 w 743"/>
                <a:gd name="T111" fmla="*/ 61 h 672"/>
                <a:gd name="T112" fmla="*/ 97 w 743"/>
                <a:gd name="T113" fmla="*/ 15 h 672"/>
                <a:gd name="T114" fmla="*/ 52 w 743"/>
                <a:gd name="T115" fmla="*/ 30 h 672"/>
                <a:gd name="T116" fmla="*/ 16 w 743"/>
                <a:gd name="T117" fmla="*/ 70 h 672"/>
                <a:gd name="T118" fmla="*/ 1 w 743"/>
                <a:gd name="T119" fmla="*/ 120 h 6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166" name="Freeform 169">
            <a:extLst>
              <a:ext uri="{FF2B5EF4-FFF2-40B4-BE49-F238E27FC236}">
                <a16:creationId xmlns:a16="http://schemas.microsoft.com/office/drawing/2014/main" id="{884E2F45-0862-4AE5-BB7B-1A076A6D1F77}"/>
              </a:ext>
            </a:extLst>
          </p:cNvPr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10849229" y="5120572"/>
            <a:ext cx="30556" cy="11112"/>
          </a:xfrm>
          <a:custGeom>
            <a:avLst/>
            <a:gdLst>
              <a:gd name="T0" fmla="*/ 0 w 79"/>
              <a:gd name="T1" fmla="*/ 23 h 23"/>
              <a:gd name="T2" fmla="*/ 22 w 79"/>
              <a:gd name="T3" fmla="*/ 13 h 23"/>
              <a:gd name="T4" fmla="*/ 45 w 79"/>
              <a:gd name="T5" fmla="*/ 4 h 23"/>
              <a:gd name="T6" fmla="*/ 56 w 79"/>
              <a:gd name="T7" fmla="*/ 1 h 23"/>
              <a:gd name="T8" fmla="*/ 65 w 79"/>
              <a:gd name="T9" fmla="*/ 0 h 23"/>
              <a:gd name="T10" fmla="*/ 69 w 79"/>
              <a:gd name="T11" fmla="*/ 0 h 23"/>
              <a:gd name="T12" fmla="*/ 74 w 79"/>
              <a:gd name="T13" fmla="*/ 1 h 23"/>
              <a:gd name="T14" fmla="*/ 77 w 79"/>
              <a:gd name="T15" fmla="*/ 2 h 23"/>
              <a:gd name="T16" fmla="*/ 79 w 79"/>
              <a:gd name="T17" fmla="*/ 4 h 23"/>
              <a:gd name="T18" fmla="*/ 77 w 79"/>
              <a:gd name="T19" fmla="*/ 8 h 23"/>
              <a:gd name="T20" fmla="*/ 75 w 79"/>
              <a:gd name="T21" fmla="*/ 13 h 23"/>
              <a:gd name="T22" fmla="*/ 72 w 79"/>
              <a:gd name="T23" fmla="*/ 16 h 23"/>
              <a:gd name="T24" fmla="*/ 68 w 79"/>
              <a:gd name="T25" fmla="*/ 19 h 23"/>
              <a:gd name="T26" fmla="*/ 64 w 79"/>
              <a:gd name="T27" fmla="*/ 21 h 23"/>
              <a:gd name="T28" fmla="*/ 59 w 79"/>
              <a:gd name="T29" fmla="*/ 22 h 23"/>
              <a:gd name="T30" fmla="*/ 53 w 79"/>
              <a:gd name="T31" fmla="*/ 23 h 23"/>
              <a:gd name="T32" fmla="*/ 46 w 79"/>
              <a:gd name="T33" fmla="*/ 23 h 23"/>
              <a:gd name="T34" fmla="*/ 37 w 79"/>
              <a:gd name="T35" fmla="*/ 23 h 23"/>
              <a:gd name="T36" fmla="*/ 32 w 79"/>
              <a:gd name="T37" fmla="*/ 21 h 23"/>
              <a:gd name="T38" fmla="*/ 26 w 79"/>
              <a:gd name="T39" fmla="*/ 20 h 23"/>
              <a:gd name="T40" fmla="*/ 23 w 79"/>
              <a:gd name="T41" fmla="*/ 19 h 23"/>
              <a:gd name="T42" fmla="*/ 19 w 79"/>
              <a:gd name="T43" fmla="*/ 18 h 23"/>
              <a:gd name="T44" fmla="*/ 14 w 79"/>
              <a:gd name="T45" fmla="*/ 18 h 23"/>
              <a:gd name="T46" fmla="*/ 9 w 79"/>
              <a:gd name="T47" fmla="*/ 20 h 23"/>
              <a:gd name="T48" fmla="*/ 0 w 79"/>
              <a:gd name="T49" fmla="*/ 23 h 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67" name="Freeform 170">
            <a:extLst>
              <a:ext uri="{FF2B5EF4-FFF2-40B4-BE49-F238E27FC236}">
                <a16:creationId xmlns:a16="http://schemas.microsoft.com/office/drawing/2014/main" id="{8C0B7E2F-9FAB-438B-AB3A-FF7E658E1FED}"/>
              </a:ext>
            </a:extLst>
          </p:cNvPr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10960759" y="5253922"/>
            <a:ext cx="1528" cy="4762"/>
          </a:xfrm>
          <a:custGeom>
            <a:avLst/>
            <a:gdLst>
              <a:gd name="T0" fmla="*/ 0 h 6"/>
              <a:gd name="T1" fmla="*/ 6 h 6"/>
              <a:gd name="T2" fmla="*/ 0 h 6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</a:cxnLst>
            <a:rect l="0" t="0" r="r" b="b"/>
            <a:pathLst>
              <a:path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68" name="Line 171">
            <a:extLst>
              <a:ext uri="{FF2B5EF4-FFF2-40B4-BE49-F238E27FC236}">
                <a16:creationId xmlns:a16="http://schemas.microsoft.com/office/drawing/2014/main" id="{A0688494-FB2B-4445-A626-DB9C83EA5768}"/>
              </a:ext>
            </a:extLst>
          </p:cNvPr>
          <p:cNvSpPr>
            <a:spLocks noChangeShapeType="1"/>
          </p:cNvSpPr>
          <p:nvPr>
            <p:custDataLst>
              <p:tags r:id="rId101"/>
            </p:custDataLst>
          </p:nvPr>
        </p:nvSpPr>
        <p:spPr bwMode="auto">
          <a:xfrm flipV="1">
            <a:off x="11047845" y="5252334"/>
            <a:ext cx="152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69" name="Freeform 172">
            <a:extLst>
              <a:ext uri="{FF2B5EF4-FFF2-40B4-BE49-F238E27FC236}">
                <a16:creationId xmlns:a16="http://schemas.microsoft.com/office/drawing/2014/main" id="{408920A3-684A-49D3-A07C-E1DE4B3300CC}"/>
              </a:ext>
            </a:extLst>
          </p:cNvPr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11047845" y="5252335"/>
            <a:ext cx="3056" cy="15875"/>
          </a:xfrm>
          <a:custGeom>
            <a:avLst/>
            <a:gdLst>
              <a:gd name="T0" fmla="*/ 0 w 5"/>
              <a:gd name="T1" fmla="*/ 0 h 30"/>
              <a:gd name="T2" fmla="*/ 2 w 5"/>
              <a:gd name="T3" fmla="*/ 1 h 30"/>
              <a:gd name="T4" fmla="*/ 4 w 5"/>
              <a:gd name="T5" fmla="*/ 4 h 30"/>
              <a:gd name="T6" fmla="*/ 5 w 5"/>
              <a:gd name="T7" fmla="*/ 8 h 30"/>
              <a:gd name="T8" fmla="*/ 5 w 5"/>
              <a:gd name="T9" fmla="*/ 13 h 30"/>
              <a:gd name="T10" fmla="*/ 5 w 5"/>
              <a:gd name="T11" fmla="*/ 18 h 30"/>
              <a:gd name="T12" fmla="*/ 4 w 5"/>
              <a:gd name="T13" fmla="*/ 23 h 30"/>
              <a:gd name="T14" fmla="*/ 2 w 5"/>
              <a:gd name="T15" fmla="*/ 27 h 30"/>
              <a:gd name="T16" fmla="*/ 0 w 5"/>
              <a:gd name="T17" fmla="*/ 3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0" name="Freeform 173">
            <a:extLst>
              <a:ext uri="{FF2B5EF4-FFF2-40B4-BE49-F238E27FC236}">
                <a16:creationId xmlns:a16="http://schemas.microsoft.com/office/drawing/2014/main" id="{0C733F04-E7C7-44CA-A011-490BFDC48E24}"/>
              </a:ext>
            </a:extLst>
          </p:cNvPr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11335074" y="4722110"/>
            <a:ext cx="21389" cy="28575"/>
          </a:xfrm>
          <a:custGeom>
            <a:avLst/>
            <a:gdLst>
              <a:gd name="T0" fmla="*/ 0 w 53"/>
              <a:gd name="T1" fmla="*/ 12 h 55"/>
              <a:gd name="T2" fmla="*/ 1 w 53"/>
              <a:gd name="T3" fmla="*/ 17 h 55"/>
              <a:gd name="T4" fmla="*/ 5 w 53"/>
              <a:gd name="T5" fmla="*/ 22 h 55"/>
              <a:gd name="T6" fmla="*/ 9 w 53"/>
              <a:gd name="T7" fmla="*/ 27 h 55"/>
              <a:gd name="T8" fmla="*/ 15 w 53"/>
              <a:gd name="T9" fmla="*/ 33 h 55"/>
              <a:gd name="T10" fmla="*/ 26 w 53"/>
              <a:gd name="T11" fmla="*/ 44 h 55"/>
              <a:gd name="T12" fmla="*/ 33 w 53"/>
              <a:gd name="T13" fmla="*/ 55 h 55"/>
              <a:gd name="T14" fmla="*/ 53 w 53"/>
              <a:gd name="T15" fmla="*/ 55 h 55"/>
              <a:gd name="T16" fmla="*/ 40 w 53"/>
              <a:gd name="T17" fmla="*/ 41 h 55"/>
              <a:gd name="T18" fmla="*/ 28 w 53"/>
              <a:gd name="T19" fmla="*/ 29 h 55"/>
              <a:gd name="T20" fmla="*/ 23 w 53"/>
              <a:gd name="T21" fmla="*/ 23 h 55"/>
              <a:gd name="T22" fmla="*/ 19 w 53"/>
              <a:gd name="T23" fmla="*/ 16 h 55"/>
              <a:gd name="T24" fmla="*/ 16 w 53"/>
              <a:gd name="T25" fmla="*/ 8 h 55"/>
              <a:gd name="T26" fmla="*/ 14 w 53"/>
              <a:gd name="T27" fmla="*/ 0 h 55"/>
              <a:gd name="T28" fmla="*/ 7 w 53"/>
              <a:gd name="T29" fmla="*/ 6 h 55"/>
              <a:gd name="T30" fmla="*/ 0 w 53"/>
              <a:gd name="T31" fmla="*/ 12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1" name="Freeform 174">
            <a:extLst>
              <a:ext uri="{FF2B5EF4-FFF2-40B4-BE49-F238E27FC236}">
                <a16:creationId xmlns:a16="http://schemas.microsoft.com/office/drawing/2014/main" id="{BC8DF3E5-D58E-4803-8A6D-91D6D6585B52}"/>
              </a:ext>
            </a:extLst>
          </p:cNvPr>
          <p:cNvSpPr>
            <a:spLocks/>
          </p:cNvSpPr>
          <p:nvPr>
            <p:custDataLst>
              <p:tags r:id="rId104"/>
            </p:custDataLst>
          </p:nvPr>
        </p:nvSpPr>
        <p:spPr bwMode="auto">
          <a:xfrm>
            <a:off x="11341185" y="4649084"/>
            <a:ext cx="25972" cy="39688"/>
          </a:xfrm>
          <a:custGeom>
            <a:avLst/>
            <a:gdLst>
              <a:gd name="T0" fmla="*/ 0 w 65"/>
              <a:gd name="T1" fmla="*/ 32 h 75"/>
              <a:gd name="T2" fmla="*/ 9 w 65"/>
              <a:gd name="T3" fmla="*/ 43 h 75"/>
              <a:gd name="T4" fmla="*/ 20 w 65"/>
              <a:gd name="T5" fmla="*/ 55 h 75"/>
              <a:gd name="T6" fmla="*/ 26 w 65"/>
              <a:gd name="T7" fmla="*/ 61 h 75"/>
              <a:gd name="T8" fmla="*/ 32 w 65"/>
              <a:gd name="T9" fmla="*/ 67 h 75"/>
              <a:gd name="T10" fmla="*/ 39 w 65"/>
              <a:gd name="T11" fmla="*/ 71 h 75"/>
              <a:gd name="T12" fmla="*/ 46 w 65"/>
              <a:gd name="T13" fmla="*/ 75 h 75"/>
              <a:gd name="T14" fmla="*/ 51 w 65"/>
              <a:gd name="T15" fmla="*/ 61 h 75"/>
              <a:gd name="T16" fmla="*/ 58 w 65"/>
              <a:gd name="T17" fmla="*/ 48 h 75"/>
              <a:gd name="T18" fmla="*/ 61 w 65"/>
              <a:gd name="T19" fmla="*/ 42 h 75"/>
              <a:gd name="T20" fmla="*/ 63 w 65"/>
              <a:gd name="T21" fmla="*/ 36 h 75"/>
              <a:gd name="T22" fmla="*/ 65 w 65"/>
              <a:gd name="T23" fmla="*/ 31 h 75"/>
              <a:gd name="T24" fmla="*/ 65 w 65"/>
              <a:gd name="T25" fmla="*/ 26 h 75"/>
              <a:gd name="T26" fmla="*/ 65 w 65"/>
              <a:gd name="T27" fmla="*/ 21 h 75"/>
              <a:gd name="T28" fmla="*/ 63 w 65"/>
              <a:gd name="T29" fmla="*/ 18 h 75"/>
              <a:gd name="T30" fmla="*/ 61 w 65"/>
              <a:gd name="T31" fmla="*/ 13 h 75"/>
              <a:gd name="T32" fmla="*/ 58 w 65"/>
              <a:gd name="T33" fmla="*/ 10 h 75"/>
              <a:gd name="T34" fmla="*/ 51 w 65"/>
              <a:gd name="T35" fmla="*/ 5 h 75"/>
              <a:gd name="T36" fmla="*/ 46 w 65"/>
              <a:gd name="T37" fmla="*/ 0 h 75"/>
              <a:gd name="T38" fmla="*/ 34 w 65"/>
              <a:gd name="T39" fmla="*/ 0 h 75"/>
              <a:gd name="T40" fmla="*/ 26 w 65"/>
              <a:gd name="T41" fmla="*/ 0 h 75"/>
              <a:gd name="T42" fmla="*/ 25 w 65"/>
              <a:gd name="T43" fmla="*/ 2 h 75"/>
              <a:gd name="T44" fmla="*/ 24 w 65"/>
              <a:gd name="T45" fmla="*/ 7 h 75"/>
              <a:gd name="T46" fmla="*/ 23 w 65"/>
              <a:gd name="T47" fmla="*/ 9 h 75"/>
              <a:gd name="T48" fmla="*/ 23 w 65"/>
              <a:gd name="T49" fmla="*/ 11 h 75"/>
              <a:gd name="T50" fmla="*/ 24 w 65"/>
              <a:gd name="T51" fmla="*/ 12 h 75"/>
              <a:gd name="T52" fmla="*/ 26 w 65"/>
              <a:gd name="T53" fmla="*/ 13 h 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2" name="Freeform 175">
            <a:extLst>
              <a:ext uri="{FF2B5EF4-FFF2-40B4-BE49-F238E27FC236}">
                <a16:creationId xmlns:a16="http://schemas.microsoft.com/office/drawing/2014/main" id="{CDF4FDB9-D62B-4EC8-9293-C1E8E595719F}"/>
              </a:ext>
            </a:extLst>
          </p:cNvPr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11318268" y="4625272"/>
            <a:ext cx="16806" cy="30162"/>
          </a:xfrm>
          <a:custGeom>
            <a:avLst/>
            <a:gdLst>
              <a:gd name="T0" fmla="*/ 0 w 40"/>
              <a:gd name="T1" fmla="*/ 62 h 62"/>
              <a:gd name="T2" fmla="*/ 3 w 40"/>
              <a:gd name="T3" fmla="*/ 52 h 62"/>
              <a:gd name="T4" fmla="*/ 7 w 40"/>
              <a:gd name="T5" fmla="*/ 43 h 62"/>
              <a:gd name="T6" fmla="*/ 12 w 40"/>
              <a:gd name="T7" fmla="*/ 33 h 62"/>
              <a:gd name="T8" fmla="*/ 17 w 40"/>
              <a:gd name="T9" fmla="*/ 25 h 62"/>
              <a:gd name="T10" fmla="*/ 23 w 40"/>
              <a:gd name="T11" fmla="*/ 17 h 62"/>
              <a:gd name="T12" fmla="*/ 29 w 40"/>
              <a:gd name="T13" fmla="*/ 9 h 62"/>
              <a:gd name="T14" fmla="*/ 35 w 40"/>
              <a:gd name="T15" fmla="*/ 3 h 62"/>
              <a:gd name="T16" fmla="*/ 40 w 40"/>
              <a:gd name="T17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3" name="Freeform 176">
            <a:extLst>
              <a:ext uri="{FF2B5EF4-FFF2-40B4-BE49-F238E27FC236}">
                <a16:creationId xmlns:a16="http://schemas.microsoft.com/office/drawing/2014/main" id="{11FA5AAB-6E49-491C-A951-C06515188976}"/>
              </a:ext>
            </a:extLst>
          </p:cNvPr>
          <p:cNvSpPr>
            <a:spLocks/>
          </p:cNvSpPr>
          <p:nvPr>
            <p:custDataLst>
              <p:tags r:id="rId106"/>
            </p:custDataLst>
          </p:nvPr>
        </p:nvSpPr>
        <p:spPr bwMode="auto">
          <a:xfrm>
            <a:off x="11240349" y="4503035"/>
            <a:ext cx="65695" cy="138113"/>
          </a:xfrm>
          <a:custGeom>
            <a:avLst/>
            <a:gdLst>
              <a:gd name="T0" fmla="*/ 159 w 159"/>
              <a:gd name="T1" fmla="*/ 259 h 259"/>
              <a:gd name="T2" fmla="*/ 159 w 159"/>
              <a:gd name="T3" fmla="*/ 251 h 259"/>
              <a:gd name="T4" fmla="*/ 159 w 159"/>
              <a:gd name="T5" fmla="*/ 244 h 259"/>
              <a:gd name="T6" fmla="*/ 159 w 159"/>
              <a:gd name="T7" fmla="*/ 236 h 259"/>
              <a:gd name="T8" fmla="*/ 159 w 159"/>
              <a:gd name="T9" fmla="*/ 228 h 259"/>
              <a:gd name="T10" fmla="*/ 159 w 159"/>
              <a:gd name="T11" fmla="*/ 224 h 259"/>
              <a:gd name="T12" fmla="*/ 158 w 159"/>
              <a:gd name="T13" fmla="*/ 219 h 259"/>
              <a:gd name="T14" fmla="*/ 156 w 159"/>
              <a:gd name="T15" fmla="*/ 215 h 259"/>
              <a:gd name="T16" fmla="*/ 153 w 159"/>
              <a:gd name="T17" fmla="*/ 210 h 259"/>
              <a:gd name="T18" fmla="*/ 145 w 159"/>
              <a:gd name="T19" fmla="*/ 202 h 259"/>
              <a:gd name="T20" fmla="*/ 135 w 159"/>
              <a:gd name="T21" fmla="*/ 195 h 259"/>
              <a:gd name="T22" fmla="*/ 124 w 159"/>
              <a:gd name="T23" fmla="*/ 189 h 259"/>
              <a:gd name="T24" fmla="*/ 112 w 159"/>
              <a:gd name="T25" fmla="*/ 184 h 259"/>
              <a:gd name="T26" fmla="*/ 99 w 159"/>
              <a:gd name="T27" fmla="*/ 180 h 259"/>
              <a:gd name="T28" fmla="*/ 87 w 159"/>
              <a:gd name="T29" fmla="*/ 179 h 259"/>
              <a:gd name="T30" fmla="*/ 85 w 159"/>
              <a:gd name="T31" fmla="*/ 178 h 259"/>
              <a:gd name="T32" fmla="*/ 82 w 159"/>
              <a:gd name="T33" fmla="*/ 177 h 259"/>
              <a:gd name="T34" fmla="*/ 81 w 159"/>
              <a:gd name="T35" fmla="*/ 175 h 259"/>
              <a:gd name="T36" fmla="*/ 80 w 159"/>
              <a:gd name="T37" fmla="*/ 173 h 259"/>
              <a:gd name="T38" fmla="*/ 80 w 159"/>
              <a:gd name="T39" fmla="*/ 167 h 259"/>
              <a:gd name="T40" fmla="*/ 81 w 159"/>
              <a:gd name="T41" fmla="*/ 161 h 259"/>
              <a:gd name="T42" fmla="*/ 85 w 159"/>
              <a:gd name="T43" fmla="*/ 148 h 259"/>
              <a:gd name="T44" fmla="*/ 87 w 159"/>
              <a:gd name="T45" fmla="*/ 142 h 259"/>
              <a:gd name="T46" fmla="*/ 73 w 159"/>
              <a:gd name="T47" fmla="*/ 141 h 259"/>
              <a:gd name="T48" fmla="*/ 59 w 159"/>
              <a:gd name="T49" fmla="*/ 139 h 259"/>
              <a:gd name="T50" fmla="*/ 48 w 159"/>
              <a:gd name="T51" fmla="*/ 135 h 259"/>
              <a:gd name="T52" fmla="*/ 40 w 159"/>
              <a:gd name="T53" fmla="*/ 129 h 259"/>
              <a:gd name="T54" fmla="*/ 31 w 159"/>
              <a:gd name="T55" fmla="*/ 121 h 259"/>
              <a:gd name="T56" fmla="*/ 24 w 159"/>
              <a:gd name="T57" fmla="*/ 113 h 259"/>
              <a:gd name="T58" fmla="*/ 18 w 159"/>
              <a:gd name="T59" fmla="*/ 104 h 259"/>
              <a:gd name="T60" fmla="*/ 13 w 159"/>
              <a:gd name="T61" fmla="*/ 94 h 259"/>
              <a:gd name="T62" fmla="*/ 9 w 159"/>
              <a:gd name="T63" fmla="*/ 84 h 259"/>
              <a:gd name="T64" fmla="*/ 7 w 159"/>
              <a:gd name="T65" fmla="*/ 73 h 259"/>
              <a:gd name="T66" fmla="*/ 5 w 159"/>
              <a:gd name="T67" fmla="*/ 60 h 259"/>
              <a:gd name="T68" fmla="*/ 2 w 159"/>
              <a:gd name="T69" fmla="*/ 48 h 259"/>
              <a:gd name="T70" fmla="*/ 0 w 159"/>
              <a:gd name="T71" fmla="*/ 25 h 259"/>
              <a:gd name="T72" fmla="*/ 0 w 159"/>
              <a:gd name="T73" fmla="*/ 0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4" name="Line 177">
            <a:extLst>
              <a:ext uri="{FF2B5EF4-FFF2-40B4-BE49-F238E27FC236}">
                <a16:creationId xmlns:a16="http://schemas.microsoft.com/office/drawing/2014/main" id="{BF11D3F2-C3F2-43C4-BE3D-A0509A4F0FD9}"/>
              </a:ext>
            </a:extLst>
          </p:cNvPr>
          <p:cNvSpPr>
            <a:spLocks noChangeShapeType="1"/>
          </p:cNvSpPr>
          <p:nvPr>
            <p:custDataLst>
              <p:tags r:id="rId107"/>
            </p:custDataLst>
          </p:nvPr>
        </p:nvSpPr>
        <p:spPr bwMode="auto">
          <a:xfrm flipH="1" flipV="1">
            <a:off x="11234237" y="4469698"/>
            <a:ext cx="6111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5" name="Freeform 178">
            <a:extLst>
              <a:ext uri="{FF2B5EF4-FFF2-40B4-BE49-F238E27FC236}">
                <a16:creationId xmlns:a16="http://schemas.microsoft.com/office/drawing/2014/main" id="{678A513A-0D78-487B-BF47-AA09004C8A04}"/>
              </a:ext>
            </a:extLst>
          </p:cNvPr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11234237" y="4453823"/>
            <a:ext cx="6111" cy="15875"/>
          </a:xfrm>
          <a:custGeom>
            <a:avLst/>
            <a:gdLst>
              <a:gd name="T0" fmla="*/ 0 w 13"/>
              <a:gd name="T1" fmla="*/ 25 h 25"/>
              <a:gd name="T2" fmla="*/ 1 w 13"/>
              <a:gd name="T3" fmla="*/ 19 h 25"/>
              <a:gd name="T4" fmla="*/ 4 w 13"/>
              <a:gd name="T5" fmla="*/ 13 h 25"/>
              <a:gd name="T6" fmla="*/ 8 w 13"/>
              <a:gd name="T7" fmla="*/ 6 h 25"/>
              <a:gd name="T8" fmla="*/ 13 w 13"/>
              <a:gd name="T9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6" name="Line 179">
            <a:extLst>
              <a:ext uri="{FF2B5EF4-FFF2-40B4-BE49-F238E27FC236}">
                <a16:creationId xmlns:a16="http://schemas.microsoft.com/office/drawing/2014/main" id="{D6354279-84EF-49C1-AB92-14364DBFEA48}"/>
              </a:ext>
            </a:extLst>
          </p:cNvPr>
          <p:cNvSpPr>
            <a:spLocks noChangeShapeType="1"/>
          </p:cNvSpPr>
          <p:nvPr>
            <p:custDataLst>
              <p:tags r:id="rId109"/>
            </p:custDataLst>
          </p:nvPr>
        </p:nvSpPr>
        <p:spPr bwMode="auto">
          <a:xfrm flipV="1">
            <a:off x="11240349" y="4441122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77" name="Freeform 180">
            <a:extLst>
              <a:ext uri="{FF2B5EF4-FFF2-40B4-BE49-F238E27FC236}">
                <a16:creationId xmlns:a16="http://schemas.microsoft.com/office/drawing/2014/main" id="{4E961758-2AF9-461C-8D8C-57FA1AC6597B}"/>
              </a:ext>
            </a:extLst>
          </p:cNvPr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11196042" y="4374448"/>
            <a:ext cx="44307" cy="66675"/>
          </a:xfrm>
          <a:custGeom>
            <a:avLst/>
            <a:gdLst>
              <a:gd name="T0" fmla="*/ 100 w 100"/>
              <a:gd name="T1" fmla="*/ 123 h 123"/>
              <a:gd name="T2" fmla="*/ 90 w 100"/>
              <a:gd name="T3" fmla="*/ 122 h 123"/>
              <a:gd name="T4" fmla="*/ 76 w 100"/>
              <a:gd name="T5" fmla="*/ 119 h 123"/>
              <a:gd name="T6" fmla="*/ 60 w 100"/>
              <a:gd name="T7" fmla="*/ 114 h 123"/>
              <a:gd name="T8" fmla="*/ 43 w 100"/>
              <a:gd name="T9" fmla="*/ 107 h 123"/>
              <a:gd name="T10" fmla="*/ 34 w 100"/>
              <a:gd name="T11" fmla="*/ 103 h 123"/>
              <a:gd name="T12" fmla="*/ 27 w 100"/>
              <a:gd name="T13" fmla="*/ 99 h 123"/>
              <a:gd name="T14" fmla="*/ 20 w 100"/>
              <a:gd name="T15" fmla="*/ 94 h 123"/>
              <a:gd name="T16" fmla="*/ 13 w 100"/>
              <a:gd name="T17" fmla="*/ 89 h 123"/>
              <a:gd name="T18" fmla="*/ 8 w 100"/>
              <a:gd name="T19" fmla="*/ 84 h 123"/>
              <a:gd name="T20" fmla="*/ 4 w 100"/>
              <a:gd name="T21" fmla="*/ 79 h 123"/>
              <a:gd name="T22" fmla="*/ 1 w 100"/>
              <a:gd name="T23" fmla="*/ 73 h 123"/>
              <a:gd name="T24" fmla="*/ 0 w 100"/>
              <a:gd name="T25" fmla="*/ 68 h 123"/>
              <a:gd name="T26" fmla="*/ 2 w 100"/>
              <a:gd name="T27" fmla="*/ 55 h 123"/>
              <a:gd name="T28" fmla="*/ 7 w 100"/>
              <a:gd name="T29" fmla="*/ 36 h 123"/>
              <a:gd name="T30" fmla="*/ 11 w 100"/>
              <a:gd name="T31" fmla="*/ 17 h 123"/>
              <a:gd name="T32" fmla="*/ 13 w 100"/>
              <a:gd name="T33" fmla="*/ 0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8" name="Freeform 181">
            <a:extLst>
              <a:ext uri="{FF2B5EF4-FFF2-40B4-BE49-F238E27FC236}">
                <a16:creationId xmlns:a16="http://schemas.microsoft.com/office/drawing/2014/main" id="{2DDE24C5-4AF9-4614-A376-734F85AACF33}"/>
              </a:ext>
            </a:extLst>
          </p:cNvPr>
          <p:cNvSpPr>
            <a:spLocks/>
          </p:cNvSpPr>
          <p:nvPr>
            <p:custDataLst>
              <p:tags r:id="rId111"/>
            </p:custDataLst>
          </p:nvPr>
        </p:nvSpPr>
        <p:spPr bwMode="auto">
          <a:xfrm>
            <a:off x="11209793" y="4317297"/>
            <a:ext cx="1527" cy="50800"/>
          </a:xfrm>
          <a:custGeom>
            <a:avLst/>
            <a:gdLst>
              <a:gd name="T0" fmla="*/ 5 w 5"/>
              <a:gd name="T1" fmla="*/ 0 h 99"/>
              <a:gd name="T2" fmla="*/ 4 w 5"/>
              <a:gd name="T3" fmla="*/ 34 h 99"/>
              <a:gd name="T4" fmla="*/ 1 w 5"/>
              <a:gd name="T5" fmla="*/ 59 h 99"/>
              <a:gd name="T6" fmla="*/ 0 w 5"/>
              <a:gd name="T7" fmla="*/ 69 h 99"/>
              <a:gd name="T8" fmla="*/ 0 w 5"/>
              <a:gd name="T9" fmla="*/ 78 h 99"/>
              <a:gd name="T10" fmla="*/ 2 w 5"/>
              <a:gd name="T11" fmla="*/ 87 h 99"/>
              <a:gd name="T12" fmla="*/ 5 w 5"/>
              <a:gd name="T13" fmla="*/ 99 h 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79" name="Freeform 182">
            <a:extLst>
              <a:ext uri="{FF2B5EF4-FFF2-40B4-BE49-F238E27FC236}">
                <a16:creationId xmlns:a16="http://schemas.microsoft.com/office/drawing/2014/main" id="{FC5691F4-ED82-4983-9032-41058143F13B}"/>
              </a:ext>
            </a:extLst>
          </p:cNvPr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11215905" y="4310947"/>
            <a:ext cx="7639" cy="36512"/>
          </a:xfrm>
          <a:custGeom>
            <a:avLst/>
            <a:gdLst>
              <a:gd name="T0" fmla="*/ 14 w 14"/>
              <a:gd name="T1" fmla="*/ 0 h 68"/>
              <a:gd name="T2" fmla="*/ 8 w 14"/>
              <a:gd name="T3" fmla="*/ 16 h 68"/>
              <a:gd name="T4" fmla="*/ 4 w 14"/>
              <a:gd name="T5" fmla="*/ 33 h 68"/>
              <a:gd name="T6" fmla="*/ 2 w 14"/>
              <a:gd name="T7" fmla="*/ 52 h 68"/>
              <a:gd name="T8" fmla="*/ 0 w 14"/>
              <a:gd name="T9" fmla="*/ 6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80" name="Freeform 183">
            <a:extLst>
              <a:ext uri="{FF2B5EF4-FFF2-40B4-BE49-F238E27FC236}">
                <a16:creationId xmlns:a16="http://schemas.microsoft.com/office/drawing/2014/main" id="{CEDB35B7-BC60-4E40-8379-7A742D5E34BB}"/>
              </a:ext>
            </a:extLst>
          </p:cNvPr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11231183" y="4291898"/>
            <a:ext cx="1527" cy="22225"/>
          </a:xfrm>
          <a:custGeom>
            <a:avLst/>
            <a:gdLst>
              <a:gd name="T0" fmla="*/ 0 h 43"/>
              <a:gd name="T1" fmla="*/ 13 h 43"/>
              <a:gd name="T2" fmla="*/ 26 h 43"/>
              <a:gd name="T3" fmla="*/ 37 h 43"/>
              <a:gd name="T4" fmla="*/ 43 h 43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81" name="Line 184">
            <a:extLst>
              <a:ext uri="{FF2B5EF4-FFF2-40B4-BE49-F238E27FC236}">
                <a16:creationId xmlns:a16="http://schemas.microsoft.com/office/drawing/2014/main" id="{6552B460-20C8-4AC2-8D0D-3C60482D122F}"/>
              </a:ext>
            </a:extLst>
          </p:cNvPr>
          <p:cNvSpPr>
            <a:spLocks noChangeShapeType="1"/>
          </p:cNvSpPr>
          <p:nvPr>
            <p:custDataLst>
              <p:tags r:id="rId114"/>
            </p:custDataLst>
          </p:nvPr>
        </p:nvSpPr>
        <p:spPr bwMode="auto">
          <a:xfrm flipV="1">
            <a:off x="11231183" y="4310948"/>
            <a:ext cx="152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82" name="Freeform 185">
            <a:extLst>
              <a:ext uri="{FF2B5EF4-FFF2-40B4-BE49-F238E27FC236}">
                <a16:creationId xmlns:a16="http://schemas.microsoft.com/office/drawing/2014/main" id="{A425815E-0BC5-48D4-ABCD-FC9D82571264}"/>
              </a:ext>
            </a:extLst>
          </p:cNvPr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11215905" y="4295073"/>
            <a:ext cx="1527" cy="15875"/>
          </a:xfrm>
          <a:custGeom>
            <a:avLst/>
            <a:gdLst>
              <a:gd name="T0" fmla="*/ 31 h 31"/>
              <a:gd name="T1" fmla="*/ 22 h 31"/>
              <a:gd name="T2" fmla="*/ 15 h 31"/>
              <a:gd name="T3" fmla="*/ 8 h 31"/>
              <a:gd name="T4" fmla="*/ 0 h 31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83" name="Freeform 186">
            <a:extLst>
              <a:ext uri="{FF2B5EF4-FFF2-40B4-BE49-F238E27FC236}">
                <a16:creationId xmlns:a16="http://schemas.microsoft.com/office/drawing/2014/main" id="{B73BD00F-8F4F-45E4-9036-3909262C9BBD}"/>
              </a:ext>
            </a:extLst>
          </p:cNvPr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10947010" y="5284085"/>
            <a:ext cx="93196" cy="87313"/>
          </a:xfrm>
          <a:custGeom>
            <a:avLst/>
            <a:gdLst>
              <a:gd name="T0" fmla="*/ 19 w 225"/>
              <a:gd name="T1" fmla="*/ 158 h 167"/>
              <a:gd name="T2" fmla="*/ 7 w 225"/>
              <a:gd name="T3" fmla="*/ 142 h 167"/>
              <a:gd name="T4" fmla="*/ 0 w 225"/>
              <a:gd name="T5" fmla="*/ 130 h 167"/>
              <a:gd name="T6" fmla="*/ 1 w 225"/>
              <a:gd name="T7" fmla="*/ 108 h 167"/>
              <a:gd name="T8" fmla="*/ 11 w 225"/>
              <a:gd name="T9" fmla="*/ 68 h 167"/>
              <a:gd name="T10" fmla="*/ 24 w 225"/>
              <a:gd name="T11" fmla="*/ 39 h 167"/>
              <a:gd name="T12" fmla="*/ 34 w 225"/>
              <a:gd name="T13" fmla="*/ 21 h 167"/>
              <a:gd name="T14" fmla="*/ 44 w 225"/>
              <a:gd name="T15" fmla="*/ 9 h 167"/>
              <a:gd name="T16" fmla="*/ 54 w 225"/>
              <a:gd name="T17" fmla="*/ 1 h 167"/>
              <a:gd name="T18" fmla="*/ 65 w 225"/>
              <a:gd name="T19" fmla="*/ 1 h 167"/>
              <a:gd name="T20" fmla="*/ 76 w 225"/>
              <a:gd name="T21" fmla="*/ 3 h 167"/>
              <a:gd name="T22" fmla="*/ 88 w 225"/>
              <a:gd name="T23" fmla="*/ 8 h 167"/>
              <a:gd name="T24" fmla="*/ 100 w 225"/>
              <a:gd name="T25" fmla="*/ 17 h 167"/>
              <a:gd name="T26" fmla="*/ 112 w 225"/>
              <a:gd name="T27" fmla="*/ 24 h 167"/>
              <a:gd name="T28" fmla="*/ 128 w 225"/>
              <a:gd name="T29" fmla="*/ 24 h 167"/>
              <a:gd name="T30" fmla="*/ 145 w 225"/>
              <a:gd name="T31" fmla="*/ 19 h 167"/>
              <a:gd name="T32" fmla="*/ 165 w 225"/>
              <a:gd name="T33" fmla="*/ 7 h 167"/>
              <a:gd name="T34" fmla="*/ 225 w 225"/>
              <a:gd name="T35" fmla="*/ 0 h 167"/>
              <a:gd name="T36" fmla="*/ 215 w 225"/>
              <a:gd name="T37" fmla="*/ 22 h 167"/>
              <a:gd name="T38" fmla="*/ 201 w 225"/>
              <a:gd name="T39" fmla="*/ 41 h 167"/>
              <a:gd name="T40" fmla="*/ 168 w 225"/>
              <a:gd name="T41" fmla="*/ 72 h 167"/>
              <a:gd name="T42" fmla="*/ 138 w 225"/>
              <a:gd name="T43" fmla="*/ 100 h 167"/>
              <a:gd name="T44" fmla="*/ 129 w 225"/>
              <a:gd name="T45" fmla="*/ 114 h 167"/>
              <a:gd name="T46" fmla="*/ 126 w 225"/>
              <a:gd name="T47" fmla="*/ 130 h 167"/>
              <a:gd name="T48" fmla="*/ 123 w 225"/>
              <a:gd name="T49" fmla="*/ 126 h 167"/>
              <a:gd name="T50" fmla="*/ 120 w 225"/>
              <a:gd name="T51" fmla="*/ 117 h 167"/>
              <a:gd name="T52" fmla="*/ 106 w 225"/>
              <a:gd name="T53" fmla="*/ 121 h 167"/>
              <a:gd name="T54" fmla="*/ 97 w 225"/>
              <a:gd name="T55" fmla="*/ 128 h 167"/>
              <a:gd name="T56" fmla="*/ 80 w 225"/>
              <a:gd name="T57" fmla="*/ 145 h 167"/>
              <a:gd name="T58" fmla="*/ 71 w 225"/>
              <a:gd name="T59" fmla="*/ 153 h 167"/>
              <a:gd name="T60" fmla="*/ 60 w 225"/>
              <a:gd name="T61" fmla="*/ 160 h 167"/>
              <a:gd name="T62" fmla="*/ 46 w 225"/>
              <a:gd name="T63" fmla="*/ 165 h 167"/>
              <a:gd name="T64" fmla="*/ 26 w 225"/>
              <a:gd name="T65" fmla="*/ 167 h 1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84" name="Freeform 187">
            <a:extLst>
              <a:ext uri="{FF2B5EF4-FFF2-40B4-BE49-F238E27FC236}">
                <a16:creationId xmlns:a16="http://schemas.microsoft.com/office/drawing/2014/main" id="{82A27902-6A26-4C5C-A8EC-68BAA909AE4B}"/>
              </a:ext>
            </a:extLst>
          </p:cNvPr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11079929" y="4503035"/>
            <a:ext cx="3056" cy="17463"/>
          </a:xfrm>
          <a:custGeom>
            <a:avLst/>
            <a:gdLst>
              <a:gd name="T0" fmla="*/ 0 w 7"/>
              <a:gd name="T1" fmla="*/ 31 h 31"/>
              <a:gd name="T2" fmla="*/ 5 w 7"/>
              <a:gd name="T3" fmla="*/ 22 h 31"/>
              <a:gd name="T4" fmla="*/ 6 w 7"/>
              <a:gd name="T5" fmla="*/ 13 h 31"/>
              <a:gd name="T6" fmla="*/ 7 w 7"/>
              <a:gd name="T7" fmla="*/ 6 h 31"/>
              <a:gd name="T8" fmla="*/ 7 w 7"/>
              <a:gd name="T9" fmla="*/ 0 h 31"/>
              <a:gd name="T10" fmla="*/ 6 w 7"/>
              <a:gd name="T11" fmla="*/ 6 h 31"/>
              <a:gd name="T12" fmla="*/ 4 w 7"/>
              <a:gd name="T13" fmla="*/ 13 h 31"/>
              <a:gd name="T14" fmla="*/ 1 w 7"/>
              <a:gd name="T15" fmla="*/ 22 h 31"/>
              <a:gd name="T16" fmla="*/ 0 w 7"/>
              <a:gd name="T17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85" name="Freeform 188">
            <a:extLst>
              <a:ext uri="{FF2B5EF4-FFF2-40B4-BE49-F238E27FC236}">
                <a16:creationId xmlns:a16="http://schemas.microsoft.com/office/drawing/2014/main" id="{CCFE53BC-DC3F-4BB1-A178-F80EA7D046A8}"/>
              </a:ext>
            </a:extLst>
          </p:cNvPr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11015761" y="4425248"/>
            <a:ext cx="15278" cy="15875"/>
          </a:xfrm>
          <a:custGeom>
            <a:avLst/>
            <a:gdLst>
              <a:gd name="T0" fmla="*/ 33 w 33"/>
              <a:gd name="T1" fmla="*/ 31 h 31"/>
              <a:gd name="T2" fmla="*/ 33 w 33"/>
              <a:gd name="T3" fmla="*/ 0 h 31"/>
              <a:gd name="T4" fmla="*/ 27 w 33"/>
              <a:gd name="T5" fmla="*/ 0 h 31"/>
              <a:gd name="T6" fmla="*/ 22 w 33"/>
              <a:gd name="T7" fmla="*/ 2 h 31"/>
              <a:gd name="T8" fmla="*/ 16 w 33"/>
              <a:gd name="T9" fmla="*/ 5 h 31"/>
              <a:gd name="T10" fmla="*/ 11 w 33"/>
              <a:gd name="T11" fmla="*/ 8 h 31"/>
              <a:gd name="T12" fmla="*/ 6 w 33"/>
              <a:gd name="T13" fmla="*/ 12 h 31"/>
              <a:gd name="T14" fmla="*/ 3 w 33"/>
              <a:gd name="T15" fmla="*/ 16 h 31"/>
              <a:gd name="T16" fmla="*/ 1 w 33"/>
              <a:gd name="T17" fmla="*/ 21 h 31"/>
              <a:gd name="T18" fmla="*/ 0 w 33"/>
              <a:gd name="T19" fmla="*/ 25 h 31"/>
              <a:gd name="T20" fmla="*/ 1 w 33"/>
              <a:gd name="T21" fmla="*/ 27 h 31"/>
              <a:gd name="T22" fmla="*/ 3 w 33"/>
              <a:gd name="T23" fmla="*/ 29 h 31"/>
              <a:gd name="T24" fmla="*/ 6 w 33"/>
              <a:gd name="T25" fmla="*/ 30 h 31"/>
              <a:gd name="T26" fmla="*/ 11 w 33"/>
              <a:gd name="T27" fmla="*/ 30 h 31"/>
              <a:gd name="T28" fmla="*/ 22 w 33"/>
              <a:gd name="T29" fmla="*/ 31 h 31"/>
              <a:gd name="T30" fmla="*/ 33 w 33"/>
              <a:gd name="T31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86" name="Freeform 189">
            <a:extLst>
              <a:ext uri="{FF2B5EF4-FFF2-40B4-BE49-F238E27FC236}">
                <a16:creationId xmlns:a16="http://schemas.microsoft.com/office/drawing/2014/main" id="{8F525C45-FCB1-4D96-8FD8-AD62F2BC4EBA}"/>
              </a:ext>
            </a:extLst>
          </p:cNvPr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11031039" y="4337935"/>
            <a:ext cx="3056" cy="9525"/>
          </a:xfrm>
          <a:custGeom>
            <a:avLst/>
            <a:gdLst>
              <a:gd name="T0" fmla="*/ 0 w 13"/>
              <a:gd name="T1" fmla="*/ 19 h 19"/>
              <a:gd name="T2" fmla="*/ 2 w 13"/>
              <a:gd name="T3" fmla="*/ 18 h 19"/>
              <a:gd name="T4" fmla="*/ 5 w 13"/>
              <a:gd name="T5" fmla="*/ 17 h 19"/>
              <a:gd name="T6" fmla="*/ 7 w 13"/>
              <a:gd name="T7" fmla="*/ 15 h 19"/>
              <a:gd name="T8" fmla="*/ 8 w 13"/>
              <a:gd name="T9" fmla="*/ 12 h 19"/>
              <a:gd name="T10" fmla="*/ 12 w 13"/>
              <a:gd name="T11" fmla="*/ 6 h 19"/>
              <a:gd name="T12" fmla="*/ 13 w 13"/>
              <a:gd name="T13" fmla="*/ 0 h 19"/>
              <a:gd name="T14" fmla="*/ 0 w 13"/>
              <a:gd name="T15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</a:cxnLst>
            <a:rect l="0" t="0" r="r" b="b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87" name="Freeform 190">
            <a:extLst>
              <a:ext uri="{FF2B5EF4-FFF2-40B4-BE49-F238E27FC236}">
                <a16:creationId xmlns:a16="http://schemas.microsoft.com/office/drawing/2014/main" id="{211FE92B-5D54-45BB-A137-A38907461844}"/>
              </a:ext>
            </a:extLst>
          </p:cNvPr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0876730" y="4341110"/>
            <a:ext cx="35139" cy="22225"/>
          </a:xfrm>
          <a:custGeom>
            <a:avLst/>
            <a:gdLst>
              <a:gd name="T0" fmla="*/ 54 w 87"/>
              <a:gd name="T1" fmla="*/ 42 h 42"/>
              <a:gd name="T2" fmla="*/ 59 w 87"/>
              <a:gd name="T3" fmla="*/ 42 h 42"/>
              <a:gd name="T4" fmla="*/ 64 w 87"/>
              <a:gd name="T5" fmla="*/ 41 h 42"/>
              <a:gd name="T6" fmla="*/ 68 w 87"/>
              <a:gd name="T7" fmla="*/ 40 h 42"/>
              <a:gd name="T8" fmla="*/ 71 w 87"/>
              <a:gd name="T9" fmla="*/ 38 h 42"/>
              <a:gd name="T10" fmla="*/ 75 w 87"/>
              <a:gd name="T11" fmla="*/ 34 h 42"/>
              <a:gd name="T12" fmla="*/ 78 w 87"/>
              <a:gd name="T13" fmla="*/ 28 h 42"/>
              <a:gd name="T14" fmla="*/ 79 w 87"/>
              <a:gd name="T15" fmla="*/ 22 h 42"/>
              <a:gd name="T16" fmla="*/ 80 w 87"/>
              <a:gd name="T17" fmla="*/ 16 h 42"/>
              <a:gd name="T18" fmla="*/ 82 w 87"/>
              <a:gd name="T19" fmla="*/ 11 h 42"/>
              <a:gd name="T20" fmla="*/ 87 w 87"/>
              <a:gd name="T21" fmla="*/ 6 h 42"/>
              <a:gd name="T22" fmla="*/ 77 w 87"/>
              <a:gd name="T23" fmla="*/ 2 h 42"/>
              <a:gd name="T24" fmla="*/ 67 w 87"/>
              <a:gd name="T25" fmla="*/ 0 h 42"/>
              <a:gd name="T26" fmla="*/ 57 w 87"/>
              <a:gd name="T27" fmla="*/ 0 h 42"/>
              <a:gd name="T28" fmla="*/ 47 w 87"/>
              <a:gd name="T29" fmla="*/ 0 h 42"/>
              <a:gd name="T30" fmla="*/ 40 w 87"/>
              <a:gd name="T31" fmla="*/ 0 h 42"/>
              <a:gd name="T32" fmla="*/ 32 w 87"/>
              <a:gd name="T33" fmla="*/ 2 h 42"/>
              <a:gd name="T34" fmla="*/ 25 w 87"/>
              <a:gd name="T35" fmla="*/ 4 h 42"/>
              <a:gd name="T36" fmla="*/ 19 w 87"/>
              <a:gd name="T37" fmla="*/ 6 h 42"/>
              <a:gd name="T38" fmla="*/ 8 w 87"/>
              <a:gd name="T39" fmla="*/ 12 h 42"/>
              <a:gd name="T40" fmla="*/ 0 w 87"/>
              <a:gd name="T41" fmla="*/ 18 h 42"/>
              <a:gd name="T42" fmla="*/ 11 w 87"/>
              <a:gd name="T43" fmla="*/ 24 h 42"/>
              <a:gd name="T44" fmla="*/ 27 w 87"/>
              <a:gd name="T45" fmla="*/ 32 h 42"/>
              <a:gd name="T46" fmla="*/ 43 w 87"/>
              <a:gd name="T47" fmla="*/ 39 h 42"/>
              <a:gd name="T48" fmla="*/ 54 w 87"/>
              <a:gd name="T49" fmla="*/ 4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88" name="Freeform 191">
            <a:extLst>
              <a:ext uri="{FF2B5EF4-FFF2-40B4-BE49-F238E27FC236}">
                <a16:creationId xmlns:a16="http://schemas.microsoft.com/office/drawing/2014/main" id="{A31EEDDD-64C0-4A19-ABCA-F760984585B1}"/>
              </a:ext>
            </a:extLst>
          </p:cNvPr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11112013" y="4804659"/>
            <a:ext cx="1527" cy="14288"/>
          </a:xfrm>
          <a:custGeom>
            <a:avLst/>
            <a:gdLst>
              <a:gd name="T0" fmla="*/ 0 w 7"/>
              <a:gd name="T1" fmla="*/ 0 h 31"/>
              <a:gd name="T2" fmla="*/ 7 w 7"/>
              <a:gd name="T3" fmla="*/ 0 h 31"/>
              <a:gd name="T4" fmla="*/ 7 w 7"/>
              <a:gd name="T5" fmla="*/ 18 h 31"/>
              <a:gd name="T6" fmla="*/ 0 w 7"/>
              <a:gd name="T7" fmla="*/ 31 h 31"/>
              <a:gd name="T8" fmla="*/ 0 w 7"/>
              <a:gd name="T9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89" name="Freeform 192">
            <a:extLst>
              <a:ext uri="{FF2B5EF4-FFF2-40B4-BE49-F238E27FC236}">
                <a16:creationId xmlns:a16="http://schemas.microsoft.com/office/drawing/2014/main" id="{408F49B1-CB2D-48C7-89A1-BAB24A9BA951}"/>
              </a:ext>
            </a:extLst>
          </p:cNvPr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10377136" y="4310947"/>
            <a:ext cx="980855" cy="908050"/>
          </a:xfrm>
          <a:custGeom>
            <a:avLst/>
            <a:gdLst>
              <a:gd name="T0" fmla="*/ 214 w 2332"/>
              <a:gd name="T1" fmla="*/ 707 h 1731"/>
              <a:gd name="T2" fmla="*/ 325 w 2332"/>
              <a:gd name="T3" fmla="*/ 649 h 1731"/>
              <a:gd name="T4" fmla="*/ 435 w 2332"/>
              <a:gd name="T5" fmla="*/ 606 h 1731"/>
              <a:gd name="T6" fmla="*/ 605 w 2332"/>
              <a:gd name="T7" fmla="*/ 570 h 1731"/>
              <a:gd name="T8" fmla="*/ 677 w 2332"/>
              <a:gd name="T9" fmla="*/ 437 h 1731"/>
              <a:gd name="T10" fmla="*/ 758 w 2332"/>
              <a:gd name="T11" fmla="*/ 439 h 1731"/>
              <a:gd name="T12" fmla="*/ 784 w 2332"/>
              <a:gd name="T13" fmla="*/ 363 h 1731"/>
              <a:gd name="T14" fmla="*/ 866 w 2332"/>
              <a:gd name="T15" fmla="*/ 316 h 1731"/>
              <a:gd name="T16" fmla="*/ 939 w 2332"/>
              <a:gd name="T17" fmla="*/ 246 h 1731"/>
              <a:gd name="T18" fmla="*/ 1027 w 2332"/>
              <a:gd name="T19" fmla="*/ 223 h 1731"/>
              <a:gd name="T20" fmla="*/ 1078 w 2332"/>
              <a:gd name="T21" fmla="*/ 284 h 1731"/>
              <a:gd name="T22" fmla="*/ 1135 w 2332"/>
              <a:gd name="T23" fmla="*/ 270 h 1731"/>
              <a:gd name="T24" fmla="*/ 1176 w 2332"/>
              <a:gd name="T25" fmla="*/ 172 h 1731"/>
              <a:gd name="T26" fmla="*/ 1320 w 2332"/>
              <a:gd name="T27" fmla="*/ 117 h 1731"/>
              <a:gd name="T28" fmla="*/ 1336 w 2332"/>
              <a:gd name="T29" fmla="*/ 41 h 1731"/>
              <a:gd name="T30" fmla="*/ 1432 w 2332"/>
              <a:gd name="T31" fmla="*/ 107 h 1731"/>
              <a:gd name="T32" fmla="*/ 1544 w 2332"/>
              <a:gd name="T33" fmla="*/ 117 h 1731"/>
              <a:gd name="T34" fmla="*/ 1465 w 2332"/>
              <a:gd name="T35" fmla="*/ 262 h 1731"/>
              <a:gd name="T36" fmla="*/ 1509 w 2332"/>
              <a:gd name="T37" fmla="*/ 333 h 1731"/>
              <a:gd name="T38" fmla="*/ 1582 w 2332"/>
              <a:gd name="T39" fmla="*/ 354 h 1731"/>
              <a:gd name="T40" fmla="*/ 1668 w 2332"/>
              <a:gd name="T41" fmla="*/ 423 h 1731"/>
              <a:gd name="T42" fmla="*/ 1764 w 2332"/>
              <a:gd name="T43" fmla="*/ 413 h 1731"/>
              <a:gd name="T44" fmla="*/ 1830 w 2332"/>
              <a:gd name="T45" fmla="*/ 205 h 1731"/>
              <a:gd name="T46" fmla="*/ 1904 w 2332"/>
              <a:gd name="T47" fmla="*/ 10 h 1731"/>
              <a:gd name="T48" fmla="*/ 1933 w 2332"/>
              <a:gd name="T49" fmla="*/ 80 h 1731"/>
              <a:gd name="T50" fmla="*/ 1944 w 2332"/>
              <a:gd name="T51" fmla="*/ 176 h 1731"/>
              <a:gd name="T52" fmla="*/ 1986 w 2332"/>
              <a:gd name="T53" fmla="*/ 240 h 1731"/>
              <a:gd name="T54" fmla="*/ 2040 w 2332"/>
              <a:gd name="T55" fmla="*/ 429 h 1731"/>
              <a:gd name="T56" fmla="*/ 2089 w 2332"/>
              <a:gd name="T57" fmla="*/ 540 h 1731"/>
              <a:gd name="T58" fmla="*/ 2163 w 2332"/>
              <a:gd name="T59" fmla="*/ 686 h 1731"/>
              <a:gd name="T60" fmla="*/ 2219 w 2332"/>
              <a:gd name="T61" fmla="*/ 769 h 1731"/>
              <a:gd name="T62" fmla="*/ 2332 w 2332"/>
              <a:gd name="T63" fmla="*/ 892 h 1731"/>
              <a:gd name="T64" fmla="*/ 2276 w 2332"/>
              <a:gd name="T65" fmla="*/ 1105 h 1731"/>
              <a:gd name="T66" fmla="*/ 2087 w 2332"/>
              <a:gd name="T67" fmla="*/ 1362 h 1731"/>
              <a:gd name="T68" fmla="*/ 2005 w 2332"/>
              <a:gd name="T69" fmla="*/ 1432 h 1731"/>
              <a:gd name="T70" fmla="*/ 1838 w 2332"/>
              <a:gd name="T71" fmla="*/ 1591 h 1731"/>
              <a:gd name="T72" fmla="*/ 1749 w 2332"/>
              <a:gd name="T73" fmla="*/ 1676 h 1731"/>
              <a:gd name="T74" fmla="*/ 1589 w 2332"/>
              <a:gd name="T75" fmla="*/ 1726 h 1731"/>
              <a:gd name="T76" fmla="*/ 1517 w 2332"/>
              <a:gd name="T77" fmla="*/ 1693 h 1731"/>
              <a:gd name="T78" fmla="*/ 1410 w 2332"/>
              <a:gd name="T79" fmla="*/ 1729 h 1731"/>
              <a:gd name="T80" fmla="*/ 1297 w 2332"/>
              <a:gd name="T81" fmla="*/ 1693 h 1731"/>
              <a:gd name="T82" fmla="*/ 1279 w 2332"/>
              <a:gd name="T83" fmla="*/ 1614 h 1731"/>
              <a:gd name="T84" fmla="*/ 1263 w 2332"/>
              <a:gd name="T85" fmla="*/ 1516 h 1731"/>
              <a:gd name="T86" fmla="*/ 1225 w 2332"/>
              <a:gd name="T87" fmla="*/ 1500 h 1731"/>
              <a:gd name="T88" fmla="*/ 1280 w 2332"/>
              <a:gd name="T89" fmla="*/ 1382 h 1731"/>
              <a:gd name="T90" fmla="*/ 1088 w 2332"/>
              <a:gd name="T91" fmla="*/ 1362 h 1731"/>
              <a:gd name="T92" fmla="*/ 961 w 2332"/>
              <a:gd name="T93" fmla="*/ 1282 h 1731"/>
              <a:gd name="T94" fmla="*/ 754 w 2332"/>
              <a:gd name="T95" fmla="*/ 1323 h 1731"/>
              <a:gd name="T96" fmla="*/ 507 w 2332"/>
              <a:gd name="T97" fmla="*/ 1419 h 1731"/>
              <a:gd name="T98" fmla="*/ 214 w 2332"/>
              <a:gd name="T99" fmla="*/ 1473 h 1731"/>
              <a:gd name="T100" fmla="*/ 55 w 2332"/>
              <a:gd name="T101" fmla="*/ 1490 h 1731"/>
              <a:gd name="T102" fmla="*/ 2 w 2332"/>
              <a:gd name="T103" fmla="*/ 1423 h 1731"/>
              <a:gd name="T104" fmla="*/ 97 w 2332"/>
              <a:gd name="T105" fmla="*/ 1344 h 1731"/>
              <a:gd name="T106" fmla="*/ 75 w 2332"/>
              <a:gd name="T107" fmla="*/ 1241 h 1731"/>
              <a:gd name="T108" fmla="*/ 113 w 2332"/>
              <a:gd name="T109" fmla="*/ 1170 h 1731"/>
              <a:gd name="T110" fmla="*/ 58 w 2332"/>
              <a:gd name="T111" fmla="*/ 943 h 1731"/>
              <a:gd name="T112" fmla="*/ 113 w 2332"/>
              <a:gd name="T113" fmla="*/ 964 h 1731"/>
              <a:gd name="T114" fmla="*/ 106 w 2332"/>
              <a:gd name="T115" fmla="*/ 862 h 1731"/>
              <a:gd name="T116" fmla="*/ 147 w 2332"/>
              <a:gd name="T117" fmla="*/ 765 h 17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90" name="Freeform 193">
            <a:extLst>
              <a:ext uri="{FF2B5EF4-FFF2-40B4-BE49-F238E27FC236}">
                <a16:creationId xmlns:a16="http://schemas.microsoft.com/office/drawing/2014/main" id="{93CDACC2-D96B-41E3-BEB3-32768B46AADE}"/>
              </a:ext>
            </a:extLst>
          </p:cNvPr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5071047" y="2977448"/>
            <a:ext cx="643208" cy="581025"/>
          </a:xfrm>
          <a:custGeom>
            <a:avLst/>
            <a:gdLst>
              <a:gd name="T0" fmla="*/ 1243 w 1535"/>
              <a:gd name="T1" fmla="*/ 925 h 1109"/>
              <a:gd name="T2" fmla="*/ 1299 w 1535"/>
              <a:gd name="T3" fmla="*/ 982 h 1109"/>
              <a:gd name="T4" fmla="*/ 1220 w 1535"/>
              <a:gd name="T5" fmla="*/ 999 h 1109"/>
              <a:gd name="T6" fmla="*/ 1177 w 1535"/>
              <a:gd name="T7" fmla="*/ 1095 h 1109"/>
              <a:gd name="T8" fmla="*/ 1065 w 1535"/>
              <a:gd name="T9" fmla="*/ 1006 h 1109"/>
              <a:gd name="T10" fmla="*/ 994 w 1535"/>
              <a:gd name="T11" fmla="*/ 1012 h 1109"/>
              <a:gd name="T12" fmla="*/ 913 w 1535"/>
              <a:gd name="T13" fmla="*/ 1039 h 1109"/>
              <a:gd name="T14" fmla="*/ 786 w 1535"/>
              <a:gd name="T15" fmla="*/ 971 h 1109"/>
              <a:gd name="T16" fmla="*/ 648 w 1535"/>
              <a:gd name="T17" fmla="*/ 917 h 1109"/>
              <a:gd name="T18" fmla="*/ 588 w 1535"/>
              <a:gd name="T19" fmla="*/ 883 h 1109"/>
              <a:gd name="T20" fmla="*/ 537 w 1535"/>
              <a:gd name="T21" fmla="*/ 835 h 1109"/>
              <a:gd name="T22" fmla="*/ 485 w 1535"/>
              <a:gd name="T23" fmla="*/ 826 h 1109"/>
              <a:gd name="T24" fmla="*/ 439 w 1535"/>
              <a:gd name="T25" fmla="*/ 757 h 1109"/>
              <a:gd name="T26" fmla="*/ 467 w 1535"/>
              <a:gd name="T27" fmla="*/ 705 h 1109"/>
              <a:gd name="T28" fmla="*/ 450 w 1535"/>
              <a:gd name="T29" fmla="*/ 601 h 1109"/>
              <a:gd name="T30" fmla="*/ 352 w 1535"/>
              <a:gd name="T31" fmla="*/ 468 h 1109"/>
              <a:gd name="T32" fmla="*/ 304 w 1535"/>
              <a:gd name="T33" fmla="*/ 426 h 1109"/>
              <a:gd name="T34" fmla="*/ 293 w 1535"/>
              <a:gd name="T35" fmla="*/ 369 h 1109"/>
              <a:gd name="T36" fmla="*/ 217 w 1535"/>
              <a:gd name="T37" fmla="*/ 248 h 1109"/>
              <a:gd name="T38" fmla="*/ 167 w 1535"/>
              <a:gd name="T39" fmla="*/ 74 h 1109"/>
              <a:gd name="T40" fmla="*/ 84 w 1535"/>
              <a:gd name="T41" fmla="*/ 104 h 1109"/>
              <a:gd name="T42" fmla="*/ 113 w 1535"/>
              <a:gd name="T43" fmla="*/ 222 h 1109"/>
              <a:gd name="T44" fmla="*/ 150 w 1535"/>
              <a:gd name="T45" fmla="*/ 326 h 1109"/>
              <a:gd name="T46" fmla="*/ 196 w 1535"/>
              <a:gd name="T47" fmla="*/ 402 h 1109"/>
              <a:gd name="T48" fmla="*/ 200 w 1535"/>
              <a:gd name="T49" fmla="*/ 465 h 1109"/>
              <a:gd name="T50" fmla="*/ 213 w 1535"/>
              <a:gd name="T51" fmla="*/ 524 h 1109"/>
              <a:gd name="T52" fmla="*/ 259 w 1535"/>
              <a:gd name="T53" fmla="*/ 571 h 1109"/>
              <a:gd name="T54" fmla="*/ 214 w 1535"/>
              <a:gd name="T55" fmla="*/ 596 h 1109"/>
              <a:gd name="T56" fmla="*/ 193 w 1535"/>
              <a:gd name="T57" fmla="*/ 542 h 1109"/>
              <a:gd name="T58" fmla="*/ 120 w 1535"/>
              <a:gd name="T59" fmla="*/ 474 h 1109"/>
              <a:gd name="T60" fmla="*/ 146 w 1535"/>
              <a:gd name="T61" fmla="*/ 420 h 1109"/>
              <a:gd name="T62" fmla="*/ 89 w 1535"/>
              <a:gd name="T63" fmla="*/ 366 h 1109"/>
              <a:gd name="T64" fmla="*/ 27 w 1535"/>
              <a:gd name="T65" fmla="*/ 307 h 1109"/>
              <a:gd name="T66" fmla="*/ 65 w 1535"/>
              <a:gd name="T67" fmla="*/ 289 h 1109"/>
              <a:gd name="T68" fmla="*/ 64 w 1535"/>
              <a:gd name="T69" fmla="*/ 225 h 1109"/>
              <a:gd name="T70" fmla="*/ 6 w 1535"/>
              <a:gd name="T71" fmla="*/ 117 h 1109"/>
              <a:gd name="T72" fmla="*/ 38 w 1535"/>
              <a:gd name="T73" fmla="*/ 5 h 1109"/>
              <a:gd name="T74" fmla="*/ 211 w 1535"/>
              <a:gd name="T75" fmla="*/ 18 h 1109"/>
              <a:gd name="T76" fmla="*/ 361 w 1535"/>
              <a:gd name="T77" fmla="*/ 76 h 1109"/>
              <a:gd name="T78" fmla="*/ 498 w 1535"/>
              <a:gd name="T79" fmla="*/ 55 h 1109"/>
              <a:gd name="T80" fmla="*/ 593 w 1535"/>
              <a:gd name="T81" fmla="*/ 54 h 1109"/>
              <a:gd name="T82" fmla="*/ 633 w 1535"/>
              <a:gd name="T83" fmla="*/ 110 h 1109"/>
              <a:gd name="T84" fmla="*/ 700 w 1535"/>
              <a:gd name="T85" fmla="*/ 215 h 1109"/>
              <a:gd name="T86" fmla="*/ 750 w 1535"/>
              <a:gd name="T87" fmla="*/ 192 h 1109"/>
              <a:gd name="T88" fmla="*/ 822 w 1535"/>
              <a:gd name="T89" fmla="*/ 176 h 1109"/>
              <a:gd name="T90" fmla="*/ 879 w 1535"/>
              <a:gd name="T91" fmla="*/ 244 h 1109"/>
              <a:gd name="T92" fmla="*/ 905 w 1535"/>
              <a:gd name="T93" fmla="*/ 362 h 1109"/>
              <a:gd name="T94" fmla="*/ 964 w 1535"/>
              <a:gd name="T95" fmla="*/ 405 h 1109"/>
              <a:gd name="T96" fmla="*/ 977 w 1535"/>
              <a:gd name="T97" fmla="*/ 456 h 1109"/>
              <a:gd name="T98" fmla="*/ 931 w 1535"/>
              <a:gd name="T99" fmla="*/ 492 h 1109"/>
              <a:gd name="T100" fmla="*/ 917 w 1535"/>
              <a:gd name="T101" fmla="*/ 634 h 1109"/>
              <a:gd name="T102" fmla="*/ 956 w 1535"/>
              <a:gd name="T103" fmla="*/ 791 h 1109"/>
              <a:gd name="T104" fmla="*/ 1054 w 1535"/>
              <a:gd name="T105" fmla="*/ 877 h 1109"/>
              <a:gd name="T106" fmla="*/ 1166 w 1535"/>
              <a:gd name="T107" fmla="*/ 849 h 1109"/>
              <a:gd name="T108" fmla="*/ 1249 w 1535"/>
              <a:gd name="T109" fmla="*/ 850 h 1109"/>
              <a:gd name="T110" fmla="*/ 1296 w 1535"/>
              <a:gd name="T111" fmla="*/ 742 h 1109"/>
              <a:gd name="T112" fmla="*/ 1336 w 1535"/>
              <a:gd name="T113" fmla="*/ 693 h 1109"/>
              <a:gd name="T114" fmla="*/ 1506 w 1535"/>
              <a:gd name="T115" fmla="*/ 678 h 1109"/>
              <a:gd name="T116" fmla="*/ 1503 w 1535"/>
              <a:gd name="T117" fmla="*/ 729 h 1109"/>
              <a:gd name="T118" fmla="*/ 1468 w 1535"/>
              <a:gd name="T119" fmla="*/ 821 h 1109"/>
              <a:gd name="T120" fmla="*/ 1369 w 1535"/>
              <a:gd name="T121" fmla="*/ 888 h 11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chemeClr val="bg1">
              <a:lumMod val="75000"/>
            </a:schemeClr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191" name="Freeform 194">
            <a:extLst>
              <a:ext uri="{FF2B5EF4-FFF2-40B4-BE49-F238E27FC236}">
                <a16:creationId xmlns:a16="http://schemas.microsoft.com/office/drawing/2014/main" id="{C802A280-3A0E-4F0E-AFF6-BED834700E67}"/>
              </a:ext>
            </a:extLst>
          </p:cNvPr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6297878" y="4617335"/>
            <a:ext cx="203199" cy="265113"/>
          </a:xfrm>
          <a:custGeom>
            <a:avLst/>
            <a:gdLst>
              <a:gd name="T0" fmla="*/ 14 w 486"/>
              <a:gd name="T1" fmla="*/ 176 h 505"/>
              <a:gd name="T2" fmla="*/ 31 w 486"/>
              <a:gd name="T3" fmla="*/ 198 h 505"/>
              <a:gd name="T4" fmla="*/ 51 w 486"/>
              <a:gd name="T5" fmla="*/ 232 h 505"/>
              <a:gd name="T6" fmla="*/ 82 w 486"/>
              <a:gd name="T7" fmla="*/ 266 h 505"/>
              <a:gd name="T8" fmla="*/ 126 w 486"/>
              <a:gd name="T9" fmla="*/ 293 h 505"/>
              <a:gd name="T10" fmla="*/ 170 w 486"/>
              <a:gd name="T11" fmla="*/ 310 h 505"/>
              <a:gd name="T12" fmla="*/ 246 w 486"/>
              <a:gd name="T13" fmla="*/ 328 h 505"/>
              <a:gd name="T14" fmla="*/ 295 w 486"/>
              <a:gd name="T15" fmla="*/ 344 h 505"/>
              <a:gd name="T16" fmla="*/ 299 w 486"/>
              <a:gd name="T17" fmla="*/ 381 h 505"/>
              <a:gd name="T18" fmla="*/ 277 w 486"/>
              <a:gd name="T19" fmla="*/ 418 h 505"/>
              <a:gd name="T20" fmla="*/ 267 w 486"/>
              <a:gd name="T21" fmla="*/ 443 h 505"/>
              <a:gd name="T22" fmla="*/ 266 w 486"/>
              <a:gd name="T23" fmla="*/ 463 h 505"/>
              <a:gd name="T24" fmla="*/ 278 w 486"/>
              <a:gd name="T25" fmla="*/ 482 h 505"/>
              <a:gd name="T26" fmla="*/ 299 w 486"/>
              <a:gd name="T27" fmla="*/ 494 h 505"/>
              <a:gd name="T28" fmla="*/ 344 w 486"/>
              <a:gd name="T29" fmla="*/ 504 h 505"/>
              <a:gd name="T30" fmla="*/ 387 w 486"/>
              <a:gd name="T31" fmla="*/ 504 h 505"/>
              <a:gd name="T32" fmla="*/ 415 w 486"/>
              <a:gd name="T33" fmla="*/ 494 h 505"/>
              <a:gd name="T34" fmla="*/ 446 w 486"/>
              <a:gd name="T35" fmla="*/ 474 h 505"/>
              <a:gd name="T36" fmla="*/ 473 w 486"/>
              <a:gd name="T37" fmla="*/ 447 h 505"/>
              <a:gd name="T38" fmla="*/ 485 w 486"/>
              <a:gd name="T39" fmla="*/ 418 h 505"/>
              <a:gd name="T40" fmla="*/ 484 w 486"/>
              <a:gd name="T41" fmla="*/ 397 h 505"/>
              <a:gd name="T42" fmla="*/ 478 w 486"/>
              <a:gd name="T43" fmla="*/ 358 h 505"/>
              <a:gd name="T44" fmla="*/ 471 w 486"/>
              <a:gd name="T45" fmla="*/ 316 h 505"/>
              <a:gd name="T46" fmla="*/ 465 w 486"/>
              <a:gd name="T47" fmla="*/ 270 h 505"/>
              <a:gd name="T48" fmla="*/ 456 w 486"/>
              <a:gd name="T49" fmla="*/ 252 h 505"/>
              <a:gd name="T50" fmla="*/ 439 w 486"/>
              <a:gd name="T51" fmla="*/ 239 h 505"/>
              <a:gd name="T52" fmla="*/ 413 w 486"/>
              <a:gd name="T53" fmla="*/ 232 h 505"/>
              <a:gd name="T54" fmla="*/ 392 w 486"/>
              <a:gd name="T55" fmla="*/ 222 h 505"/>
              <a:gd name="T56" fmla="*/ 370 w 486"/>
              <a:gd name="T57" fmla="*/ 207 h 505"/>
              <a:gd name="T58" fmla="*/ 330 w 486"/>
              <a:gd name="T59" fmla="*/ 188 h 505"/>
              <a:gd name="T60" fmla="*/ 290 w 486"/>
              <a:gd name="T61" fmla="*/ 172 h 505"/>
              <a:gd name="T62" fmla="*/ 273 w 486"/>
              <a:gd name="T63" fmla="*/ 160 h 505"/>
              <a:gd name="T64" fmla="*/ 264 w 486"/>
              <a:gd name="T65" fmla="*/ 151 h 505"/>
              <a:gd name="T66" fmla="*/ 261 w 486"/>
              <a:gd name="T67" fmla="*/ 125 h 505"/>
              <a:gd name="T68" fmla="*/ 261 w 486"/>
              <a:gd name="T69" fmla="*/ 90 h 505"/>
              <a:gd name="T70" fmla="*/ 255 w 486"/>
              <a:gd name="T71" fmla="*/ 71 h 505"/>
              <a:gd name="T72" fmla="*/ 241 w 486"/>
              <a:gd name="T73" fmla="*/ 55 h 505"/>
              <a:gd name="T74" fmla="*/ 234 w 486"/>
              <a:gd name="T75" fmla="*/ 37 h 505"/>
              <a:gd name="T76" fmla="*/ 199 w 486"/>
              <a:gd name="T77" fmla="*/ 12 h 505"/>
              <a:gd name="T78" fmla="*/ 186 w 486"/>
              <a:gd name="T79" fmla="*/ 8 h 505"/>
              <a:gd name="T80" fmla="*/ 173 w 486"/>
              <a:gd name="T81" fmla="*/ 2 h 505"/>
              <a:gd name="T82" fmla="*/ 139 w 486"/>
              <a:gd name="T83" fmla="*/ 1 h 505"/>
              <a:gd name="T84" fmla="*/ 70 w 486"/>
              <a:gd name="T85" fmla="*/ 11 h 505"/>
              <a:gd name="T86" fmla="*/ 42 w 486"/>
              <a:gd name="T87" fmla="*/ 21 h 505"/>
              <a:gd name="T88" fmla="*/ 24 w 486"/>
              <a:gd name="T89" fmla="*/ 37 h 505"/>
              <a:gd name="T90" fmla="*/ 20 w 486"/>
              <a:gd name="T91" fmla="*/ 64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2" name="Freeform 195">
            <a:extLst>
              <a:ext uri="{FF2B5EF4-FFF2-40B4-BE49-F238E27FC236}">
                <a16:creationId xmlns:a16="http://schemas.microsoft.com/office/drawing/2014/main" id="{51B08F89-459E-4294-9C43-518B816D6C16}"/>
              </a:ext>
            </a:extLst>
          </p:cNvPr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6461355" y="3821998"/>
            <a:ext cx="70279" cy="109537"/>
          </a:xfrm>
          <a:custGeom>
            <a:avLst/>
            <a:gdLst>
              <a:gd name="T0" fmla="*/ 7 w 166"/>
              <a:gd name="T1" fmla="*/ 183 h 208"/>
              <a:gd name="T2" fmla="*/ 79 w 166"/>
              <a:gd name="T3" fmla="*/ 208 h 208"/>
              <a:gd name="T4" fmla="*/ 85 w 166"/>
              <a:gd name="T5" fmla="*/ 207 h 208"/>
              <a:gd name="T6" fmla="*/ 90 w 166"/>
              <a:gd name="T7" fmla="*/ 204 h 208"/>
              <a:gd name="T8" fmla="*/ 97 w 166"/>
              <a:gd name="T9" fmla="*/ 198 h 208"/>
              <a:gd name="T10" fmla="*/ 104 w 166"/>
              <a:gd name="T11" fmla="*/ 192 h 208"/>
              <a:gd name="T12" fmla="*/ 117 w 166"/>
              <a:gd name="T13" fmla="*/ 176 h 208"/>
              <a:gd name="T14" fmla="*/ 130 w 166"/>
              <a:gd name="T15" fmla="*/ 158 h 208"/>
              <a:gd name="T16" fmla="*/ 154 w 166"/>
              <a:gd name="T17" fmla="*/ 122 h 208"/>
              <a:gd name="T18" fmla="*/ 166 w 166"/>
              <a:gd name="T19" fmla="*/ 103 h 208"/>
              <a:gd name="T20" fmla="*/ 144 w 166"/>
              <a:gd name="T21" fmla="*/ 94 h 208"/>
              <a:gd name="T22" fmla="*/ 126 w 166"/>
              <a:gd name="T23" fmla="*/ 84 h 208"/>
              <a:gd name="T24" fmla="*/ 108 w 166"/>
              <a:gd name="T25" fmla="*/ 74 h 208"/>
              <a:gd name="T26" fmla="*/ 93 w 166"/>
              <a:gd name="T27" fmla="*/ 64 h 208"/>
              <a:gd name="T28" fmla="*/ 86 w 166"/>
              <a:gd name="T29" fmla="*/ 58 h 208"/>
              <a:gd name="T30" fmla="*/ 81 w 166"/>
              <a:gd name="T31" fmla="*/ 53 h 208"/>
              <a:gd name="T32" fmla="*/ 75 w 166"/>
              <a:gd name="T33" fmla="*/ 47 h 208"/>
              <a:gd name="T34" fmla="*/ 71 w 166"/>
              <a:gd name="T35" fmla="*/ 40 h 208"/>
              <a:gd name="T36" fmla="*/ 67 w 166"/>
              <a:gd name="T37" fmla="*/ 33 h 208"/>
              <a:gd name="T38" fmla="*/ 64 w 166"/>
              <a:gd name="T39" fmla="*/ 26 h 208"/>
              <a:gd name="T40" fmla="*/ 62 w 166"/>
              <a:gd name="T41" fmla="*/ 18 h 208"/>
              <a:gd name="T42" fmla="*/ 60 w 166"/>
              <a:gd name="T43" fmla="*/ 11 h 208"/>
              <a:gd name="T44" fmla="*/ 50 w 166"/>
              <a:gd name="T45" fmla="*/ 10 h 208"/>
              <a:gd name="T46" fmla="*/ 43 w 166"/>
              <a:gd name="T47" fmla="*/ 8 h 208"/>
              <a:gd name="T48" fmla="*/ 40 w 166"/>
              <a:gd name="T49" fmla="*/ 5 h 208"/>
              <a:gd name="T50" fmla="*/ 39 w 166"/>
              <a:gd name="T51" fmla="*/ 3 h 208"/>
              <a:gd name="T52" fmla="*/ 38 w 166"/>
              <a:gd name="T53" fmla="*/ 1 h 208"/>
              <a:gd name="T54" fmla="*/ 36 w 166"/>
              <a:gd name="T55" fmla="*/ 0 h 208"/>
              <a:gd name="T56" fmla="*/ 32 w 166"/>
              <a:gd name="T57" fmla="*/ 1 h 208"/>
              <a:gd name="T58" fmla="*/ 27 w 166"/>
              <a:gd name="T59" fmla="*/ 5 h 208"/>
              <a:gd name="T60" fmla="*/ 20 w 166"/>
              <a:gd name="T61" fmla="*/ 11 h 208"/>
              <a:gd name="T62" fmla="*/ 11 w 166"/>
              <a:gd name="T63" fmla="*/ 22 h 208"/>
              <a:gd name="T64" fmla="*/ 7 w 166"/>
              <a:gd name="T65" fmla="*/ 29 h 208"/>
              <a:gd name="T66" fmla="*/ 4 w 166"/>
              <a:gd name="T67" fmla="*/ 37 h 208"/>
              <a:gd name="T68" fmla="*/ 2 w 166"/>
              <a:gd name="T69" fmla="*/ 45 h 208"/>
              <a:gd name="T70" fmla="*/ 0 w 166"/>
              <a:gd name="T71" fmla="*/ 54 h 208"/>
              <a:gd name="T72" fmla="*/ 0 w 166"/>
              <a:gd name="T73" fmla="*/ 60 h 208"/>
              <a:gd name="T74" fmla="*/ 2 w 166"/>
              <a:gd name="T75" fmla="*/ 65 h 208"/>
              <a:gd name="T76" fmla="*/ 3 w 166"/>
              <a:gd name="T77" fmla="*/ 70 h 208"/>
              <a:gd name="T78" fmla="*/ 5 w 166"/>
              <a:gd name="T79" fmla="*/ 76 h 208"/>
              <a:gd name="T80" fmla="*/ 10 w 166"/>
              <a:gd name="T81" fmla="*/ 86 h 208"/>
              <a:gd name="T82" fmla="*/ 17 w 166"/>
              <a:gd name="T83" fmla="*/ 98 h 208"/>
              <a:gd name="T84" fmla="*/ 22 w 166"/>
              <a:gd name="T85" fmla="*/ 109 h 208"/>
              <a:gd name="T86" fmla="*/ 28 w 166"/>
              <a:gd name="T87" fmla="*/ 120 h 208"/>
              <a:gd name="T88" fmla="*/ 30 w 166"/>
              <a:gd name="T89" fmla="*/ 126 h 208"/>
              <a:gd name="T90" fmla="*/ 32 w 166"/>
              <a:gd name="T91" fmla="*/ 133 h 208"/>
              <a:gd name="T92" fmla="*/ 33 w 166"/>
              <a:gd name="T93" fmla="*/ 139 h 208"/>
              <a:gd name="T94" fmla="*/ 33 w 166"/>
              <a:gd name="T95" fmla="*/ 147 h 208"/>
              <a:gd name="T96" fmla="*/ 32 w 166"/>
              <a:gd name="T97" fmla="*/ 153 h 208"/>
              <a:gd name="T98" fmla="*/ 31 w 166"/>
              <a:gd name="T99" fmla="*/ 159 h 208"/>
              <a:gd name="T100" fmla="*/ 28 w 166"/>
              <a:gd name="T101" fmla="*/ 165 h 208"/>
              <a:gd name="T102" fmla="*/ 25 w 166"/>
              <a:gd name="T103" fmla="*/ 169 h 208"/>
              <a:gd name="T104" fmla="*/ 21 w 166"/>
              <a:gd name="T105" fmla="*/ 174 h 208"/>
              <a:gd name="T106" fmla="*/ 17 w 166"/>
              <a:gd name="T107" fmla="*/ 177 h 208"/>
              <a:gd name="T108" fmla="*/ 11 w 166"/>
              <a:gd name="T109" fmla="*/ 180 h 208"/>
              <a:gd name="T110" fmla="*/ 7 w 166"/>
              <a:gd name="T111" fmla="*/ 183 h 2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193" name="Freeform 196">
            <a:extLst>
              <a:ext uri="{FF2B5EF4-FFF2-40B4-BE49-F238E27FC236}">
                <a16:creationId xmlns:a16="http://schemas.microsoft.com/office/drawing/2014/main" id="{8F6D41E4-9019-471A-AD03-F85D74B0F066}"/>
              </a:ext>
            </a:extLst>
          </p:cNvPr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5993844" y="3380673"/>
            <a:ext cx="67224" cy="58737"/>
          </a:xfrm>
          <a:custGeom>
            <a:avLst/>
            <a:gdLst>
              <a:gd name="T0" fmla="*/ 153 w 164"/>
              <a:gd name="T1" fmla="*/ 104 h 104"/>
              <a:gd name="T2" fmla="*/ 134 w 164"/>
              <a:gd name="T3" fmla="*/ 102 h 104"/>
              <a:gd name="T4" fmla="*/ 110 w 164"/>
              <a:gd name="T5" fmla="*/ 97 h 104"/>
              <a:gd name="T6" fmla="*/ 96 w 164"/>
              <a:gd name="T7" fmla="*/ 94 h 104"/>
              <a:gd name="T8" fmla="*/ 80 w 164"/>
              <a:gd name="T9" fmla="*/ 93 h 104"/>
              <a:gd name="T10" fmla="*/ 73 w 164"/>
              <a:gd name="T11" fmla="*/ 93 h 104"/>
              <a:gd name="T12" fmla="*/ 64 w 164"/>
              <a:gd name="T13" fmla="*/ 94 h 104"/>
              <a:gd name="T14" fmla="*/ 55 w 164"/>
              <a:gd name="T15" fmla="*/ 96 h 104"/>
              <a:gd name="T16" fmla="*/ 47 w 164"/>
              <a:gd name="T17" fmla="*/ 98 h 104"/>
              <a:gd name="T18" fmla="*/ 41 w 164"/>
              <a:gd name="T19" fmla="*/ 100 h 104"/>
              <a:gd name="T20" fmla="*/ 34 w 164"/>
              <a:gd name="T21" fmla="*/ 100 h 104"/>
              <a:gd name="T22" fmla="*/ 27 w 164"/>
              <a:gd name="T23" fmla="*/ 99 h 104"/>
              <a:gd name="T24" fmla="*/ 19 w 164"/>
              <a:gd name="T25" fmla="*/ 96 h 104"/>
              <a:gd name="T26" fmla="*/ 11 w 164"/>
              <a:gd name="T27" fmla="*/ 92 h 104"/>
              <a:gd name="T28" fmla="*/ 6 w 164"/>
              <a:gd name="T29" fmla="*/ 88 h 104"/>
              <a:gd name="T30" fmla="*/ 3 w 164"/>
              <a:gd name="T31" fmla="*/ 86 h 104"/>
              <a:gd name="T32" fmla="*/ 1 w 164"/>
              <a:gd name="T33" fmla="*/ 84 h 104"/>
              <a:gd name="T34" fmla="*/ 0 w 164"/>
              <a:gd name="T35" fmla="*/ 81 h 104"/>
              <a:gd name="T36" fmla="*/ 0 w 164"/>
              <a:gd name="T37" fmla="*/ 79 h 104"/>
              <a:gd name="T38" fmla="*/ 0 w 164"/>
              <a:gd name="T39" fmla="*/ 76 h 104"/>
              <a:gd name="T40" fmla="*/ 1 w 164"/>
              <a:gd name="T41" fmla="*/ 74 h 104"/>
              <a:gd name="T42" fmla="*/ 3 w 164"/>
              <a:gd name="T43" fmla="*/ 71 h 104"/>
              <a:gd name="T44" fmla="*/ 6 w 164"/>
              <a:gd name="T45" fmla="*/ 70 h 104"/>
              <a:gd name="T46" fmla="*/ 12 w 164"/>
              <a:gd name="T47" fmla="*/ 67 h 104"/>
              <a:gd name="T48" fmla="*/ 20 w 164"/>
              <a:gd name="T49" fmla="*/ 66 h 104"/>
              <a:gd name="T50" fmla="*/ 40 w 164"/>
              <a:gd name="T51" fmla="*/ 66 h 104"/>
              <a:gd name="T52" fmla="*/ 61 w 164"/>
              <a:gd name="T53" fmla="*/ 67 h 104"/>
              <a:gd name="T54" fmla="*/ 70 w 164"/>
              <a:gd name="T55" fmla="*/ 67 h 104"/>
              <a:gd name="T56" fmla="*/ 79 w 164"/>
              <a:gd name="T57" fmla="*/ 67 h 104"/>
              <a:gd name="T58" fmla="*/ 87 w 164"/>
              <a:gd name="T59" fmla="*/ 67 h 104"/>
              <a:gd name="T60" fmla="*/ 94 w 164"/>
              <a:gd name="T61" fmla="*/ 67 h 104"/>
              <a:gd name="T62" fmla="*/ 94 w 164"/>
              <a:gd name="T63" fmla="*/ 56 h 104"/>
              <a:gd name="T64" fmla="*/ 94 w 164"/>
              <a:gd name="T65" fmla="*/ 43 h 104"/>
              <a:gd name="T66" fmla="*/ 94 w 164"/>
              <a:gd name="T67" fmla="*/ 29 h 104"/>
              <a:gd name="T68" fmla="*/ 94 w 164"/>
              <a:gd name="T69" fmla="*/ 18 h 104"/>
              <a:gd name="T70" fmla="*/ 79 w 164"/>
              <a:gd name="T71" fmla="*/ 17 h 104"/>
              <a:gd name="T72" fmla="*/ 67 w 164"/>
              <a:gd name="T73" fmla="*/ 15 h 104"/>
              <a:gd name="T74" fmla="*/ 62 w 164"/>
              <a:gd name="T75" fmla="*/ 13 h 104"/>
              <a:gd name="T76" fmla="*/ 57 w 164"/>
              <a:gd name="T77" fmla="*/ 10 h 104"/>
              <a:gd name="T78" fmla="*/ 52 w 164"/>
              <a:gd name="T79" fmla="*/ 6 h 104"/>
              <a:gd name="T80" fmla="*/ 47 w 164"/>
              <a:gd name="T81" fmla="*/ 0 h 104"/>
              <a:gd name="T82" fmla="*/ 146 w 164"/>
              <a:gd name="T83" fmla="*/ 0 h 104"/>
              <a:gd name="T84" fmla="*/ 147 w 164"/>
              <a:gd name="T85" fmla="*/ 6 h 104"/>
              <a:gd name="T86" fmla="*/ 148 w 164"/>
              <a:gd name="T87" fmla="*/ 13 h 104"/>
              <a:gd name="T88" fmla="*/ 150 w 164"/>
              <a:gd name="T89" fmla="*/ 19 h 104"/>
              <a:gd name="T90" fmla="*/ 152 w 164"/>
              <a:gd name="T91" fmla="*/ 25 h 104"/>
              <a:gd name="T92" fmla="*/ 156 w 164"/>
              <a:gd name="T93" fmla="*/ 35 h 104"/>
              <a:gd name="T94" fmla="*/ 159 w 164"/>
              <a:gd name="T95" fmla="*/ 46 h 104"/>
              <a:gd name="T96" fmla="*/ 163 w 164"/>
              <a:gd name="T97" fmla="*/ 54 h 104"/>
              <a:gd name="T98" fmla="*/ 164 w 164"/>
              <a:gd name="T99" fmla="*/ 62 h 104"/>
              <a:gd name="T100" fmla="*/ 163 w 164"/>
              <a:gd name="T101" fmla="*/ 65 h 104"/>
              <a:gd name="T102" fmla="*/ 160 w 164"/>
              <a:gd name="T103" fmla="*/ 68 h 104"/>
              <a:gd name="T104" fmla="*/ 157 w 164"/>
              <a:gd name="T105" fmla="*/ 71 h 104"/>
              <a:gd name="T106" fmla="*/ 153 w 164"/>
              <a:gd name="T107" fmla="*/ 73 h 104"/>
              <a:gd name="T108" fmla="*/ 153 w 164"/>
              <a:gd name="T109" fmla="*/ 104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94" name="Freeform 199">
            <a:extLst>
              <a:ext uri="{FF2B5EF4-FFF2-40B4-BE49-F238E27FC236}">
                <a16:creationId xmlns:a16="http://schemas.microsoft.com/office/drawing/2014/main" id="{64191F2D-AD12-4B3C-9CDB-ED39A67517BE}"/>
              </a:ext>
            </a:extLst>
          </p:cNvPr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6313157" y="5693660"/>
            <a:ext cx="21389" cy="60325"/>
          </a:xfrm>
          <a:custGeom>
            <a:avLst/>
            <a:gdLst>
              <a:gd name="T0" fmla="*/ 20 w 46"/>
              <a:gd name="T1" fmla="*/ 0 h 27"/>
              <a:gd name="T2" fmla="*/ 0 w 46"/>
              <a:gd name="T3" fmla="*/ 18 h 27"/>
              <a:gd name="T4" fmla="*/ 9 w 46"/>
              <a:gd name="T5" fmla="*/ 22 h 27"/>
              <a:gd name="T6" fmla="*/ 16 w 46"/>
              <a:gd name="T7" fmla="*/ 25 h 27"/>
              <a:gd name="T8" fmla="*/ 23 w 46"/>
              <a:gd name="T9" fmla="*/ 27 h 27"/>
              <a:gd name="T10" fmla="*/ 29 w 46"/>
              <a:gd name="T11" fmla="*/ 27 h 27"/>
              <a:gd name="T12" fmla="*/ 33 w 46"/>
              <a:gd name="T13" fmla="*/ 27 h 27"/>
              <a:gd name="T14" fmla="*/ 37 w 46"/>
              <a:gd name="T15" fmla="*/ 25 h 27"/>
              <a:gd name="T16" fmla="*/ 42 w 46"/>
              <a:gd name="T17" fmla="*/ 22 h 27"/>
              <a:gd name="T18" fmla="*/ 46 w 46"/>
              <a:gd name="T19" fmla="*/ 18 h 27"/>
              <a:gd name="T20" fmla="*/ 41 w 46"/>
              <a:gd name="T21" fmla="*/ 16 h 27"/>
              <a:gd name="T22" fmla="*/ 33 w 46"/>
              <a:gd name="T23" fmla="*/ 11 h 27"/>
              <a:gd name="T24" fmla="*/ 26 w 46"/>
              <a:gd name="T25" fmla="*/ 5 h 27"/>
              <a:gd name="T26" fmla="*/ 20 w 46"/>
              <a:gd name="T27" fmla="*/ 0 h 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95" name="Freeform 200">
            <a:extLst>
              <a:ext uri="{FF2B5EF4-FFF2-40B4-BE49-F238E27FC236}">
                <a16:creationId xmlns:a16="http://schemas.microsoft.com/office/drawing/2014/main" id="{3497624E-F578-49F9-A1E1-8A4152F6CBAA}"/>
              </a:ext>
            </a:extLst>
          </p:cNvPr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6284128" y="5687310"/>
            <a:ext cx="24445" cy="60325"/>
          </a:xfrm>
          <a:custGeom>
            <a:avLst/>
            <a:gdLst>
              <a:gd name="T0" fmla="*/ 34 w 54"/>
              <a:gd name="T1" fmla="*/ 0 h 39"/>
              <a:gd name="T2" fmla="*/ 20 w 54"/>
              <a:gd name="T3" fmla="*/ 4 h 39"/>
              <a:gd name="T4" fmla="*/ 10 w 54"/>
              <a:gd name="T5" fmla="*/ 10 h 39"/>
              <a:gd name="T6" fmla="*/ 6 w 54"/>
              <a:gd name="T7" fmla="*/ 13 h 39"/>
              <a:gd name="T8" fmla="*/ 4 w 54"/>
              <a:gd name="T9" fmla="*/ 16 h 39"/>
              <a:gd name="T10" fmla="*/ 2 w 54"/>
              <a:gd name="T11" fmla="*/ 20 h 39"/>
              <a:gd name="T12" fmla="*/ 0 w 54"/>
              <a:gd name="T13" fmla="*/ 24 h 39"/>
              <a:gd name="T14" fmla="*/ 2 w 54"/>
              <a:gd name="T15" fmla="*/ 28 h 39"/>
              <a:gd name="T16" fmla="*/ 3 w 54"/>
              <a:gd name="T17" fmla="*/ 32 h 39"/>
              <a:gd name="T18" fmla="*/ 5 w 54"/>
              <a:gd name="T19" fmla="*/ 35 h 39"/>
              <a:gd name="T20" fmla="*/ 8 w 54"/>
              <a:gd name="T21" fmla="*/ 37 h 39"/>
              <a:gd name="T22" fmla="*/ 11 w 54"/>
              <a:gd name="T23" fmla="*/ 38 h 39"/>
              <a:gd name="T24" fmla="*/ 16 w 54"/>
              <a:gd name="T25" fmla="*/ 39 h 39"/>
              <a:gd name="T26" fmla="*/ 20 w 54"/>
              <a:gd name="T27" fmla="*/ 39 h 39"/>
              <a:gd name="T28" fmla="*/ 25 w 54"/>
              <a:gd name="T29" fmla="*/ 39 h 39"/>
              <a:gd name="T30" fmla="*/ 30 w 54"/>
              <a:gd name="T31" fmla="*/ 38 h 39"/>
              <a:gd name="T32" fmla="*/ 34 w 54"/>
              <a:gd name="T33" fmla="*/ 37 h 39"/>
              <a:gd name="T34" fmla="*/ 39 w 54"/>
              <a:gd name="T35" fmla="*/ 35 h 39"/>
              <a:gd name="T36" fmla="*/ 43 w 54"/>
              <a:gd name="T37" fmla="*/ 33 h 39"/>
              <a:gd name="T38" fmla="*/ 47 w 54"/>
              <a:gd name="T39" fmla="*/ 30 h 39"/>
              <a:gd name="T40" fmla="*/ 50 w 54"/>
              <a:gd name="T41" fmla="*/ 26 h 39"/>
              <a:gd name="T42" fmla="*/ 52 w 54"/>
              <a:gd name="T43" fmla="*/ 22 h 39"/>
              <a:gd name="T44" fmla="*/ 54 w 54"/>
              <a:gd name="T45" fmla="*/ 18 h 39"/>
              <a:gd name="T46" fmla="*/ 51 w 54"/>
              <a:gd name="T47" fmla="*/ 17 h 39"/>
              <a:gd name="T48" fmla="*/ 48 w 54"/>
              <a:gd name="T49" fmla="*/ 16 h 39"/>
              <a:gd name="T50" fmla="*/ 44 w 54"/>
              <a:gd name="T51" fmla="*/ 14 h 39"/>
              <a:gd name="T52" fmla="*/ 42 w 54"/>
              <a:gd name="T53" fmla="*/ 11 h 39"/>
              <a:gd name="T54" fmla="*/ 39 w 54"/>
              <a:gd name="T55" fmla="*/ 8 h 39"/>
              <a:gd name="T56" fmla="*/ 37 w 54"/>
              <a:gd name="T57" fmla="*/ 5 h 39"/>
              <a:gd name="T58" fmla="*/ 34 w 54"/>
              <a:gd name="T59" fmla="*/ 2 h 39"/>
              <a:gd name="T60" fmla="*/ 34 w 54"/>
              <a:gd name="T61" fmla="*/ 0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96" name="Freeform 201">
            <a:extLst>
              <a:ext uri="{FF2B5EF4-FFF2-40B4-BE49-F238E27FC236}">
                <a16:creationId xmlns:a16="http://schemas.microsoft.com/office/drawing/2014/main" id="{B881BA2A-F9AF-4480-8320-66E06E0F0095}"/>
              </a:ext>
            </a:extLst>
          </p:cNvPr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6259684" y="5677784"/>
            <a:ext cx="27501" cy="58738"/>
          </a:xfrm>
          <a:custGeom>
            <a:avLst/>
            <a:gdLst>
              <a:gd name="T0" fmla="*/ 0 w 60"/>
              <a:gd name="T1" fmla="*/ 11 h 15"/>
              <a:gd name="T2" fmla="*/ 10 w 60"/>
              <a:gd name="T3" fmla="*/ 13 h 15"/>
              <a:gd name="T4" fmla="*/ 18 w 60"/>
              <a:gd name="T5" fmla="*/ 14 h 15"/>
              <a:gd name="T6" fmla="*/ 27 w 60"/>
              <a:gd name="T7" fmla="*/ 15 h 15"/>
              <a:gd name="T8" fmla="*/ 35 w 60"/>
              <a:gd name="T9" fmla="*/ 15 h 15"/>
              <a:gd name="T10" fmla="*/ 41 w 60"/>
              <a:gd name="T11" fmla="*/ 14 h 15"/>
              <a:gd name="T12" fmla="*/ 48 w 60"/>
              <a:gd name="T13" fmla="*/ 12 h 15"/>
              <a:gd name="T14" fmla="*/ 55 w 60"/>
              <a:gd name="T15" fmla="*/ 9 h 15"/>
              <a:gd name="T16" fmla="*/ 60 w 60"/>
              <a:gd name="T17" fmla="*/ 5 h 15"/>
              <a:gd name="T18" fmla="*/ 57 w 60"/>
              <a:gd name="T19" fmla="*/ 3 h 15"/>
              <a:gd name="T20" fmla="*/ 54 w 60"/>
              <a:gd name="T21" fmla="*/ 0 h 15"/>
              <a:gd name="T22" fmla="*/ 51 w 60"/>
              <a:gd name="T23" fmla="*/ 0 h 15"/>
              <a:gd name="T24" fmla="*/ 47 w 60"/>
              <a:gd name="T25" fmla="*/ 0 h 15"/>
              <a:gd name="T26" fmla="*/ 40 w 60"/>
              <a:gd name="T27" fmla="*/ 0 h 15"/>
              <a:gd name="T28" fmla="*/ 33 w 60"/>
              <a:gd name="T29" fmla="*/ 3 h 15"/>
              <a:gd name="T30" fmla="*/ 24 w 60"/>
              <a:gd name="T31" fmla="*/ 6 h 15"/>
              <a:gd name="T32" fmla="*/ 16 w 60"/>
              <a:gd name="T33" fmla="*/ 8 h 15"/>
              <a:gd name="T34" fmla="*/ 7 w 60"/>
              <a:gd name="T35" fmla="*/ 10 h 15"/>
              <a:gd name="T36" fmla="*/ 0 w 60"/>
              <a:gd name="T37" fmla="*/ 11 h 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97" name="Freeform 202">
            <a:extLst>
              <a:ext uri="{FF2B5EF4-FFF2-40B4-BE49-F238E27FC236}">
                <a16:creationId xmlns:a16="http://schemas.microsoft.com/office/drawing/2014/main" id="{DB07049C-5524-4230-96AE-91EAE7085A4B}"/>
              </a:ext>
            </a:extLst>
          </p:cNvPr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6236765" y="5665084"/>
            <a:ext cx="32085" cy="57150"/>
          </a:xfrm>
          <a:custGeom>
            <a:avLst/>
            <a:gdLst>
              <a:gd name="T0" fmla="*/ 40 w 79"/>
              <a:gd name="T1" fmla="*/ 0 h 32"/>
              <a:gd name="T2" fmla="*/ 34 w 79"/>
              <a:gd name="T3" fmla="*/ 1 h 32"/>
              <a:gd name="T4" fmla="*/ 30 w 79"/>
              <a:gd name="T5" fmla="*/ 2 h 32"/>
              <a:gd name="T6" fmla="*/ 25 w 79"/>
              <a:gd name="T7" fmla="*/ 4 h 32"/>
              <a:gd name="T8" fmla="*/ 20 w 79"/>
              <a:gd name="T9" fmla="*/ 6 h 32"/>
              <a:gd name="T10" fmla="*/ 15 w 79"/>
              <a:gd name="T11" fmla="*/ 9 h 32"/>
              <a:gd name="T12" fmla="*/ 10 w 79"/>
              <a:gd name="T13" fmla="*/ 11 h 32"/>
              <a:gd name="T14" fmla="*/ 5 w 79"/>
              <a:gd name="T15" fmla="*/ 12 h 32"/>
              <a:gd name="T16" fmla="*/ 0 w 79"/>
              <a:gd name="T17" fmla="*/ 13 h 32"/>
              <a:gd name="T18" fmla="*/ 5 w 79"/>
              <a:gd name="T19" fmla="*/ 21 h 32"/>
              <a:gd name="T20" fmla="*/ 10 w 79"/>
              <a:gd name="T21" fmla="*/ 26 h 32"/>
              <a:gd name="T22" fmla="*/ 12 w 79"/>
              <a:gd name="T23" fmla="*/ 29 h 32"/>
              <a:gd name="T24" fmla="*/ 15 w 79"/>
              <a:gd name="T25" fmla="*/ 31 h 32"/>
              <a:gd name="T26" fmla="*/ 18 w 79"/>
              <a:gd name="T27" fmla="*/ 31 h 32"/>
              <a:gd name="T28" fmla="*/ 20 w 79"/>
              <a:gd name="T29" fmla="*/ 32 h 32"/>
              <a:gd name="T30" fmla="*/ 27 w 79"/>
              <a:gd name="T31" fmla="*/ 31 h 32"/>
              <a:gd name="T32" fmla="*/ 34 w 79"/>
              <a:gd name="T33" fmla="*/ 30 h 32"/>
              <a:gd name="T34" fmla="*/ 41 w 79"/>
              <a:gd name="T35" fmla="*/ 27 h 32"/>
              <a:gd name="T36" fmla="*/ 48 w 79"/>
              <a:gd name="T37" fmla="*/ 24 h 32"/>
              <a:gd name="T38" fmla="*/ 62 w 79"/>
              <a:gd name="T39" fmla="*/ 18 h 32"/>
              <a:gd name="T40" fmla="*/ 79 w 79"/>
              <a:gd name="T41" fmla="*/ 13 h 32"/>
              <a:gd name="T42" fmla="*/ 67 w 79"/>
              <a:gd name="T43" fmla="*/ 6 h 32"/>
              <a:gd name="T44" fmla="*/ 58 w 79"/>
              <a:gd name="T45" fmla="*/ 2 h 32"/>
              <a:gd name="T46" fmla="*/ 49 w 79"/>
              <a:gd name="T47" fmla="*/ 1 h 32"/>
              <a:gd name="T48" fmla="*/ 40 w 79"/>
              <a:gd name="T49" fmla="*/ 0 h 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98" name="Freeform 203">
            <a:extLst>
              <a:ext uri="{FF2B5EF4-FFF2-40B4-BE49-F238E27FC236}">
                <a16:creationId xmlns:a16="http://schemas.microsoft.com/office/drawing/2014/main" id="{997073D2-A817-4CC6-A066-86DD7803F0E5}"/>
              </a:ext>
            </a:extLst>
          </p:cNvPr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6230655" y="5646034"/>
            <a:ext cx="29029" cy="57150"/>
          </a:xfrm>
          <a:custGeom>
            <a:avLst/>
            <a:gdLst>
              <a:gd name="T0" fmla="*/ 33 w 66"/>
              <a:gd name="T1" fmla="*/ 0 h 19"/>
              <a:gd name="T2" fmla="*/ 25 w 66"/>
              <a:gd name="T3" fmla="*/ 1 h 19"/>
              <a:gd name="T4" fmla="*/ 19 w 66"/>
              <a:gd name="T5" fmla="*/ 2 h 19"/>
              <a:gd name="T6" fmla="*/ 13 w 66"/>
              <a:gd name="T7" fmla="*/ 4 h 19"/>
              <a:gd name="T8" fmla="*/ 9 w 66"/>
              <a:gd name="T9" fmla="*/ 7 h 19"/>
              <a:gd name="T10" fmla="*/ 5 w 66"/>
              <a:gd name="T11" fmla="*/ 11 h 19"/>
              <a:gd name="T12" fmla="*/ 2 w 66"/>
              <a:gd name="T13" fmla="*/ 14 h 19"/>
              <a:gd name="T14" fmla="*/ 0 w 66"/>
              <a:gd name="T15" fmla="*/ 17 h 19"/>
              <a:gd name="T16" fmla="*/ 0 w 66"/>
              <a:gd name="T17" fmla="*/ 19 h 19"/>
              <a:gd name="T18" fmla="*/ 19 w 66"/>
              <a:gd name="T19" fmla="*/ 19 h 19"/>
              <a:gd name="T20" fmla="*/ 38 w 66"/>
              <a:gd name="T21" fmla="*/ 19 h 19"/>
              <a:gd name="T22" fmla="*/ 46 w 66"/>
              <a:gd name="T23" fmla="*/ 18 h 19"/>
              <a:gd name="T24" fmla="*/ 54 w 66"/>
              <a:gd name="T25" fmla="*/ 17 h 19"/>
              <a:gd name="T26" fmla="*/ 61 w 66"/>
              <a:gd name="T27" fmla="*/ 15 h 19"/>
              <a:gd name="T28" fmla="*/ 66 w 66"/>
              <a:gd name="T29" fmla="*/ 13 h 19"/>
              <a:gd name="T30" fmla="*/ 57 w 66"/>
              <a:gd name="T31" fmla="*/ 8 h 19"/>
              <a:gd name="T32" fmla="*/ 50 w 66"/>
              <a:gd name="T33" fmla="*/ 4 h 19"/>
              <a:gd name="T34" fmla="*/ 42 w 66"/>
              <a:gd name="T35" fmla="*/ 1 h 19"/>
              <a:gd name="T36" fmla="*/ 33 w 66"/>
              <a:gd name="T37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199" name="Freeform 204">
            <a:extLst>
              <a:ext uri="{FF2B5EF4-FFF2-40B4-BE49-F238E27FC236}">
                <a16:creationId xmlns:a16="http://schemas.microsoft.com/office/drawing/2014/main" id="{77FD9E0A-3982-4D48-82C2-912DAE759501}"/>
              </a:ext>
            </a:extLst>
          </p:cNvPr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6134403" y="5336473"/>
            <a:ext cx="24445" cy="60325"/>
          </a:xfrm>
          <a:custGeom>
            <a:avLst/>
            <a:gdLst>
              <a:gd name="T0" fmla="*/ 13 w 53"/>
              <a:gd name="T1" fmla="*/ 0 h 80"/>
              <a:gd name="T2" fmla="*/ 8 w 53"/>
              <a:gd name="T3" fmla="*/ 5 h 80"/>
              <a:gd name="T4" fmla="*/ 4 w 53"/>
              <a:gd name="T5" fmla="*/ 10 h 80"/>
              <a:gd name="T6" fmla="*/ 2 w 53"/>
              <a:gd name="T7" fmla="*/ 13 h 80"/>
              <a:gd name="T8" fmla="*/ 1 w 53"/>
              <a:gd name="T9" fmla="*/ 16 h 80"/>
              <a:gd name="T10" fmla="*/ 0 w 53"/>
              <a:gd name="T11" fmla="*/ 20 h 80"/>
              <a:gd name="T12" fmla="*/ 0 w 53"/>
              <a:gd name="T13" fmla="*/ 25 h 80"/>
              <a:gd name="T14" fmla="*/ 0 w 53"/>
              <a:gd name="T15" fmla="*/ 30 h 80"/>
              <a:gd name="T16" fmla="*/ 2 w 53"/>
              <a:gd name="T17" fmla="*/ 39 h 80"/>
              <a:gd name="T18" fmla="*/ 6 w 53"/>
              <a:gd name="T19" fmla="*/ 48 h 80"/>
              <a:gd name="T20" fmla="*/ 9 w 53"/>
              <a:gd name="T21" fmla="*/ 57 h 80"/>
              <a:gd name="T22" fmla="*/ 13 w 53"/>
              <a:gd name="T23" fmla="*/ 66 h 80"/>
              <a:gd name="T24" fmla="*/ 20 w 53"/>
              <a:gd name="T25" fmla="*/ 73 h 80"/>
              <a:gd name="T26" fmla="*/ 22 w 53"/>
              <a:gd name="T27" fmla="*/ 76 h 80"/>
              <a:gd name="T28" fmla="*/ 26 w 53"/>
              <a:gd name="T29" fmla="*/ 78 h 80"/>
              <a:gd name="T30" fmla="*/ 30 w 53"/>
              <a:gd name="T31" fmla="*/ 80 h 80"/>
              <a:gd name="T32" fmla="*/ 33 w 53"/>
              <a:gd name="T33" fmla="*/ 80 h 80"/>
              <a:gd name="T34" fmla="*/ 36 w 53"/>
              <a:gd name="T35" fmla="*/ 79 h 80"/>
              <a:gd name="T36" fmla="*/ 38 w 53"/>
              <a:gd name="T37" fmla="*/ 78 h 80"/>
              <a:gd name="T38" fmla="*/ 42 w 53"/>
              <a:gd name="T39" fmla="*/ 76 h 80"/>
              <a:gd name="T40" fmla="*/ 45 w 53"/>
              <a:gd name="T41" fmla="*/ 73 h 80"/>
              <a:gd name="T42" fmla="*/ 48 w 53"/>
              <a:gd name="T43" fmla="*/ 70 h 80"/>
              <a:gd name="T44" fmla="*/ 51 w 53"/>
              <a:gd name="T45" fmla="*/ 67 h 80"/>
              <a:gd name="T46" fmla="*/ 53 w 53"/>
              <a:gd name="T47" fmla="*/ 64 h 80"/>
              <a:gd name="T48" fmla="*/ 53 w 53"/>
              <a:gd name="T49" fmla="*/ 62 h 80"/>
              <a:gd name="T50" fmla="*/ 52 w 53"/>
              <a:gd name="T51" fmla="*/ 54 h 80"/>
              <a:gd name="T52" fmla="*/ 49 w 53"/>
              <a:gd name="T53" fmla="*/ 47 h 80"/>
              <a:gd name="T54" fmla="*/ 46 w 53"/>
              <a:gd name="T55" fmla="*/ 42 h 80"/>
              <a:gd name="T56" fmla="*/ 43 w 53"/>
              <a:gd name="T57" fmla="*/ 37 h 80"/>
              <a:gd name="T58" fmla="*/ 40 w 53"/>
              <a:gd name="T59" fmla="*/ 32 h 80"/>
              <a:gd name="T60" fmla="*/ 36 w 53"/>
              <a:gd name="T61" fmla="*/ 27 h 80"/>
              <a:gd name="T62" fmla="*/ 34 w 53"/>
              <a:gd name="T63" fmla="*/ 20 h 80"/>
              <a:gd name="T64" fmla="*/ 33 w 53"/>
              <a:gd name="T65" fmla="*/ 12 h 80"/>
              <a:gd name="T66" fmla="*/ 33 w 53"/>
              <a:gd name="T67" fmla="*/ 10 h 80"/>
              <a:gd name="T68" fmla="*/ 31 w 53"/>
              <a:gd name="T69" fmla="*/ 8 h 80"/>
              <a:gd name="T70" fmla="*/ 29 w 53"/>
              <a:gd name="T71" fmla="*/ 6 h 80"/>
              <a:gd name="T72" fmla="*/ 25 w 53"/>
              <a:gd name="T73" fmla="*/ 4 h 80"/>
              <a:gd name="T74" fmla="*/ 19 w 53"/>
              <a:gd name="T75" fmla="*/ 1 h 80"/>
              <a:gd name="T76" fmla="*/ 13 w 53"/>
              <a:gd name="T77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0" name="Freeform 205">
            <a:extLst>
              <a:ext uri="{FF2B5EF4-FFF2-40B4-BE49-F238E27FC236}">
                <a16:creationId xmlns:a16="http://schemas.microsoft.com/office/drawing/2014/main" id="{CFBFCD32-90F7-4579-9608-EB182857CF78}"/>
              </a:ext>
            </a:extLst>
          </p:cNvPr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6163431" y="5431723"/>
            <a:ext cx="16806" cy="53975"/>
          </a:xfrm>
          <a:custGeom>
            <a:avLst/>
            <a:gdLst>
              <a:gd name="T0" fmla="*/ 0 w 41"/>
              <a:gd name="T1" fmla="*/ 43 h 43"/>
              <a:gd name="T2" fmla="*/ 27 w 41"/>
              <a:gd name="T3" fmla="*/ 43 h 43"/>
              <a:gd name="T4" fmla="*/ 41 w 41"/>
              <a:gd name="T5" fmla="*/ 24 h 43"/>
              <a:gd name="T6" fmla="*/ 38 w 41"/>
              <a:gd name="T7" fmla="*/ 12 h 43"/>
              <a:gd name="T8" fmla="*/ 34 w 41"/>
              <a:gd name="T9" fmla="*/ 0 h 43"/>
              <a:gd name="T10" fmla="*/ 27 w 41"/>
              <a:gd name="T11" fmla="*/ 4 h 43"/>
              <a:gd name="T12" fmla="*/ 20 w 41"/>
              <a:gd name="T13" fmla="*/ 9 h 43"/>
              <a:gd name="T14" fmla="*/ 15 w 41"/>
              <a:gd name="T15" fmla="*/ 14 h 43"/>
              <a:gd name="T16" fmla="*/ 10 w 41"/>
              <a:gd name="T17" fmla="*/ 19 h 43"/>
              <a:gd name="T18" fmla="*/ 6 w 41"/>
              <a:gd name="T19" fmla="*/ 24 h 43"/>
              <a:gd name="T20" fmla="*/ 3 w 41"/>
              <a:gd name="T21" fmla="*/ 30 h 43"/>
              <a:gd name="T22" fmla="*/ 1 w 41"/>
              <a:gd name="T23" fmla="*/ 37 h 43"/>
              <a:gd name="T24" fmla="*/ 0 w 41"/>
              <a:gd name="T25" fmla="*/ 4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1" name="Freeform 206">
            <a:extLst>
              <a:ext uri="{FF2B5EF4-FFF2-40B4-BE49-F238E27FC236}">
                <a16:creationId xmlns:a16="http://schemas.microsoft.com/office/drawing/2014/main" id="{32C75902-9282-4F6F-B515-1919D843FD6B}"/>
              </a:ext>
            </a:extLst>
          </p:cNvPr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6168015" y="5453948"/>
            <a:ext cx="7639" cy="58737"/>
          </a:xfrm>
          <a:custGeom>
            <a:avLst/>
            <a:gdLst>
              <a:gd name="T0" fmla="*/ 20 w 20"/>
              <a:gd name="T1" fmla="*/ 0 h 24"/>
              <a:gd name="T2" fmla="*/ 0 w 20"/>
              <a:gd name="T3" fmla="*/ 0 h 24"/>
              <a:gd name="T4" fmla="*/ 1 w 20"/>
              <a:gd name="T5" fmla="*/ 5 h 24"/>
              <a:gd name="T6" fmla="*/ 2 w 20"/>
              <a:gd name="T7" fmla="*/ 9 h 24"/>
              <a:gd name="T8" fmla="*/ 4 w 20"/>
              <a:gd name="T9" fmla="*/ 13 h 24"/>
              <a:gd name="T10" fmla="*/ 7 w 20"/>
              <a:gd name="T11" fmla="*/ 17 h 24"/>
              <a:gd name="T12" fmla="*/ 10 w 20"/>
              <a:gd name="T13" fmla="*/ 20 h 24"/>
              <a:gd name="T14" fmla="*/ 14 w 20"/>
              <a:gd name="T15" fmla="*/ 22 h 24"/>
              <a:gd name="T16" fmla="*/ 17 w 20"/>
              <a:gd name="T17" fmla="*/ 24 h 24"/>
              <a:gd name="T18" fmla="*/ 20 w 20"/>
              <a:gd name="T19" fmla="*/ 24 h 24"/>
              <a:gd name="T20" fmla="*/ 20 w 20"/>
              <a:gd name="T21" fmla="*/ 0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2" name="Freeform 207">
            <a:extLst>
              <a:ext uri="{FF2B5EF4-FFF2-40B4-BE49-F238E27FC236}">
                <a16:creationId xmlns:a16="http://schemas.microsoft.com/office/drawing/2014/main" id="{41AA25CA-6378-4C4F-8889-8FC7CE94A369}"/>
              </a:ext>
            </a:extLst>
          </p:cNvPr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6181765" y="5515860"/>
            <a:ext cx="16806" cy="60325"/>
          </a:xfrm>
          <a:custGeom>
            <a:avLst/>
            <a:gdLst>
              <a:gd name="T0" fmla="*/ 0 w 39"/>
              <a:gd name="T1" fmla="*/ 12 h 43"/>
              <a:gd name="T2" fmla="*/ 2 w 39"/>
              <a:gd name="T3" fmla="*/ 17 h 43"/>
              <a:gd name="T4" fmla="*/ 6 w 39"/>
              <a:gd name="T5" fmla="*/ 22 h 43"/>
              <a:gd name="T6" fmla="*/ 12 w 39"/>
              <a:gd name="T7" fmla="*/ 27 h 43"/>
              <a:gd name="T8" fmla="*/ 16 w 39"/>
              <a:gd name="T9" fmla="*/ 32 h 43"/>
              <a:gd name="T10" fmla="*/ 23 w 39"/>
              <a:gd name="T11" fmla="*/ 37 h 43"/>
              <a:gd name="T12" fmla="*/ 28 w 39"/>
              <a:gd name="T13" fmla="*/ 40 h 43"/>
              <a:gd name="T14" fmla="*/ 34 w 39"/>
              <a:gd name="T15" fmla="*/ 43 h 43"/>
              <a:gd name="T16" fmla="*/ 39 w 39"/>
              <a:gd name="T17" fmla="*/ 43 h 43"/>
              <a:gd name="T18" fmla="*/ 38 w 39"/>
              <a:gd name="T19" fmla="*/ 32 h 43"/>
              <a:gd name="T20" fmla="*/ 36 w 39"/>
              <a:gd name="T21" fmla="*/ 19 h 43"/>
              <a:gd name="T22" fmla="*/ 34 w 39"/>
              <a:gd name="T23" fmla="*/ 8 h 43"/>
              <a:gd name="T24" fmla="*/ 32 w 39"/>
              <a:gd name="T25" fmla="*/ 0 h 43"/>
              <a:gd name="T26" fmla="*/ 19 w 39"/>
              <a:gd name="T27" fmla="*/ 3 h 43"/>
              <a:gd name="T28" fmla="*/ 6 w 39"/>
              <a:gd name="T29" fmla="*/ 6 h 43"/>
              <a:gd name="T30" fmla="*/ 0 w 39"/>
              <a:gd name="T31" fmla="*/ 12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3" name="Freeform 208">
            <a:extLst>
              <a:ext uri="{FF2B5EF4-FFF2-40B4-BE49-F238E27FC236}">
                <a16:creationId xmlns:a16="http://schemas.microsoft.com/office/drawing/2014/main" id="{9926C1EB-2907-49FF-8C94-0AC435CC7E0D}"/>
              </a:ext>
            </a:extLst>
          </p:cNvPr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6169542" y="5528559"/>
            <a:ext cx="25973" cy="58738"/>
          </a:xfrm>
          <a:custGeom>
            <a:avLst/>
            <a:gdLst>
              <a:gd name="T0" fmla="*/ 29 w 55"/>
              <a:gd name="T1" fmla="*/ 26 h 62"/>
              <a:gd name="T2" fmla="*/ 8 w 55"/>
              <a:gd name="T3" fmla="*/ 0 h 62"/>
              <a:gd name="T4" fmla="*/ 4 w 55"/>
              <a:gd name="T5" fmla="*/ 5 h 62"/>
              <a:gd name="T6" fmla="*/ 1 w 55"/>
              <a:gd name="T7" fmla="*/ 11 h 62"/>
              <a:gd name="T8" fmla="*/ 0 w 55"/>
              <a:gd name="T9" fmla="*/ 16 h 62"/>
              <a:gd name="T10" fmla="*/ 0 w 55"/>
              <a:gd name="T11" fmla="*/ 21 h 62"/>
              <a:gd name="T12" fmla="*/ 2 w 55"/>
              <a:gd name="T13" fmla="*/ 26 h 62"/>
              <a:gd name="T14" fmla="*/ 4 w 55"/>
              <a:gd name="T15" fmla="*/ 31 h 62"/>
              <a:gd name="T16" fmla="*/ 8 w 55"/>
              <a:gd name="T17" fmla="*/ 36 h 62"/>
              <a:gd name="T18" fmla="*/ 11 w 55"/>
              <a:gd name="T19" fmla="*/ 41 h 62"/>
              <a:gd name="T20" fmla="*/ 16 w 55"/>
              <a:gd name="T21" fmla="*/ 45 h 62"/>
              <a:gd name="T22" fmla="*/ 21 w 55"/>
              <a:gd name="T23" fmla="*/ 49 h 62"/>
              <a:gd name="T24" fmla="*/ 26 w 55"/>
              <a:gd name="T25" fmla="*/ 53 h 62"/>
              <a:gd name="T26" fmla="*/ 33 w 55"/>
              <a:gd name="T27" fmla="*/ 56 h 62"/>
              <a:gd name="T28" fmla="*/ 38 w 55"/>
              <a:gd name="T29" fmla="*/ 58 h 62"/>
              <a:gd name="T30" fmla="*/ 44 w 55"/>
              <a:gd name="T31" fmla="*/ 60 h 62"/>
              <a:gd name="T32" fmla="*/ 49 w 55"/>
              <a:gd name="T33" fmla="*/ 61 h 62"/>
              <a:gd name="T34" fmla="*/ 55 w 55"/>
              <a:gd name="T35" fmla="*/ 62 h 62"/>
              <a:gd name="T36" fmla="*/ 54 w 55"/>
              <a:gd name="T37" fmla="*/ 53 h 62"/>
              <a:gd name="T38" fmla="*/ 53 w 55"/>
              <a:gd name="T39" fmla="*/ 46 h 62"/>
              <a:gd name="T40" fmla="*/ 49 w 55"/>
              <a:gd name="T41" fmla="*/ 40 h 62"/>
              <a:gd name="T42" fmla="*/ 46 w 55"/>
              <a:gd name="T43" fmla="*/ 35 h 62"/>
              <a:gd name="T44" fmla="*/ 43 w 55"/>
              <a:gd name="T45" fmla="*/ 31 h 62"/>
              <a:gd name="T46" fmla="*/ 38 w 55"/>
              <a:gd name="T47" fmla="*/ 28 h 62"/>
              <a:gd name="T48" fmla="*/ 33 w 55"/>
              <a:gd name="T49" fmla="*/ 26 h 62"/>
              <a:gd name="T50" fmla="*/ 29 w 55"/>
              <a:gd name="T51" fmla="*/ 26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4" name="Freeform 209">
            <a:extLst>
              <a:ext uri="{FF2B5EF4-FFF2-40B4-BE49-F238E27FC236}">
                <a16:creationId xmlns:a16="http://schemas.microsoft.com/office/drawing/2014/main" id="{70E6EA7A-66C7-456C-A710-EFAD80C75EF3}"/>
              </a:ext>
            </a:extLst>
          </p:cNvPr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6198571" y="5561898"/>
            <a:ext cx="10694" cy="58737"/>
          </a:xfrm>
          <a:custGeom>
            <a:avLst/>
            <a:gdLst>
              <a:gd name="T0" fmla="*/ 33 w 35"/>
              <a:gd name="T1" fmla="*/ 13 h 43"/>
              <a:gd name="T2" fmla="*/ 7 w 35"/>
              <a:gd name="T3" fmla="*/ 0 h 43"/>
              <a:gd name="T4" fmla="*/ 4 w 35"/>
              <a:gd name="T5" fmla="*/ 8 h 43"/>
              <a:gd name="T6" fmla="*/ 0 w 35"/>
              <a:gd name="T7" fmla="*/ 19 h 43"/>
              <a:gd name="T8" fmla="*/ 2 w 35"/>
              <a:gd name="T9" fmla="*/ 28 h 43"/>
              <a:gd name="T10" fmla="*/ 5 w 35"/>
              <a:gd name="T11" fmla="*/ 36 h 43"/>
              <a:gd name="T12" fmla="*/ 6 w 35"/>
              <a:gd name="T13" fmla="*/ 39 h 43"/>
              <a:gd name="T14" fmla="*/ 8 w 35"/>
              <a:gd name="T15" fmla="*/ 41 h 43"/>
              <a:gd name="T16" fmla="*/ 11 w 35"/>
              <a:gd name="T17" fmla="*/ 43 h 43"/>
              <a:gd name="T18" fmla="*/ 14 w 35"/>
              <a:gd name="T19" fmla="*/ 43 h 43"/>
              <a:gd name="T20" fmla="*/ 18 w 35"/>
              <a:gd name="T21" fmla="*/ 43 h 43"/>
              <a:gd name="T22" fmla="*/ 22 w 35"/>
              <a:gd name="T23" fmla="*/ 42 h 43"/>
              <a:gd name="T24" fmla="*/ 26 w 35"/>
              <a:gd name="T25" fmla="*/ 41 h 43"/>
              <a:gd name="T26" fmla="*/ 28 w 35"/>
              <a:gd name="T27" fmla="*/ 39 h 43"/>
              <a:gd name="T28" fmla="*/ 31 w 35"/>
              <a:gd name="T29" fmla="*/ 35 h 43"/>
              <a:gd name="T30" fmla="*/ 33 w 35"/>
              <a:gd name="T31" fmla="*/ 30 h 43"/>
              <a:gd name="T32" fmla="*/ 35 w 35"/>
              <a:gd name="T33" fmla="*/ 20 h 43"/>
              <a:gd name="T34" fmla="*/ 33 w 35"/>
              <a:gd name="T35" fmla="*/ 1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5" name="Freeform 210">
            <a:extLst>
              <a:ext uri="{FF2B5EF4-FFF2-40B4-BE49-F238E27FC236}">
                <a16:creationId xmlns:a16="http://schemas.microsoft.com/office/drawing/2014/main" id="{43A4F535-C4C6-41D0-A867-B23A1BFBCFE2}"/>
              </a:ext>
            </a:extLst>
          </p:cNvPr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6195516" y="5595235"/>
            <a:ext cx="19861" cy="55563"/>
          </a:xfrm>
          <a:custGeom>
            <a:avLst/>
            <a:gdLst>
              <a:gd name="T0" fmla="*/ 53 w 53"/>
              <a:gd name="T1" fmla="*/ 0 h 21"/>
              <a:gd name="T2" fmla="*/ 41 w 53"/>
              <a:gd name="T3" fmla="*/ 1 h 21"/>
              <a:gd name="T4" fmla="*/ 32 w 53"/>
              <a:gd name="T5" fmla="*/ 2 h 21"/>
              <a:gd name="T6" fmla="*/ 25 w 53"/>
              <a:gd name="T7" fmla="*/ 5 h 21"/>
              <a:gd name="T8" fmla="*/ 21 w 53"/>
              <a:gd name="T9" fmla="*/ 7 h 21"/>
              <a:gd name="T10" fmla="*/ 17 w 53"/>
              <a:gd name="T11" fmla="*/ 10 h 21"/>
              <a:gd name="T12" fmla="*/ 13 w 53"/>
              <a:gd name="T13" fmla="*/ 13 h 21"/>
              <a:gd name="T14" fmla="*/ 8 w 53"/>
              <a:gd name="T15" fmla="*/ 16 h 21"/>
              <a:gd name="T16" fmla="*/ 0 w 53"/>
              <a:gd name="T17" fmla="*/ 18 h 21"/>
              <a:gd name="T18" fmla="*/ 5 w 53"/>
              <a:gd name="T19" fmla="*/ 20 h 21"/>
              <a:gd name="T20" fmla="*/ 11 w 53"/>
              <a:gd name="T21" fmla="*/ 21 h 21"/>
              <a:gd name="T22" fmla="*/ 17 w 53"/>
              <a:gd name="T23" fmla="*/ 21 h 21"/>
              <a:gd name="T24" fmla="*/ 24 w 53"/>
              <a:gd name="T25" fmla="*/ 21 h 21"/>
              <a:gd name="T26" fmla="*/ 38 w 53"/>
              <a:gd name="T27" fmla="*/ 19 h 21"/>
              <a:gd name="T28" fmla="*/ 53 w 53"/>
              <a:gd name="T29" fmla="*/ 18 h 21"/>
              <a:gd name="T30" fmla="*/ 53 w 53"/>
              <a:gd name="T31" fmla="*/ 0 h 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6" name="Freeform 211">
            <a:extLst>
              <a:ext uri="{FF2B5EF4-FFF2-40B4-BE49-F238E27FC236}">
                <a16:creationId xmlns:a16="http://schemas.microsoft.com/office/drawing/2014/main" id="{457EBD9A-7BF9-4E4A-A611-386027F3FFFF}"/>
              </a:ext>
            </a:extLst>
          </p:cNvPr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6218433" y="5609522"/>
            <a:ext cx="16806" cy="57150"/>
          </a:xfrm>
          <a:custGeom>
            <a:avLst/>
            <a:gdLst>
              <a:gd name="T0" fmla="*/ 22 w 43"/>
              <a:gd name="T1" fmla="*/ 0 h 38"/>
              <a:gd name="T2" fmla="*/ 12 w 43"/>
              <a:gd name="T3" fmla="*/ 0 h 38"/>
              <a:gd name="T4" fmla="*/ 2 w 43"/>
              <a:gd name="T5" fmla="*/ 0 h 38"/>
              <a:gd name="T6" fmla="*/ 1 w 43"/>
              <a:gd name="T7" fmla="*/ 0 h 38"/>
              <a:gd name="T8" fmla="*/ 0 w 43"/>
              <a:gd name="T9" fmla="*/ 1 h 38"/>
              <a:gd name="T10" fmla="*/ 0 w 43"/>
              <a:gd name="T11" fmla="*/ 3 h 38"/>
              <a:gd name="T12" fmla="*/ 0 w 43"/>
              <a:gd name="T13" fmla="*/ 6 h 38"/>
              <a:gd name="T14" fmla="*/ 1 w 43"/>
              <a:gd name="T15" fmla="*/ 10 h 38"/>
              <a:gd name="T16" fmla="*/ 2 w 43"/>
              <a:gd name="T17" fmla="*/ 12 h 38"/>
              <a:gd name="T18" fmla="*/ 3 w 43"/>
              <a:gd name="T19" fmla="*/ 18 h 38"/>
              <a:gd name="T20" fmla="*/ 5 w 43"/>
              <a:gd name="T21" fmla="*/ 25 h 38"/>
              <a:gd name="T22" fmla="*/ 10 w 43"/>
              <a:gd name="T23" fmla="*/ 30 h 38"/>
              <a:gd name="T24" fmla="*/ 15 w 43"/>
              <a:gd name="T25" fmla="*/ 34 h 38"/>
              <a:gd name="T26" fmla="*/ 21 w 43"/>
              <a:gd name="T27" fmla="*/ 37 h 38"/>
              <a:gd name="T28" fmla="*/ 27 w 43"/>
              <a:gd name="T29" fmla="*/ 38 h 38"/>
              <a:gd name="T30" fmla="*/ 35 w 43"/>
              <a:gd name="T31" fmla="*/ 38 h 38"/>
              <a:gd name="T32" fmla="*/ 43 w 43"/>
              <a:gd name="T33" fmla="*/ 37 h 38"/>
              <a:gd name="T34" fmla="*/ 40 w 43"/>
              <a:gd name="T35" fmla="*/ 29 h 38"/>
              <a:gd name="T36" fmla="*/ 36 w 43"/>
              <a:gd name="T37" fmla="*/ 23 h 38"/>
              <a:gd name="T38" fmla="*/ 33 w 43"/>
              <a:gd name="T39" fmla="*/ 17 h 38"/>
              <a:gd name="T40" fmla="*/ 30 w 43"/>
              <a:gd name="T41" fmla="*/ 13 h 38"/>
              <a:gd name="T42" fmla="*/ 27 w 43"/>
              <a:gd name="T43" fmla="*/ 10 h 38"/>
              <a:gd name="T44" fmla="*/ 24 w 43"/>
              <a:gd name="T45" fmla="*/ 7 h 38"/>
              <a:gd name="T46" fmla="*/ 23 w 43"/>
              <a:gd name="T47" fmla="*/ 4 h 38"/>
              <a:gd name="T48" fmla="*/ 22 w 43"/>
              <a:gd name="T49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7" name="Freeform 212">
            <a:extLst>
              <a:ext uri="{FF2B5EF4-FFF2-40B4-BE49-F238E27FC236}">
                <a16:creationId xmlns:a16="http://schemas.microsoft.com/office/drawing/2014/main" id="{99593E70-1735-44E9-8520-D33FAF7CF9A5}"/>
              </a:ext>
            </a:extLst>
          </p:cNvPr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6219960" y="5638097"/>
            <a:ext cx="6111" cy="57150"/>
          </a:xfrm>
          <a:custGeom>
            <a:avLst/>
            <a:gdLst>
              <a:gd name="T0" fmla="*/ 0 w 20"/>
              <a:gd name="T1" fmla="*/ 0 h 5"/>
              <a:gd name="T2" fmla="*/ 1 w 20"/>
              <a:gd name="T3" fmla="*/ 2 h 5"/>
              <a:gd name="T4" fmla="*/ 2 w 20"/>
              <a:gd name="T5" fmla="*/ 3 h 5"/>
              <a:gd name="T6" fmla="*/ 4 w 20"/>
              <a:gd name="T7" fmla="*/ 4 h 5"/>
              <a:gd name="T8" fmla="*/ 7 w 20"/>
              <a:gd name="T9" fmla="*/ 5 h 5"/>
              <a:gd name="T10" fmla="*/ 11 w 20"/>
              <a:gd name="T11" fmla="*/ 4 h 5"/>
              <a:gd name="T12" fmla="*/ 14 w 20"/>
              <a:gd name="T13" fmla="*/ 3 h 5"/>
              <a:gd name="T14" fmla="*/ 17 w 20"/>
              <a:gd name="T15" fmla="*/ 2 h 5"/>
              <a:gd name="T16" fmla="*/ 20 w 20"/>
              <a:gd name="T17" fmla="*/ 0 h 5"/>
              <a:gd name="T18" fmla="*/ 0 w 20"/>
              <a:gd name="T19" fmla="*/ 0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8" name="Freeform 214">
            <a:extLst>
              <a:ext uri="{FF2B5EF4-FFF2-40B4-BE49-F238E27FC236}">
                <a16:creationId xmlns:a16="http://schemas.microsoft.com/office/drawing/2014/main" id="{B64F7BE9-7C58-4D7E-9C38-16117D24B7FF}"/>
              </a:ext>
            </a:extLst>
          </p:cNvPr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6328435" y="5649210"/>
            <a:ext cx="119169" cy="100013"/>
          </a:xfrm>
          <a:custGeom>
            <a:avLst/>
            <a:gdLst>
              <a:gd name="T0" fmla="*/ 235 w 281"/>
              <a:gd name="T1" fmla="*/ 168 h 193"/>
              <a:gd name="T2" fmla="*/ 188 w 281"/>
              <a:gd name="T3" fmla="*/ 171 h 193"/>
              <a:gd name="T4" fmla="*/ 168 w 281"/>
              <a:gd name="T5" fmla="*/ 168 h 193"/>
              <a:gd name="T6" fmla="*/ 155 w 281"/>
              <a:gd name="T7" fmla="*/ 164 h 193"/>
              <a:gd name="T8" fmla="*/ 130 w 281"/>
              <a:gd name="T9" fmla="*/ 135 h 193"/>
              <a:gd name="T10" fmla="*/ 104 w 281"/>
              <a:gd name="T11" fmla="*/ 94 h 193"/>
              <a:gd name="T12" fmla="*/ 94 w 281"/>
              <a:gd name="T13" fmla="*/ 74 h 193"/>
              <a:gd name="T14" fmla="*/ 87 w 281"/>
              <a:gd name="T15" fmla="*/ 51 h 193"/>
              <a:gd name="T16" fmla="*/ 83 w 281"/>
              <a:gd name="T17" fmla="*/ 27 h 193"/>
              <a:gd name="T18" fmla="*/ 43 w 281"/>
              <a:gd name="T19" fmla="*/ 0 h 193"/>
              <a:gd name="T20" fmla="*/ 28 w 281"/>
              <a:gd name="T21" fmla="*/ 52 h 193"/>
              <a:gd name="T22" fmla="*/ 18 w 281"/>
              <a:gd name="T23" fmla="*/ 61 h 193"/>
              <a:gd name="T24" fmla="*/ 6 w 281"/>
              <a:gd name="T25" fmla="*/ 69 h 193"/>
              <a:gd name="T26" fmla="*/ 0 w 281"/>
              <a:gd name="T27" fmla="*/ 73 h 193"/>
              <a:gd name="T28" fmla="*/ 1 w 281"/>
              <a:gd name="T29" fmla="*/ 75 h 193"/>
              <a:gd name="T30" fmla="*/ 9 w 281"/>
              <a:gd name="T31" fmla="*/ 81 h 193"/>
              <a:gd name="T32" fmla="*/ 37 w 281"/>
              <a:gd name="T33" fmla="*/ 111 h 193"/>
              <a:gd name="T34" fmla="*/ 45 w 281"/>
              <a:gd name="T35" fmla="*/ 122 h 193"/>
              <a:gd name="T36" fmla="*/ 53 w 281"/>
              <a:gd name="T37" fmla="*/ 129 h 193"/>
              <a:gd name="T38" fmla="*/ 62 w 281"/>
              <a:gd name="T39" fmla="*/ 134 h 193"/>
              <a:gd name="T40" fmla="*/ 71 w 281"/>
              <a:gd name="T41" fmla="*/ 136 h 193"/>
              <a:gd name="T42" fmla="*/ 76 w 281"/>
              <a:gd name="T43" fmla="*/ 141 h 193"/>
              <a:gd name="T44" fmla="*/ 79 w 281"/>
              <a:gd name="T45" fmla="*/ 148 h 193"/>
              <a:gd name="T46" fmla="*/ 86 w 281"/>
              <a:gd name="T47" fmla="*/ 153 h 193"/>
              <a:gd name="T48" fmla="*/ 99 w 281"/>
              <a:gd name="T49" fmla="*/ 154 h 193"/>
              <a:gd name="T50" fmla="*/ 106 w 281"/>
              <a:gd name="T51" fmla="*/ 157 h 193"/>
              <a:gd name="T52" fmla="*/ 109 w 281"/>
              <a:gd name="T53" fmla="*/ 163 h 193"/>
              <a:gd name="T54" fmla="*/ 109 w 281"/>
              <a:gd name="T55" fmla="*/ 179 h 193"/>
              <a:gd name="T56" fmla="*/ 111 w 281"/>
              <a:gd name="T57" fmla="*/ 189 h 193"/>
              <a:gd name="T58" fmla="*/ 115 w 281"/>
              <a:gd name="T59" fmla="*/ 193 h 193"/>
              <a:gd name="T60" fmla="*/ 129 w 281"/>
              <a:gd name="T61" fmla="*/ 193 h 193"/>
              <a:gd name="T62" fmla="*/ 164 w 281"/>
              <a:gd name="T63" fmla="*/ 191 h 193"/>
              <a:gd name="T64" fmla="*/ 180 w 281"/>
              <a:gd name="T65" fmla="*/ 189 h 193"/>
              <a:gd name="T66" fmla="*/ 192 w 281"/>
              <a:gd name="T67" fmla="*/ 186 h 193"/>
              <a:gd name="T68" fmla="*/ 212 w 281"/>
              <a:gd name="T69" fmla="*/ 188 h 193"/>
              <a:gd name="T70" fmla="*/ 281 w 281"/>
              <a:gd name="T71" fmla="*/ 167 h 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09" name="Freeform 215">
            <a:extLst>
              <a:ext uri="{FF2B5EF4-FFF2-40B4-BE49-F238E27FC236}">
                <a16:creationId xmlns:a16="http://schemas.microsoft.com/office/drawing/2014/main" id="{852EE1C3-74F9-436F-A769-920070CE9786}"/>
              </a:ext>
            </a:extLst>
          </p:cNvPr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5897591" y="3415598"/>
            <a:ext cx="50418" cy="58737"/>
          </a:xfrm>
          <a:custGeom>
            <a:avLst/>
            <a:gdLst>
              <a:gd name="T0" fmla="*/ 0 w 120"/>
              <a:gd name="T1" fmla="*/ 18 h 56"/>
              <a:gd name="T2" fmla="*/ 4 w 120"/>
              <a:gd name="T3" fmla="*/ 26 h 56"/>
              <a:gd name="T4" fmla="*/ 10 w 120"/>
              <a:gd name="T5" fmla="*/ 33 h 56"/>
              <a:gd name="T6" fmla="*/ 15 w 120"/>
              <a:gd name="T7" fmla="*/ 37 h 56"/>
              <a:gd name="T8" fmla="*/ 21 w 120"/>
              <a:gd name="T9" fmla="*/ 41 h 56"/>
              <a:gd name="T10" fmla="*/ 27 w 120"/>
              <a:gd name="T11" fmla="*/ 44 h 56"/>
              <a:gd name="T12" fmla="*/ 35 w 120"/>
              <a:gd name="T13" fmla="*/ 46 h 56"/>
              <a:gd name="T14" fmla="*/ 43 w 120"/>
              <a:gd name="T15" fmla="*/ 48 h 56"/>
              <a:gd name="T16" fmla="*/ 51 w 120"/>
              <a:gd name="T17" fmla="*/ 49 h 56"/>
              <a:gd name="T18" fmla="*/ 67 w 120"/>
              <a:gd name="T19" fmla="*/ 50 h 56"/>
              <a:gd name="T20" fmla="*/ 85 w 120"/>
              <a:gd name="T21" fmla="*/ 51 h 56"/>
              <a:gd name="T22" fmla="*/ 102 w 120"/>
              <a:gd name="T23" fmla="*/ 52 h 56"/>
              <a:gd name="T24" fmla="*/ 120 w 120"/>
              <a:gd name="T25" fmla="*/ 56 h 56"/>
              <a:gd name="T26" fmla="*/ 120 w 120"/>
              <a:gd name="T27" fmla="*/ 37 h 56"/>
              <a:gd name="T28" fmla="*/ 111 w 120"/>
              <a:gd name="T29" fmla="*/ 34 h 56"/>
              <a:gd name="T30" fmla="*/ 102 w 120"/>
              <a:gd name="T31" fmla="*/ 30 h 56"/>
              <a:gd name="T32" fmla="*/ 94 w 120"/>
              <a:gd name="T33" fmla="*/ 24 h 56"/>
              <a:gd name="T34" fmla="*/ 88 w 120"/>
              <a:gd name="T35" fmla="*/ 18 h 56"/>
              <a:gd name="T36" fmla="*/ 81 w 120"/>
              <a:gd name="T37" fmla="*/ 13 h 56"/>
              <a:gd name="T38" fmla="*/ 75 w 120"/>
              <a:gd name="T39" fmla="*/ 7 h 56"/>
              <a:gd name="T40" fmla="*/ 67 w 120"/>
              <a:gd name="T41" fmla="*/ 3 h 56"/>
              <a:gd name="T42" fmla="*/ 60 w 120"/>
              <a:gd name="T43" fmla="*/ 0 h 56"/>
              <a:gd name="T44" fmla="*/ 55 w 120"/>
              <a:gd name="T45" fmla="*/ 1 h 56"/>
              <a:gd name="T46" fmla="*/ 48 w 120"/>
              <a:gd name="T47" fmla="*/ 3 h 56"/>
              <a:gd name="T48" fmla="*/ 41 w 120"/>
              <a:gd name="T49" fmla="*/ 6 h 56"/>
              <a:gd name="T50" fmla="*/ 33 w 120"/>
              <a:gd name="T51" fmla="*/ 9 h 56"/>
              <a:gd name="T52" fmla="*/ 24 w 120"/>
              <a:gd name="T53" fmla="*/ 13 h 56"/>
              <a:gd name="T54" fmla="*/ 16 w 120"/>
              <a:gd name="T55" fmla="*/ 15 h 56"/>
              <a:gd name="T56" fmla="*/ 8 w 120"/>
              <a:gd name="T57" fmla="*/ 18 h 56"/>
              <a:gd name="T58" fmla="*/ 0 w 120"/>
              <a:gd name="T59" fmla="*/ 18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0" name="Freeform 216">
            <a:extLst>
              <a:ext uri="{FF2B5EF4-FFF2-40B4-BE49-F238E27FC236}">
                <a16:creationId xmlns:a16="http://schemas.microsoft.com/office/drawing/2014/main" id="{FAC8E131-87F3-4334-8B78-74D5ECBE95D5}"/>
              </a:ext>
            </a:extLst>
          </p:cNvPr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5760089" y="3277484"/>
            <a:ext cx="241394" cy="109538"/>
          </a:xfrm>
          <a:custGeom>
            <a:avLst/>
            <a:gdLst>
              <a:gd name="T0" fmla="*/ 127 w 574"/>
              <a:gd name="T1" fmla="*/ 1 h 204"/>
              <a:gd name="T2" fmla="*/ 95 w 574"/>
              <a:gd name="T3" fmla="*/ 6 h 204"/>
              <a:gd name="T4" fmla="*/ 66 w 574"/>
              <a:gd name="T5" fmla="*/ 16 h 204"/>
              <a:gd name="T6" fmla="*/ 43 w 574"/>
              <a:gd name="T7" fmla="*/ 26 h 204"/>
              <a:gd name="T8" fmla="*/ 30 w 574"/>
              <a:gd name="T9" fmla="*/ 35 h 204"/>
              <a:gd name="T10" fmla="*/ 16 w 574"/>
              <a:gd name="T11" fmla="*/ 51 h 204"/>
              <a:gd name="T12" fmla="*/ 4 w 574"/>
              <a:gd name="T13" fmla="*/ 71 h 204"/>
              <a:gd name="T14" fmla="*/ 0 w 574"/>
              <a:gd name="T15" fmla="*/ 82 h 204"/>
              <a:gd name="T16" fmla="*/ 1 w 574"/>
              <a:gd name="T17" fmla="*/ 86 h 204"/>
              <a:gd name="T18" fmla="*/ 13 w 574"/>
              <a:gd name="T19" fmla="*/ 86 h 204"/>
              <a:gd name="T20" fmla="*/ 29 w 574"/>
              <a:gd name="T21" fmla="*/ 83 h 204"/>
              <a:gd name="T22" fmla="*/ 52 w 574"/>
              <a:gd name="T23" fmla="*/ 75 h 204"/>
              <a:gd name="T24" fmla="*/ 80 w 574"/>
              <a:gd name="T25" fmla="*/ 58 h 204"/>
              <a:gd name="T26" fmla="*/ 102 w 574"/>
              <a:gd name="T27" fmla="*/ 46 h 204"/>
              <a:gd name="T28" fmla="*/ 119 w 574"/>
              <a:gd name="T29" fmla="*/ 40 h 204"/>
              <a:gd name="T30" fmla="*/ 175 w 574"/>
              <a:gd name="T31" fmla="*/ 37 h 204"/>
              <a:gd name="T32" fmla="*/ 176 w 574"/>
              <a:gd name="T33" fmla="*/ 48 h 204"/>
              <a:gd name="T34" fmla="*/ 180 w 574"/>
              <a:gd name="T35" fmla="*/ 55 h 204"/>
              <a:gd name="T36" fmla="*/ 184 w 574"/>
              <a:gd name="T37" fmla="*/ 59 h 204"/>
              <a:gd name="T38" fmla="*/ 190 w 574"/>
              <a:gd name="T39" fmla="*/ 61 h 204"/>
              <a:gd name="T40" fmla="*/ 229 w 574"/>
              <a:gd name="T41" fmla="*/ 61 h 204"/>
              <a:gd name="T42" fmla="*/ 269 w 574"/>
              <a:gd name="T43" fmla="*/ 78 h 204"/>
              <a:gd name="T44" fmla="*/ 302 w 574"/>
              <a:gd name="T45" fmla="*/ 95 h 204"/>
              <a:gd name="T46" fmla="*/ 336 w 574"/>
              <a:gd name="T47" fmla="*/ 111 h 204"/>
              <a:gd name="T48" fmla="*/ 375 w 574"/>
              <a:gd name="T49" fmla="*/ 123 h 204"/>
              <a:gd name="T50" fmla="*/ 376 w 574"/>
              <a:gd name="T51" fmla="*/ 134 h 204"/>
              <a:gd name="T52" fmla="*/ 382 w 574"/>
              <a:gd name="T53" fmla="*/ 142 h 204"/>
              <a:gd name="T54" fmla="*/ 396 w 574"/>
              <a:gd name="T55" fmla="*/ 152 h 204"/>
              <a:gd name="T56" fmla="*/ 428 w 574"/>
              <a:gd name="T57" fmla="*/ 166 h 204"/>
              <a:gd name="T58" fmla="*/ 402 w 574"/>
              <a:gd name="T59" fmla="*/ 191 h 204"/>
              <a:gd name="T60" fmla="*/ 407 w 574"/>
              <a:gd name="T61" fmla="*/ 197 h 204"/>
              <a:gd name="T62" fmla="*/ 414 w 574"/>
              <a:gd name="T63" fmla="*/ 201 h 204"/>
              <a:gd name="T64" fmla="*/ 429 w 574"/>
              <a:gd name="T65" fmla="*/ 204 h 204"/>
              <a:gd name="T66" fmla="*/ 461 w 574"/>
              <a:gd name="T67" fmla="*/ 204 h 204"/>
              <a:gd name="T68" fmla="*/ 555 w 574"/>
              <a:gd name="T69" fmla="*/ 189 h 204"/>
              <a:gd name="T70" fmla="*/ 559 w 574"/>
              <a:gd name="T71" fmla="*/ 183 h 204"/>
              <a:gd name="T72" fmla="*/ 565 w 574"/>
              <a:gd name="T73" fmla="*/ 177 h 204"/>
              <a:gd name="T74" fmla="*/ 572 w 574"/>
              <a:gd name="T75" fmla="*/ 173 h 204"/>
              <a:gd name="T76" fmla="*/ 574 w 574"/>
              <a:gd name="T77" fmla="*/ 161 h 204"/>
              <a:gd name="T78" fmla="*/ 561 w 574"/>
              <a:gd name="T79" fmla="*/ 153 h 204"/>
              <a:gd name="T80" fmla="*/ 532 w 574"/>
              <a:gd name="T81" fmla="*/ 148 h 204"/>
              <a:gd name="T82" fmla="*/ 504 w 574"/>
              <a:gd name="T83" fmla="*/ 138 h 204"/>
              <a:gd name="T84" fmla="*/ 475 w 574"/>
              <a:gd name="T85" fmla="*/ 124 h 204"/>
              <a:gd name="T86" fmla="*/ 433 w 574"/>
              <a:gd name="T87" fmla="*/ 100 h 204"/>
              <a:gd name="T88" fmla="*/ 383 w 574"/>
              <a:gd name="T89" fmla="*/ 68 h 204"/>
              <a:gd name="T90" fmla="*/ 358 w 574"/>
              <a:gd name="T91" fmla="*/ 54 h 204"/>
              <a:gd name="T92" fmla="*/ 348 w 574"/>
              <a:gd name="T93" fmla="*/ 52 h 204"/>
              <a:gd name="T94" fmla="*/ 330 w 574"/>
              <a:gd name="T95" fmla="*/ 52 h 204"/>
              <a:gd name="T96" fmla="*/ 312 w 574"/>
              <a:gd name="T97" fmla="*/ 51 h 204"/>
              <a:gd name="T98" fmla="*/ 302 w 574"/>
              <a:gd name="T99" fmla="*/ 49 h 204"/>
              <a:gd name="T100" fmla="*/ 294 w 574"/>
              <a:gd name="T101" fmla="*/ 43 h 204"/>
              <a:gd name="T102" fmla="*/ 290 w 574"/>
              <a:gd name="T103" fmla="*/ 32 h 204"/>
              <a:gd name="T104" fmla="*/ 142 w 574"/>
              <a:gd name="T105" fmla="*/ 0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1" name="Freeform 217">
            <a:extLst>
              <a:ext uri="{FF2B5EF4-FFF2-40B4-BE49-F238E27FC236}">
                <a16:creationId xmlns:a16="http://schemas.microsoft.com/office/drawing/2014/main" id="{0D267868-6AFD-4222-94D2-7B270BAA5CEE}"/>
              </a:ext>
            </a:extLst>
          </p:cNvPr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6053428" y="3380672"/>
            <a:ext cx="85557" cy="69850"/>
          </a:xfrm>
          <a:custGeom>
            <a:avLst/>
            <a:gdLst>
              <a:gd name="T0" fmla="*/ 41 w 207"/>
              <a:gd name="T1" fmla="*/ 129 h 129"/>
              <a:gd name="T2" fmla="*/ 50 w 207"/>
              <a:gd name="T3" fmla="*/ 121 h 129"/>
              <a:gd name="T4" fmla="*/ 60 w 207"/>
              <a:gd name="T5" fmla="*/ 115 h 129"/>
              <a:gd name="T6" fmla="*/ 70 w 207"/>
              <a:gd name="T7" fmla="*/ 110 h 129"/>
              <a:gd name="T8" fmla="*/ 81 w 207"/>
              <a:gd name="T9" fmla="*/ 105 h 129"/>
              <a:gd name="T10" fmla="*/ 105 w 207"/>
              <a:gd name="T11" fmla="*/ 99 h 129"/>
              <a:gd name="T12" fmla="*/ 129 w 207"/>
              <a:gd name="T13" fmla="*/ 92 h 129"/>
              <a:gd name="T14" fmla="*/ 152 w 207"/>
              <a:gd name="T15" fmla="*/ 87 h 129"/>
              <a:gd name="T16" fmla="*/ 173 w 207"/>
              <a:gd name="T17" fmla="*/ 81 h 129"/>
              <a:gd name="T18" fmla="*/ 182 w 207"/>
              <a:gd name="T19" fmla="*/ 77 h 129"/>
              <a:gd name="T20" fmla="*/ 191 w 207"/>
              <a:gd name="T21" fmla="*/ 73 h 129"/>
              <a:gd name="T22" fmla="*/ 200 w 207"/>
              <a:gd name="T23" fmla="*/ 67 h 129"/>
              <a:gd name="T24" fmla="*/ 207 w 207"/>
              <a:gd name="T25" fmla="*/ 61 h 129"/>
              <a:gd name="T26" fmla="*/ 198 w 207"/>
              <a:gd name="T27" fmla="*/ 54 h 129"/>
              <a:gd name="T28" fmla="*/ 188 w 207"/>
              <a:gd name="T29" fmla="*/ 47 h 129"/>
              <a:gd name="T30" fmla="*/ 179 w 207"/>
              <a:gd name="T31" fmla="*/ 42 h 129"/>
              <a:gd name="T32" fmla="*/ 169 w 207"/>
              <a:gd name="T33" fmla="*/ 36 h 129"/>
              <a:gd name="T34" fmla="*/ 150 w 207"/>
              <a:gd name="T35" fmla="*/ 29 h 129"/>
              <a:gd name="T36" fmla="*/ 129 w 207"/>
              <a:gd name="T37" fmla="*/ 23 h 129"/>
              <a:gd name="T38" fmla="*/ 107 w 207"/>
              <a:gd name="T39" fmla="*/ 18 h 129"/>
              <a:gd name="T40" fmla="*/ 85 w 207"/>
              <a:gd name="T41" fmla="*/ 13 h 129"/>
              <a:gd name="T42" fmla="*/ 63 w 207"/>
              <a:gd name="T43" fmla="*/ 7 h 129"/>
              <a:gd name="T44" fmla="*/ 41 w 207"/>
              <a:gd name="T45" fmla="*/ 0 h 129"/>
              <a:gd name="T46" fmla="*/ 0 w 207"/>
              <a:gd name="T47" fmla="*/ 0 h 129"/>
              <a:gd name="T48" fmla="*/ 1 w 207"/>
              <a:gd name="T49" fmla="*/ 6 h 129"/>
              <a:gd name="T50" fmla="*/ 2 w 207"/>
              <a:gd name="T51" fmla="*/ 13 h 129"/>
              <a:gd name="T52" fmla="*/ 4 w 207"/>
              <a:gd name="T53" fmla="*/ 19 h 129"/>
              <a:gd name="T54" fmla="*/ 6 w 207"/>
              <a:gd name="T55" fmla="*/ 25 h 129"/>
              <a:gd name="T56" fmla="*/ 10 w 207"/>
              <a:gd name="T57" fmla="*/ 35 h 129"/>
              <a:gd name="T58" fmla="*/ 13 w 207"/>
              <a:gd name="T59" fmla="*/ 46 h 129"/>
              <a:gd name="T60" fmla="*/ 17 w 207"/>
              <a:gd name="T61" fmla="*/ 54 h 129"/>
              <a:gd name="T62" fmla="*/ 18 w 207"/>
              <a:gd name="T63" fmla="*/ 62 h 129"/>
              <a:gd name="T64" fmla="*/ 17 w 207"/>
              <a:gd name="T65" fmla="*/ 65 h 129"/>
              <a:gd name="T66" fmla="*/ 14 w 207"/>
              <a:gd name="T67" fmla="*/ 68 h 129"/>
              <a:gd name="T68" fmla="*/ 11 w 207"/>
              <a:gd name="T69" fmla="*/ 71 h 129"/>
              <a:gd name="T70" fmla="*/ 7 w 207"/>
              <a:gd name="T71" fmla="*/ 73 h 129"/>
              <a:gd name="T72" fmla="*/ 0 w 207"/>
              <a:gd name="T73" fmla="*/ 104 h 129"/>
              <a:gd name="T74" fmla="*/ 4 w 207"/>
              <a:gd name="T75" fmla="*/ 106 h 129"/>
              <a:gd name="T76" fmla="*/ 13 w 207"/>
              <a:gd name="T77" fmla="*/ 110 h 129"/>
              <a:gd name="T78" fmla="*/ 19 w 207"/>
              <a:gd name="T79" fmla="*/ 113 h 129"/>
              <a:gd name="T80" fmla="*/ 25 w 207"/>
              <a:gd name="T81" fmla="*/ 117 h 129"/>
              <a:gd name="T82" fmla="*/ 33 w 207"/>
              <a:gd name="T83" fmla="*/ 122 h 129"/>
              <a:gd name="T84" fmla="*/ 41 w 207"/>
              <a:gd name="T85" fmla="*/ 129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12" name="Freeform 218">
            <a:extLst>
              <a:ext uri="{FF2B5EF4-FFF2-40B4-BE49-F238E27FC236}">
                <a16:creationId xmlns:a16="http://schemas.microsoft.com/office/drawing/2014/main" id="{25E45BB7-CD3C-46CA-A52D-EC1D268303B5}"/>
              </a:ext>
            </a:extLst>
          </p:cNvPr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5637863" y="3440998"/>
            <a:ext cx="32085" cy="84137"/>
          </a:xfrm>
          <a:custGeom>
            <a:avLst/>
            <a:gdLst>
              <a:gd name="T0" fmla="*/ 72 w 72"/>
              <a:gd name="T1" fmla="*/ 0 h 154"/>
              <a:gd name="T2" fmla="*/ 69 w 72"/>
              <a:gd name="T3" fmla="*/ 4 h 154"/>
              <a:gd name="T4" fmla="*/ 67 w 72"/>
              <a:gd name="T5" fmla="*/ 9 h 154"/>
              <a:gd name="T6" fmla="*/ 66 w 72"/>
              <a:gd name="T7" fmla="*/ 13 h 154"/>
              <a:gd name="T8" fmla="*/ 66 w 72"/>
              <a:gd name="T9" fmla="*/ 18 h 154"/>
              <a:gd name="T10" fmla="*/ 66 w 72"/>
              <a:gd name="T11" fmla="*/ 27 h 154"/>
              <a:gd name="T12" fmla="*/ 66 w 72"/>
              <a:gd name="T13" fmla="*/ 37 h 154"/>
              <a:gd name="T14" fmla="*/ 69 w 72"/>
              <a:gd name="T15" fmla="*/ 43 h 154"/>
              <a:gd name="T16" fmla="*/ 71 w 72"/>
              <a:gd name="T17" fmla="*/ 50 h 154"/>
              <a:gd name="T18" fmla="*/ 71 w 72"/>
              <a:gd name="T19" fmla="*/ 57 h 154"/>
              <a:gd name="T20" fmla="*/ 71 w 72"/>
              <a:gd name="T21" fmla="*/ 65 h 154"/>
              <a:gd name="T22" fmla="*/ 69 w 72"/>
              <a:gd name="T23" fmla="*/ 73 h 154"/>
              <a:gd name="T24" fmla="*/ 67 w 72"/>
              <a:gd name="T25" fmla="*/ 82 h 154"/>
              <a:gd name="T26" fmla="*/ 65 w 72"/>
              <a:gd name="T27" fmla="*/ 91 h 154"/>
              <a:gd name="T28" fmla="*/ 61 w 72"/>
              <a:gd name="T29" fmla="*/ 100 h 154"/>
              <a:gd name="T30" fmla="*/ 53 w 72"/>
              <a:gd name="T31" fmla="*/ 116 h 154"/>
              <a:gd name="T32" fmla="*/ 44 w 72"/>
              <a:gd name="T33" fmla="*/ 131 h 154"/>
              <a:gd name="T34" fmla="*/ 34 w 72"/>
              <a:gd name="T35" fmla="*/ 144 h 154"/>
              <a:gd name="T36" fmla="*/ 26 w 72"/>
              <a:gd name="T37" fmla="*/ 154 h 154"/>
              <a:gd name="T38" fmla="*/ 26 w 72"/>
              <a:gd name="T39" fmla="*/ 141 h 154"/>
              <a:gd name="T40" fmla="*/ 15 w 72"/>
              <a:gd name="T41" fmla="*/ 144 h 154"/>
              <a:gd name="T42" fmla="*/ 0 w 72"/>
              <a:gd name="T43" fmla="*/ 148 h 154"/>
              <a:gd name="T44" fmla="*/ 3 w 72"/>
              <a:gd name="T45" fmla="*/ 129 h 154"/>
              <a:gd name="T46" fmla="*/ 8 w 72"/>
              <a:gd name="T47" fmla="*/ 105 h 154"/>
              <a:gd name="T48" fmla="*/ 9 w 72"/>
              <a:gd name="T49" fmla="*/ 92 h 154"/>
              <a:gd name="T50" fmla="*/ 12 w 72"/>
              <a:gd name="T51" fmla="*/ 77 h 154"/>
              <a:gd name="T52" fmla="*/ 15 w 72"/>
              <a:gd name="T53" fmla="*/ 63 h 154"/>
              <a:gd name="T54" fmla="*/ 20 w 72"/>
              <a:gd name="T55" fmla="*/ 49 h 154"/>
              <a:gd name="T56" fmla="*/ 20 w 72"/>
              <a:gd name="T57" fmla="*/ 0 h 154"/>
              <a:gd name="T58" fmla="*/ 25 w 72"/>
              <a:gd name="T59" fmla="*/ 0 h 154"/>
              <a:gd name="T60" fmla="*/ 38 w 72"/>
              <a:gd name="T61" fmla="*/ 0 h 154"/>
              <a:gd name="T62" fmla="*/ 56 w 72"/>
              <a:gd name="T63" fmla="*/ 0 h 154"/>
              <a:gd name="T64" fmla="*/ 72 w 72"/>
              <a:gd name="T65" fmla="*/ 0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3" name="Freeform 219">
            <a:extLst>
              <a:ext uri="{FF2B5EF4-FFF2-40B4-BE49-F238E27FC236}">
                <a16:creationId xmlns:a16="http://schemas.microsoft.com/office/drawing/2014/main" id="{670D73C9-6AA7-421D-B731-40F23E43CA08}"/>
              </a:ext>
            </a:extLst>
          </p:cNvPr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5561474" y="3440997"/>
            <a:ext cx="90141" cy="146050"/>
          </a:xfrm>
          <a:custGeom>
            <a:avLst/>
            <a:gdLst>
              <a:gd name="T0" fmla="*/ 8 w 214"/>
              <a:gd name="T1" fmla="*/ 207 h 271"/>
              <a:gd name="T2" fmla="*/ 12 w 214"/>
              <a:gd name="T3" fmla="*/ 181 h 271"/>
              <a:gd name="T4" fmla="*/ 24 w 214"/>
              <a:gd name="T5" fmla="*/ 148 h 271"/>
              <a:gd name="T6" fmla="*/ 35 w 214"/>
              <a:gd name="T7" fmla="*/ 118 h 271"/>
              <a:gd name="T8" fmla="*/ 44 w 214"/>
              <a:gd name="T9" fmla="*/ 112 h 271"/>
              <a:gd name="T10" fmla="*/ 65 w 214"/>
              <a:gd name="T11" fmla="*/ 111 h 271"/>
              <a:gd name="T12" fmla="*/ 89 w 214"/>
              <a:gd name="T13" fmla="*/ 111 h 271"/>
              <a:gd name="T14" fmla="*/ 106 w 214"/>
              <a:gd name="T15" fmla="*/ 110 h 271"/>
              <a:gd name="T16" fmla="*/ 120 w 214"/>
              <a:gd name="T17" fmla="*/ 105 h 271"/>
              <a:gd name="T18" fmla="*/ 130 w 214"/>
              <a:gd name="T19" fmla="*/ 94 h 271"/>
              <a:gd name="T20" fmla="*/ 113 w 214"/>
              <a:gd name="T21" fmla="*/ 73 h 271"/>
              <a:gd name="T22" fmla="*/ 86 w 214"/>
              <a:gd name="T23" fmla="*/ 58 h 271"/>
              <a:gd name="T24" fmla="*/ 77 w 214"/>
              <a:gd name="T25" fmla="*/ 49 h 271"/>
              <a:gd name="T26" fmla="*/ 74 w 214"/>
              <a:gd name="T27" fmla="*/ 41 h 271"/>
              <a:gd name="T28" fmla="*/ 75 w 214"/>
              <a:gd name="T29" fmla="*/ 34 h 271"/>
              <a:gd name="T30" fmla="*/ 82 w 214"/>
              <a:gd name="T31" fmla="*/ 28 h 271"/>
              <a:gd name="T32" fmla="*/ 101 w 214"/>
              <a:gd name="T33" fmla="*/ 19 h 271"/>
              <a:gd name="T34" fmla="*/ 150 w 214"/>
              <a:gd name="T35" fmla="*/ 3 h 271"/>
              <a:gd name="T36" fmla="*/ 180 w 214"/>
              <a:gd name="T37" fmla="*/ 0 h 271"/>
              <a:gd name="T38" fmla="*/ 198 w 214"/>
              <a:gd name="T39" fmla="*/ 0 h 271"/>
              <a:gd name="T40" fmla="*/ 207 w 214"/>
              <a:gd name="T41" fmla="*/ 49 h 271"/>
              <a:gd name="T42" fmla="*/ 199 w 214"/>
              <a:gd name="T43" fmla="*/ 77 h 271"/>
              <a:gd name="T44" fmla="*/ 195 w 214"/>
              <a:gd name="T45" fmla="*/ 105 h 271"/>
              <a:gd name="T46" fmla="*/ 187 w 214"/>
              <a:gd name="T47" fmla="*/ 148 h 271"/>
              <a:gd name="T48" fmla="*/ 213 w 214"/>
              <a:gd name="T49" fmla="*/ 154 h 271"/>
              <a:gd name="T50" fmla="*/ 214 w 214"/>
              <a:gd name="T51" fmla="*/ 166 h 271"/>
              <a:gd name="T52" fmla="*/ 210 w 214"/>
              <a:gd name="T53" fmla="*/ 174 h 271"/>
              <a:gd name="T54" fmla="*/ 207 w 214"/>
              <a:gd name="T55" fmla="*/ 177 h 271"/>
              <a:gd name="T56" fmla="*/ 200 w 214"/>
              <a:gd name="T57" fmla="*/ 178 h 271"/>
              <a:gd name="T58" fmla="*/ 192 w 214"/>
              <a:gd name="T59" fmla="*/ 196 h 271"/>
              <a:gd name="T60" fmla="*/ 181 w 214"/>
              <a:gd name="T61" fmla="*/ 214 h 271"/>
              <a:gd name="T62" fmla="*/ 155 w 214"/>
              <a:gd name="T63" fmla="*/ 243 h 271"/>
              <a:gd name="T64" fmla="*/ 120 w 214"/>
              <a:gd name="T65" fmla="*/ 271 h 271"/>
              <a:gd name="T66" fmla="*/ 87 w 214"/>
              <a:gd name="T67" fmla="*/ 261 h 271"/>
              <a:gd name="T68" fmla="*/ 55 w 214"/>
              <a:gd name="T69" fmla="*/ 248 h 271"/>
              <a:gd name="T70" fmla="*/ 0 w 214"/>
              <a:gd name="T71" fmla="*/ 221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US"/>
          </a:p>
        </p:txBody>
      </p:sp>
      <p:sp>
        <p:nvSpPr>
          <p:cNvPr id="214" name="Freeform 220">
            <a:extLst>
              <a:ext uri="{FF2B5EF4-FFF2-40B4-BE49-F238E27FC236}">
                <a16:creationId xmlns:a16="http://schemas.microsoft.com/office/drawing/2014/main" id="{527CCF8C-65B6-4925-9FDC-E4E4B7CAD7AA}"/>
              </a:ext>
            </a:extLst>
          </p:cNvPr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5607307" y="3552122"/>
            <a:ext cx="68752" cy="57150"/>
          </a:xfrm>
          <a:custGeom>
            <a:avLst/>
            <a:gdLst>
              <a:gd name="T0" fmla="*/ 60 w 153"/>
              <a:gd name="T1" fmla="*/ 0 h 80"/>
              <a:gd name="T2" fmla="*/ 83 w 153"/>
              <a:gd name="T3" fmla="*/ 14 h 80"/>
              <a:gd name="T4" fmla="*/ 104 w 153"/>
              <a:gd name="T5" fmla="*/ 24 h 80"/>
              <a:gd name="T6" fmla="*/ 115 w 153"/>
              <a:gd name="T7" fmla="*/ 28 h 80"/>
              <a:gd name="T8" fmla="*/ 126 w 153"/>
              <a:gd name="T9" fmla="*/ 31 h 80"/>
              <a:gd name="T10" fmla="*/ 133 w 153"/>
              <a:gd name="T11" fmla="*/ 32 h 80"/>
              <a:gd name="T12" fmla="*/ 139 w 153"/>
              <a:gd name="T13" fmla="*/ 32 h 80"/>
              <a:gd name="T14" fmla="*/ 146 w 153"/>
              <a:gd name="T15" fmla="*/ 31 h 80"/>
              <a:gd name="T16" fmla="*/ 153 w 153"/>
              <a:gd name="T17" fmla="*/ 30 h 80"/>
              <a:gd name="T18" fmla="*/ 153 w 153"/>
              <a:gd name="T19" fmla="*/ 56 h 80"/>
              <a:gd name="T20" fmla="*/ 149 w 153"/>
              <a:gd name="T21" fmla="*/ 60 h 80"/>
              <a:gd name="T22" fmla="*/ 145 w 153"/>
              <a:gd name="T23" fmla="*/ 65 h 80"/>
              <a:gd name="T24" fmla="*/ 138 w 153"/>
              <a:gd name="T25" fmla="*/ 69 h 80"/>
              <a:gd name="T26" fmla="*/ 132 w 153"/>
              <a:gd name="T27" fmla="*/ 72 h 80"/>
              <a:gd name="T28" fmla="*/ 125 w 153"/>
              <a:gd name="T29" fmla="*/ 75 h 80"/>
              <a:gd name="T30" fmla="*/ 119 w 153"/>
              <a:gd name="T31" fmla="*/ 78 h 80"/>
              <a:gd name="T32" fmla="*/ 112 w 153"/>
              <a:gd name="T33" fmla="*/ 79 h 80"/>
              <a:gd name="T34" fmla="*/ 106 w 153"/>
              <a:gd name="T35" fmla="*/ 80 h 80"/>
              <a:gd name="T36" fmla="*/ 90 w 153"/>
              <a:gd name="T37" fmla="*/ 74 h 80"/>
              <a:gd name="T38" fmla="*/ 76 w 153"/>
              <a:gd name="T39" fmla="*/ 71 h 80"/>
              <a:gd name="T40" fmla="*/ 63 w 153"/>
              <a:gd name="T41" fmla="*/ 69 h 80"/>
              <a:gd name="T42" fmla="*/ 50 w 153"/>
              <a:gd name="T43" fmla="*/ 69 h 80"/>
              <a:gd name="T44" fmla="*/ 39 w 153"/>
              <a:gd name="T45" fmla="*/ 68 h 80"/>
              <a:gd name="T46" fmla="*/ 27 w 153"/>
              <a:gd name="T47" fmla="*/ 67 h 80"/>
              <a:gd name="T48" fmla="*/ 14 w 153"/>
              <a:gd name="T49" fmla="*/ 65 h 80"/>
              <a:gd name="T50" fmla="*/ 0 w 153"/>
              <a:gd name="T51" fmla="*/ 62 h 80"/>
              <a:gd name="T52" fmla="*/ 7 w 153"/>
              <a:gd name="T53" fmla="*/ 58 h 80"/>
              <a:gd name="T54" fmla="*/ 23 w 153"/>
              <a:gd name="T55" fmla="*/ 45 h 80"/>
              <a:gd name="T56" fmla="*/ 34 w 153"/>
              <a:gd name="T57" fmla="*/ 37 h 80"/>
              <a:gd name="T58" fmla="*/ 45 w 153"/>
              <a:gd name="T59" fmla="*/ 28 h 80"/>
              <a:gd name="T60" fmla="*/ 56 w 153"/>
              <a:gd name="T61" fmla="*/ 17 h 80"/>
              <a:gd name="T62" fmla="*/ 67 w 153"/>
              <a:gd name="T63" fmla="*/ 6 h 80"/>
              <a:gd name="T64" fmla="*/ 60 w 153"/>
              <a:gd name="T65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US"/>
          </a:p>
        </p:txBody>
      </p:sp>
      <p:sp>
        <p:nvSpPr>
          <p:cNvPr id="215" name="Freeform 221">
            <a:extLst>
              <a:ext uri="{FF2B5EF4-FFF2-40B4-BE49-F238E27FC236}">
                <a16:creationId xmlns:a16="http://schemas.microsoft.com/office/drawing/2014/main" id="{225F2ABD-04C2-44C4-8B22-05C0D9D69E02}"/>
              </a:ext>
            </a:extLst>
          </p:cNvPr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5637864" y="3514022"/>
            <a:ext cx="137503" cy="87312"/>
          </a:xfrm>
          <a:custGeom>
            <a:avLst/>
            <a:gdLst>
              <a:gd name="T0" fmla="*/ 0 w 332"/>
              <a:gd name="T1" fmla="*/ 77 h 169"/>
              <a:gd name="T2" fmla="*/ 44 w 332"/>
              <a:gd name="T3" fmla="*/ 101 h 169"/>
              <a:gd name="T4" fmla="*/ 66 w 332"/>
              <a:gd name="T5" fmla="*/ 108 h 169"/>
              <a:gd name="T6" fmla="*/ 79 w 332"/>
              <a:gd name="T7" fmla="*/ 109 h 169"/>
              <a:gd name="T8" fmla="*/ 93 w 332"/>
              <a:gd name="T9" fmla="*/ 107 h 169"/>
              <a:gd name="T10" fmla="*/ 90 w 332"/>
              <a:gd name="T11" fmla="*/ 144 h 169"/>
              <a:gd name="T12" fmla="*/ 95 w 332"/>
              <a:gd name="T13" fmla="*/ 154 h 169"/>
              <a:gd name="T14" fmla="*/ 99 w 332"/>
              <a:gd name="T15" fmla="*/ 163 h 169"/>
              <a:gd name="T16" fmla="*/ 107 w 332"/>
              <a:gd name="T17" fmla="*/ 168 h 169"/>
              <a:gd name="T18" fmla="*/ 117 w 332"/>
              <a:gd name="T19" fmla="*/ 169 h 169"/>
              <a:gd name="T20" fmla="*/ 123 w 332"/>
              <a:gd name="T21" fmla="*/ 166 h 169"/>
              <a:gd name="T22" fmla="*/ 132 w 332"/>
              <a:gd name="T23" fmla="*/ 157 h 169"/>
              <a:gd name="T24" fmla="*/ 146 w 332"/>
              <a:gd name="T25" fmla="*/ 136 h 169"/>
              <a:gd name="T26" fmla="*/ 174 w 332"/>
              <a:gd name="T27" fmla="*/ 115 h 169"/>
              <a:gd name="T28" fmla="*/ 214 w 332"/>
              <a:gd name="T29" fmla="*/ 96 h 169"/>
              <a:gd name="T30" fmla="*/ 256 w 332"/>
              <a:gd name="T31" fmla="*/ 80 h 169"/>
              <a:gd name="T32" fmla="*/ 304 w 332"/>
              <a:gd name="T33" fmla="*/ 65 h 169"/>
              <a:gd name="T34" fmla="*/ 332 w 332"/>
              <a:gd name="T35" fmla="*/ 46 h 169"/>
              <a:gd name="T36" fmla="*/ 332 w 332"/>
              <a:gd name="T37" fmla="*/ 22 h 169"/>
              <a:gd name="T38" fmla="*/ 320 w 332"/>
              <a:gd name="T39" fmla="*/ 2 h 169"/>
              <a:gd name="T40" fmla="*/ 283 w 332"/>
              <a:gd name="T41" fmla="*/ 1 h 169"/>
              <a:gd name="T42" fmla="*/ 234 w 332"/>
              <a:gd name="T43" fmla="*/ 0 h 169"/>
              <a:gd name="T44" fmla="*/ 180 w 332"/>
              <a:gd name="T45" fmla="*/ 1 h 169"/>
              <a:gd name="T46" fmla="*/ 131 w 332"/>
              <a:gd name="T47" fmla="*/ 4 h 169"/>
              <a:gd name="T48" fmla="*/ 90 w 332"/>
              <a:gd name="T49" fmla="*/ 10 h 169"/>
              <a:gd name="T50" fmla="*/ 59 w 332"/>
              <a:gd name="T51" fmla="*/ 19 h 169"/>
              <a:gd name="T52" fmla="*/ 42 w 332"/>
              <a:gd name="T53" fmla="*/ 22 h 169"/>
              <a:gd name="T54" fmla="*/ 35 w 332"/>
              <a:gd name="T55" fmla="*/ 23 h 169"/>
              <a:gd name="T56" fmla="*/ 34 w 332"/>
              <a:gd name="T57" fmla="*/ 26 h 169"/>
              <a:gd name="T58" fmla="*/ 33 w 332"/>
              <a:gd name="T59" fmla="*/ 38 h 169"/>
              <a:gd name="T60" fmla="*/ 29 w 332"/>
              <a:gd name="T61" fmla="*/ 44 h 169"/>
              <a:gd name="T62" fmla="*/ 23 w 332"/>
              <a:gd name="T63" fmla="*/ 46 h 169"/>
              <a:gd name="T64" fmla="*/ 19 w 332"/>
              <a:gd name="T65" fmla="*/ 55 h 169"/>
              <a:gd name="T66" fmla="*/ 11 w 332"/>
              <a:gd name="T67" fmla="*/ 72 h 169"/>
              <a:gd name="T68" fmla="*/ 7 w 332"/>
              <a:gd name="T69" fmla="*/ 83 h 1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16" name="Freeform 222">
            <a:extLst>
              <a:ext uri="{FF2B5EF4-FFF2-40B4-BE49-F238E27FC236}">
                <a16:creationId xmlns:a16="http://schemas.microsoft.com/office/drawing/2014/main" id="{DF9DB6C2-5FA4-4697-BA80-53DA73225BA2}"/>
              </a:ext>
            </a:extLst>
          </p:cNvPr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5654670" y="3544184"/>
            <a:ext cx="120697" cy="122238"/>
          </a:xfrm>
          <a:custGeom>
            <a:avLst/>
            <a:gdLst>
              <a:gd name="T0" fmla="*/ 44 w 286"/>
              <a:gd name="T1" fmla="*/ 86 h 235"/>
              <a:gd name="T2" fmla="*/ 49 w 286"/>
              <a:gd name="T3" fmla="*/ 96 h 235"/>
              <a:gd name="T4" fmla="*/ 53 w 286"/>
              <a:gd name="T5" fmla="*/ 105 h 235"/>
              <a:gd name="T6" fmla="*/ 61 w 286"/>
              <a:gd name="T7" fmla="*/ 110 h 235"/>
              <a:gd name="T8" fmla="*/ 71 w 286"/>
              <a:gd name="T9" fmla="*/ 111 h 235"/>
              <a:gd name="T10" fmla="*/ 77 w 286"/>
              <a:gd name="T11" fmla="*/ 108 h 235"/>
              <a:gd name="T12" fmla="*/ 86 w 286"/>
              <a:gd name="T13" fmla="*/ 99 h 235"/>
              <a:gd name="T14" fmla="*/ 100 w 286"/>
              <a:gd name="T15" fmla="*/ 78 h 235"/>
              <a:gd name="T16" fmla="*/ 128 w 286"/>
              <a:gd name="T17" fmla="*/ 57 h 235"/>
              <a:gd name="T18" fmla="*/ 168 w 286"/>
              <a:gd name="T19" fmla="*/ 38 h 235"/>
              <a:gd name="T20" fmla="*/ 210 w 286"/>
              <a:gd name="T21" fmla="*/ 22 h 235"/>
              <a:gd name="T22" fmla="*/ 258 w 286"/>
              <a:gd name="T23" fmla="*/ 7 h 235"/>
              <a:gd name="T24" fmla="*/ 286 w 286"/>
              <a:gd name="T25" fmla="*/ 11 h 235"/>
              <a:gd name="T26" fmla="*/ 282 w 286"/>
              <a:gd name="T27" fmla="*/ 32 h 235"/>
              <a:gd name="T28" fmla="*/ 272 w 286"/>
              <a:gd name="T29" fmla="*/ 70 h 235"/>
              <a:gd name="T30" fmla="*/ 254 w 286"/>
              <a:gd name="T31" fmla="*/ 128 h 235"/>
              <a:gd name="T32" fmla="*/ 244 w 286"/>
              <a:gd name="T33" fmla="*/ 174 h 235"/>
              <a:gd name="T34" fmla="*/ 240 w 286"/>
              <a:gd name="T35" fmla="*/ 206 h 235"/>
              <a:gd name="T36" fmla="*/ 146 w 286"/>
              <a:gd name="T37" fmla="*/ 216 h 235"/>
              <a:gd name="T38" fmla="*/ 138 w 286"/>
              <a:gd name="T39" fmla="*/ 218 h 235"/>
              <a:gd name="T40" fmla="*/ 132 w 286"/>
              <a:gd name="T41" fmla="*/ 223 h 235"/>
              <a:gd name="T42" fmla="*/ 127 w 286"/>
              <a:gd name="T43" fmla="*/ 235 h 235"/>
              <a:gd name="T44" fmla="*/ 109 w 286"/>
              <a:gd name="T45" fmla="*/ 217 h 235"/>
              <a:gd name="T46" fmla="*/ 94 w 286"/>
              <a:gd name="T47" fmla="*/ 199 h 235"/>
              <a:gd name="T48" fmla="*/ 69 w 286"/>
              <a:gd name="T49" fmla="*/ 160 h 235"/>
              <a:gd name="T50" fmla="*/ 55 w 286"/>
              <a:gd name="T51" fmla="*/ 142 h 235"/>
              <a:gd name="T52" fmla="*/ 41 w 286"/>
              <a:gd name="T53" fmla="*/ 125 h 235"/>
              <a:gd name="T54" fmla="*/ 22 w 286"/>
              <a:gd name="T55" fmla="*/ 110 h 235"/>
              <a:gd name="T56" fmla="*/ 0 w 286"/>
              <a:gd name="T57" fmla="*/ 99 h 235"/>
              <a:gd name="T58" fmla="*/ 13 w 286"/>
              <a:gd name="T59" fmla="*/ 97 h 235"/>
              <a:gd name="T60" fmla="*/ 26 w 286"/>
              <a:gd name="T61" fmla="*/ 91 h 235"/>
              <a:gd name="T62" fmla="*/ 39 w 286"/>
              <a:gd name="T63" fmla="*/ 84 h 235"/>
              <a:gd name="T64" fmla="*/ 47 w 286"/>
              <a:gd name="T65" fmla="*/ 75 h 23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US"/>
          </a:p>
        </p:txBody>
      </p:sp>
      <p:sp>
        <p:nvSpPr>
          <p:cNvPr id="217" name="Freeform 223">
            <a:extLst>
              <a:ext uri="{FF2B5EF4-FFF2-40B4-BE49-F238E27FC236}">
                <a16:creationId xmlns:a16="http://schemas.microsoft.com/office/drawing/2014/main" id="{D10655E0-9592-4912-B3EA-59CAF08B1632}"/>
              </a:ext>
            </a:extLst>
          </p:cNvPr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5703561" y="3656897"/>
            <a:ext cx="80974" cy="100012"/>
          </a:xfrm>
          <a:custGeom>
            <a:avLst/>
            <a:gdLst>
              <a:gd name="T0" fmla="*/ 188 w 205"/>
              <a:gd name="T1" fmla="*/ 185 h 191"/>
              <a:gd name="T2" fmla="*/ 175 w 205"/>
              <a:gd name="T3" fmla="*/ 185 h 191"/>
              <a:gd name="T4" fmla="*/ 158 w 205"/>
              <a:gd name="T5" fmla="*/ 185 h 191"/>
              <a:gd name="T6" fmla="*/ 144 w 205"/>
              <a:gd name="T7" fmla="*/ 180 h 191"/>
              <a:gd name="T8" fmla="*/ 136 w 205"/>
              <a:gd name="T9" fmla="*/ 173 h 191"/>
              <a:gd name="T10" fmla="*/ 129 w 205"/>
              <a:gd name="T11" fmla="*/ 163 h 191"/>
              <a:gd name="T12" fmla="*/ 120 w 205"/>
              <a:gd name="T13" fmla="*/ 147 h 191"/>
              <a:gd name="T14" fmla="*/ 110 w 205"/>
              <a:gd name="T15" fmla="*/ 131 h 191"/>
              <a:gd name="T16" fmla="*/ 99 w 205"/>
              <a:gd name="T17" fmla="*/ 121 h 191"/>
              <a:gd name="T18" fmla="*/ 93 w 205"/>
              <a:gd name="T19" fmla="*/ 126 h 191"/>
              <a:gd name="T20" fmla="*/ 90 w 205"/>
              <a:gd name="T21" fmla="*/ 135 h 191"/>
              <a:gd name="T22" fmla="*/ 84 w 205"/>
              <a:gd name="T23" fmla="*/ 130 h 191"/>
              <a:gd name="T24" fmla="*/ 72 w 205"/>
              <a:gd name="T25" fmla="*/ 113 h 191"/>
              <a:gd name="T26" fmla="*/ 56 w 205"/>
              <a:gd name="T27" fmla="*/ 87 h 191"/>
              <a:gd name="T28" fmla="*/ 41 w 205"/>
              <a:gd name="T29" fmla="*/ 67 h 191"/>
              <a:gd name="T30" fmla="*/ 31 w 205"/>
              <a:gd name="T31" fmla="*/ 58 h 191"/>
              <a:gd name="T32" fmla="*/ 26 w 205"/>
              <a:gd name="T33" fmla="*/ 60 h 191"/>
              <a:gd name="T34" fmla="*/ 29 w 205"/>
              <a:gd name="T35" fmla="*/ 69 h 191"/>
              <a:gd name="T36" fmla="*/ 34 w 205"/>
              <a:gd name="T37" fmla="*/ 78 h 191"/>
              <a:gd name="T38" fmla="*/ 41 w 205"/>
              <a:gd name="T39" fmla="*/ 84 h 191"/>
              <a:gd name="T40" fmla="*/ 46 w 205"/>
              <a:gd name="T41" fmla="*/ 105 h 191"/>
              <a:gd name="T42" fmla="*/ 13 w 205"/>
              <a:gd name="T43" fmla="*/ 98 h 191"/>
              <a:gd name="T44" fmla="*/ 4 w 205"/>
              <a:gd name="T45" fmla="*/ 84 h 191"/>
              <a:gd name="T46" fmla="*/ 0 w 205"/>
              <a:gd name="T47" fmla="*/ 60 h 191"/>
              <a:gd name="T48" fmla="*/ 0 w 205"/>
              <a:gd name="T49" fmla="*/ 38 h 191"/>
              <a:gd name="T50" fmla="*/ 3 w 205"/>
              <a:gd name="T51" fmla="*/ 28 h 191"/>
              <a:gd name="T52" fmla="*/ 8 w 205"/>
              <a:gd name="T53" fmla="*/ 22 h 191"/>
              <a:gd name="T54" fmla="*/ 14 w 205"/>
              <a:gd name="T55" fmla="*/ 13 h 191"/>
              <a:gd name="T56" fmla="*/ 20 w 205"/>
              <a:gd name="T57" fmla="*/ 4 h 191"/>
              <a:gd name="T58" fmla="*/ 28 w 205"/>
              <a:gd name="T59" fmla="*/ 0 h 191"/>
              <a:gd name="T60" fmla="*/ 126 w 205"/>
              <a:gd name="T61" fmla="*/ 6 h 191"/>
              <a:gd name="T62" fmla="*/ 127 w 205"/>
              <a:gd name="T63" fmla="*/ 21 h 191"/>
              <a:gd name="T64" fmla="*/ 130 w 205"/>
              <a:gd name="T65" fmla="*/ 37 h 191"/>
              <a:gd name="T66" fmla="*/ 143 w 205"/>
              <a:gd name="T67" fmla="*/ 70 h 191"/>
              <a:gd name="T68" fmla="*/ 165 w 205"/>
              <a:gd name="T69" fmla="*/ 102 h 191"/>
              <a:gd name="T70" fmla="*/ 177 w 205"/>
              <a:gd name="T71" fmla="*/ 117 h 191"/>
              <a:gd name="T72" fmla="*/ 192 w 205"/>
              <a:gd name="T73" fmla="*/ 130 h 191"/>
              <a:gd name="T74" fmla="*/ 189 w 205"/>
              <a:gd name="T75" fmla="*/ 143 h 191"/>
              <a:gd name="T76" fmla="*/ 189 w 205"/>
              <a:gd name="T77" fmla="*/ 156 h 191"/>
              <a:gd name="T78" fmla="*/ 192 w 205"/>
              <a:gd name="T79" fmla="*/ 191 h 191"/>
              <a:gd name="T80" fmla="*/ 205 w 205"/>
              <a:gd name="T81" fmla="*/ 185 h 1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US"/>
          </a:p>
        </p:txBody>
      </p:sp>
      <p:sp>
        <p:nvSpPr>
          <p:cNvPr id="218" name="Freeform 224">
            <a:extLst>
              <a:ext uri="{FF2B5EF4-FFF2-40B4-BE49-F238E27FC236}">
                <a16:creationId xmlns:a16="http://schemas.microsoft.com/office/drawing/2014/main" id="{5002AA40-8DAC-4DFF-9D62-49CA489CC45E}"/>
              </a:ext>
            </a:extLst>
          </p:cNvPr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5781479" y="3710873"/>
            <a:ext cx="137503" cy="79375"/>
          </a:xfrm>
          <a:custGeom>
            <a:avLst/>
            <a:gdLst>
              <a:gd name="T0" fmla="*/ 3 w 329"/>
              <a:gd name="T1" fmla="*/ 58 h 154"/>
              <a:gd name="T2" fmla="*/ 0 w 329"/>
              <a:gd name="T3" fmla="*/ 42 h 154"/>
              <a:gd name="T4" fmla="*/ 2 w 329"/>
              <a:gd name="T5" fmla="*/ 31 h 154"/>
              <a:gd name="T6" fmla="*/ 17 w 329"/>
              <a:gd name="T7" fmla="*/ 33 h 154"/>
              <a:gd name="T8" fmla="*/ 36 w 329"/>
              <a:gd name="T9" fmla="*/ 41 h 154"/>
              <a:gd name="T10" fmla="*/ 49 w 329"/>
              <a:gd name="T11" fmla="*/ 43 h 154"/>
              <a:gd name="T12" fmla="*/ 67 w 329"/>
              <a:gd name="T13" fmla="*/ 43 h 154"/>
              <a:gd name="T14" fmla="*/ 86 w 329"/>
              <a:gd name="T15" fmla="*/ 39 h 154"/>
              <a:gd name="T16" fmla="*/ 110 w 329"/>
              <a:gd name="T17" fmla="*/ 30 h 154"/>
              <a:gd name="T18" fmla="*/ 140 w 329"/>
              <a:gd name="T19" fmla="*/ 13 h 154"/>
              <a:gd name="T20" fmla="*/ 162 w 329"/>
              <a:gd name="T21" fmla="*/ 4 h 154"/>
              <a:gd name="T22" fmla="*/ 179 w 329"/>
              <a:gd name="T23" fmla="*/ 0 h 154"/>
              <a:gd name="T24" fmla="*/ 203 w 329"/>
              <a:gd name="T25" fmla="*/ 0 h 154"/>
              <a:gd name="T26" fmla="*/ 224 w 329"/>
              <a:gd name="T27" fmla="*/ 6 h 154"/>
              <a:gd name="T28" fmla="*/ 243 w 329"/>
              <a:gd name="T29" fmla="*/ 15 h 154"/>
              <a:gd name="T30" fmla="*/ 259 w 329"/>
              <a:gd name="T31" fmla="*/ 28 h 154"/>
              <a:gd name="T32" fmla="*/ 280 w 329"/>
              <a:gd name="T33" fmla="*/ 46 h 154"/>
              <a:gd name="T34" fmla="*/ 302 w 329"/>
              <a:gd name="T35" fmla="*/ 61 h 154"/>
              <a:gd name="T36" fmla="*/ 319 w 329"/>
              <a:gd name="T37" fmla="*/ 67 h 154"/>
              <a:gd name="T38" fmla="*/ 313 w 329"/>
              <a:gd name="T39" fmla="*/ 82 h 154"/>
              <a:gd name="T40" fmla="*/ 293 w 329"/>
              <a:gd name="T41" fmla="*/ 106 h 154"/>
              <a:gd name="T42" fmla="*/ 277 w 329"/>
              <a:gd name="T43" fmla="*/ 138 h 154"/>
              <a:gd name="T44" fmla="*/ 265 w 329"/>
              <a:gd name="T45" fmla="*/ 153 h 154"/>
              <a:gd name="T46" fmla="*/ 253 w 329"/>
              <a:gd name="T47" fmla="*/ 146 h 154"/>
              <a:gd name="T48" fmla="*/ 240 w 329"/>
              <a:gd name="T49" fmla="*/ 136 h 154"/>
              <a:gd name="T50" fmla="*/ 230 w 329"/>
              <a:gd name="T51" fmla="*/ 126 h 154"/>
              <a:gd name="T52" fmla="*/ 230 w 329"/>
              <a:gd name="T53" fmla="*/ 114 h 154"/>
              <a:gd name="T54" fmla="*/ 235 w 329"/>
              <a:gd name="T55" fmla="*/ 100 h 154"/>
              <a:gd name="T56" fmla="*/ 249 w 329"/>
              <a:gd name="T57" fmla="*/ 86 h 154"/>
              <a:gd name="T58" fmla="*/ 233 w 329"/>
              <a:gd name="T59" fmla="*/ 68 h 154"/>
              <a:gd name="T60" fmla="*/ 207 w 329"/>
              <a:gd name="T61" fmla="*/ 55 h 154"/>
              <a:gd name="T62" fmla="*/ 195 w 329"/>
              <a:gd name="T63" fmla="*/ 41 h 154"/>
              <a:gd name="T64" fmla="*/ 179 w 329"/>
              <a:gd name="T65" fmla="*/ 34 h 154"/>
              <a:gd name="T66" fmla="*/ 163 w 329"/>
              <a:gd name="T67" fmla="*/ 41 h 154"/>
              <a:gd name="T68" fmla="*/ 150 w 329"/>
              <a:gd name="T69" fmla="*/ 50 h 154"/>
              <a:gd name="T70" fmla="*/ 140 w 329"/>
              <a:gd name="T71" fmla="*/ 61 h 154"/>
              <a:gd name="T72" fmla="*/ 132 w 329"/>
              <a:gd name="T73" fmla="*/ 74 h 154"/>
              <a:gd name="T74" fmla="*/ 128 w 329"/>
              <a:gd name="T75" fmla="*/ 88 h 154"/>
              <a:gd name="T76" fmla="*/ 123 w 329"/>
              <a:gd name="T77" fmla="*/ 109 h 154"/>
              <a:gd name="T78" fmla="*/ 122 w 329"/>
              <a:gd name="T79" fmla="*/ 125 h 154"/>
              <a:gd name="T80" fmla="*/ 118 w 329"/>
              <a:gd name="T81" fmla="*/ 129 h 154"/>
              <a:gd name="T82" fmla="*/ 108 w 329"/>
              <a:gd name="T83" fmla="*/ 135 h 154"/>
              <a:gd name="T84" fmla="*/ 96 w 329"/>
              <a:gd name="T85" fmla="*/ 135 h 154"/>
              <a:gd name="T86" fmla="*/ 83 w 329"/>
              <a:gd name="T87" fmla="*/ 129 h 154"/>
              <a:gd name="T88" fmla="*/ 66 w 329"/>
              <a:gd name="T89" fmla="*/ 116 h 154"/>
              <a:gd name="T90" fmla="*/ 48 w 329"/>
              <a:gd name="T91" fmla="*/ 94 h 154"/>
              <a:gd name="T92" fmla="*/ 33 w 329"/>
              <a:gd name="T93" fmla="*/ 80 h 154"/>
              <a:gd name="T94" fmla="*/ 22 w 329"/>
              <a:gd name="T95" fmla="*/ 74 h 154"/>
              <a:gd name="T96" fmla="*/ 3 w 329"/>
              <a:gd name="T97" fmla="*/ 73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US"/>
          </a:p>
        </p:txBody>
      </p:sp>
      <p:sp>
        <p:nvSpPr>
          <p:cNvPr id="219" name="Freeform 225">
            <a:extLst>
              <a:ext uri="{FF2B5EF4-FFF2-40B4-BE49-F238E27FC236}">
                <a16:creationId xmlns:a16="http://schemas.microsoft.com/office/drawing/2014/main" id="{F949ABDF-5E10-4666-92BC-CFF6396FF63C}"/>
              </a:ext>
            </a:extLst>
          </p:cNvPr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6436909" y="4964998"/>
            <a:ext cx="128336" cy="155575"/>
          </a:xfrm>
          <a:custGeom>
            <a:avLst/>
            <a:gdLst>
              <a:gd name="T0" fmla="*/ 297 w 306"/>
              <a:gd name="T1" fmla="*/ 181 h 293"/>
              <a:gd name="T2" fmla="*/ 296 w 306"/>
              <a:gd name="T3" fmla="*/ 185 h 293"/>
              <a:gd name="T4" fmla="*/ 291 w 306"/>
              <a:gd name="T5" fmla="*/ 194 h 293"/>
              <a:gd name="T6" fmla="*/ 282 w 306"/>
              <a:gd name="T7" fmla="*/ 199 h 293"/>
              <a:gd name="T8" fmla="*/ 272 w 306"/>
              <a:gd name="T9" fmla="*/ 201 h 293"/>
              <a:gd name="T10" fmla="*/ 263 w 306"/>
              <a:gd name="T11" fmla="*/ 207 h 293"/>
              <a:gd name="T12" fmla="*/ 253 w 306"/>
              <a:gd name="T13" fmla="*/ 229 h 293"/>
              <a:gd name="T14" fmla="*/ 242 w 306"/>
              <a:gd name="T15" fmla="*/ 254 h 293"/>
              <a:gd name="T16" fmla="*/ 231 w 306"/>
              <a:gd name="T17" fmla="*/ 267 h 293"/>
              <a:gd name="T18" fmla="*/ 221 w 306"/>
              <a:gd name="T19" fmla="*/ 273 h 293"/>
              <a:gd name="T20" fmla="*/ 200 w 306"/>
              <a:gd name="T21" fmla="*/ 281 h 293"/>
              <a:gd name="T22" fmla="*/ 164 w 306"/>
              <a:gd name="T23" fmla="*/ 290 h 293"/>
              <a:gd name="T24" fmla="*/ 139 w 306"/>
              <a:gd name="T25" fmla="*/ 293 h 293"/>
              <a:gd name="T26" fmla="*/ 123 w 306"/>
              <a:gd name="T27" fmla="*/ 293 h 293"/>
              <a:gd name="T28" fmla="*/ 106 w 306"/>
              <a:gd name="T29" fmla="*/ 290 h 293"/>
              <a:gd name="T30" fmla="*/ 92 w 306"/>
              <a:gd name="T31" fmla="*/ 286 h 293"/>
              <a:gd name="T32" fmla="*/ 80 w 306"/>
              <a:gd name="T33" fmla="*/ 278 h 293"/>
              <a:gd name="T34" fmla="*/ 71 w 306"/>
              <a:gd name="T35" fmla="*/ 268 h 293"/>
              <a:gd name="T36" fmla="*/ 1 w 306"/>
              <a:gd name="T37" fmla="*/ 236 h 293"/>
              <a:gd name="T38" fmla="*/ 0 w 306"/>
              <a:gd name="T39" fmla="*/ 88 h 293"/>
              <a:gd name="T40" fmla="*/ 1 w 306"/>
              <a:gd name="T41" fmla="*/ 49 h 293"/>
              <a:gd name="T42" fmla="*/ 4 w 306"/>
              <a:gd name="T43" fmla="*/ 35 h 293"/>
              <a:gd name="T44" fmla="*/ 11 w 306"/>
              <a:gd name="T45" fmla="*/ 21 h 293"/>
              <a:gd name="T46" fmla="*/ 20 w 306"/>
              <a:gd name="T47" fmla="*/ 8 h 293"/>
              <a:gd name="T48" fmla="*/ 41 w 306"/>
              <a:gd name="T49" fmla="*/ 2 h 293"/>
              <a:gd name="T50" fmla="*/ 53 w 306"/>
              <a:gd name="T51" fmla="*/ 0 h 293"/>
              <a:gd name="T52" fmla="*/ 72 w 306"/>
              <a:gd name="T53" fmla="*/ 6 h 293"/>
              <a:gd name="T54" fmla="*/ 80 w 306"/>
              <a:gd name="T55" fmla="*/ 7 h 293"/>
              <a:gd name="T56" fmla="*/ 84 w 306"/>
              <a:gd name="T57" fmla="*/ 4 h 293"/>
              <a:gd name="T58" fmla="*/ 87 w 306"/>
              <a:gd name="T59" fmla="*/ 5 h 293"/>
              <a:gd name="T60" fmla="*/ 90 w 306"/>
              <a:gd name="T61" fmla="*/ 11 h 293"/>
              <a:gd name="T62" fmla="*/ 99 w 306"/>
              <a:gd name="T63" fmla="*/ 19 h 293"/>
              <a:gd name="T64" fmla="*/ 121 w 306"/>
              <a:gd name="T65" fmla="*/ 31 h 293"/>
              <a:gd name="T66" fmla="*/ 148 w 306"/>
              <a:gd name="T67" fmla="*/ 41 h 293"/>
              <a:gd name="T68" fmla="*/ 182 w 306"/>
              <a:gd name="T69" fmla="*/ 59 h 293"/>
              <a:gd name="T70" fmla="*/ 210 w 306"/>
              <a:gd name="T71" fmla="*/ 79 h 293"/>
              <a:gd name="T72" fmla="*/ 241 w 306"/>
              <a:gd name="T73" fmla="*/ 102 h 293"/>
              <a:gd name="T74" fmla="*/ 261 w 306"/>
              <a:gd name="T75" fmla="*/ 117 h 293"/>
              <a:gd name="T76" fmla="*/ 266 w 306"/>
              <a:gd name="T77" fmla="*/ 124 h 293"/>
              <a:gd name="T78" fmla="*/ 280 w 306"/>
              <a:gd name="T79" fmla="*/ 135 h 293"/>
              <a:gd name="T80" fmla="*/ 299 w 306"/>
              <a:gd name="T81" fmla="*/ 151 h 293"/>
              <a:gd name="T82" fmla="*/ 306 w 306"/>
              <a:gd name="T83" fmla="*/ 161 h 293"/>
              <a:gd name="T84" fmla="*/ 304 w 306"/>
              <a:gd name="T85" fmla="*/ 166 h 2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0" name="Freeform 226">
            <a:extLst>
              <a:ext uri="{FF2B5EF4-FFF2-40B4-BE49-F238E27FC236}">
                <a16:creationId xmlns:a16="http://schemas.microsoft.com/office/drawing/2014/main" id="{38ACB3C6-EAB0-4D5E-8625-E239C501FDDA}"/>
              </a:ext>
            </a:extLst>
          </p:cNvPr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7924999" y="1582035"/>
            <a:ext cx="227643" cy="92075"/>
          </a:xfrm>
          <a:custGeom>
            <a:avLst/>
            <a:gdLst>
              <a:gd name="T0" fmla="*/ 74 w 546"/>
              <a:gd name="T1" fmla="*/ 19 h 173"/>
              <a:gd name="T2" fmla="*/ 94 w 546"/>
              <a:gd name="T3" fmla="*/ 34 h 173"/>
              <a:gd name="T4" fmla="*/ 110 w 546"/>
              <a:gd name="T5" fmla="*/ 27 h 173"/>
              <a:gd name="T6" fmla="*/ 132 w 546"/>
              <a:gd name="T7" fmla="*/ 27 h 173"/>
              <a:gd name="T8" fmla="*/ 161 w 546"/>
              <a:gd name="T9" fmla="*/ 44 h 173"/>
              <a:gd name="T10" fmla="*/ 209 w 546"/>
              <a:gd name="T11" fmla="*/ 19 h 173"/>
              <a:gd name="T12" fmla="*/ 243 w 546"/>
              <a:gd name="T13" fmla="*/ 19 h 173"/>
              <a:gd name="T14" fmla="*/ 260 w 546"/>
              <a:gd name="T15" fmla="*/ 16 h 173"/>
              <a:gd name="T16" fmla="*/ 269 w 546"/>
              <a:gd name="T17" fmla="*/ 14 h 173"/>
              <a:gd name="T18" fmla="*/ 279 w 546"/>
              <a:gd name="T19" fmla="*/ 11 h 173"/>
              <a:gd name="T20" fmla="*/ 286 w 546"/>
              <a:gd name="T21" fmla="*/ 3 h 173"/>
              <a:gd name="T22" fmla="*/ 321 w 546"/>
              <a:gd name="T23" fmla="*/ 5 h 173"/>
              <a:gd name="T24" fmla="*/ 333 w 546"/>
              <a:gd name="T25" fmla="*/ 12 h 173"/>
              <a:gd name="T26" fmla="*/ 348 w 546"/>
              <a:gd name="T27" fmla="*/ 7 h 173"/>
              <a:gd name="T28" fmla="*/ 353 w 546"/>
              <a:gd name="T29" fmla="*/ 0 h 173"/>
              <a:gd name="T30" fmla="*/ 367 w 546"/>
              <a:gd name="T31" fmla="*/ 7 h 173"/>
              <a:gd name="T32" fmla="*/ 389 w 546"/>
              <a:gd name="T33" fmla="*/ 7 h 173"/>
              <a:gd name="T34" fmla="*/ 436 w 546"/>
              <a:gd name="T35" fmla="*/ 1 h 173"/>
              <a:gd name="T36" fmla="*/ 482 w 546"/>
              <a:gd name="T37" fmla="*/ 6 h 173"/>
              <a:gd name="T38" fmla="*/ 528 w 546"/>
              <a:gd name="T39" fmla="*/ 12 h 173"/>
              <a:gd name="T40" fmla="*/ 545 w 546"/>
              <a:gd name="T41" fmla="*/ 49 h 173"/>
              <a:gd name="T42" fmla="*/ 537 w 546"/>
              <a:gd name="T43" fmla="*/ 60 h 173"/>
              <a:gd name="T44" fmla="*/ 513 w 546"/>
              <a:gd name="T45" fmla="*/ 62 h 173"/>
              <a:gd name="T46" fmla="*/ 483 w 546"/>
              <a:gd name="T47" fmla="*/ 54 h 173"/>
              <a:gd name="T48" fmla="*/ 413 w 546"/>
              <a:gd name="T49" fmla="*/ 44 h 173"/>
              <a:gd name="T50" fmla="*/ 438 w 546"/>
              <a:gd name="T51" fmla="*/ 81 h 173"/>
              <a:gd name="T52" fmla="*/ 471 w 546"/>
              <a:gd name="T53" fmla="*/ 102 h 173"/>
              <a:gd name="T54" fmla="*/ 493 w 546"/>
              <a:gd name="T55" fmla="*/ 119 h 173"/>
              <a:gd name="T56" fmla="*/ 475 w 546"/>
              <a:gd name="T57" fmla="*/ 136 h 173"/>
              <a:gd name="T58" fmla="*/ 449 w 546"/>
              <a:gd name="T59" fmla="*/ 142 h 173"/>
              <a:gd name="T60" fmla="*/ 426 w 546"/>
              <a:gd name="T61" fmla="*/ 141 h 173"/>
              <a:gd name="T62" fmla="*/ 412 w 546"/>
              <a:gd name="T63" fmla="*/ 134 h 173"/>
              <a:gd name="T64" fmla="*/ 399 w 546"/>
              <a:gd name="T65" fmla="*/ 130 h 173"/>
              <a:gd name="T66" fmla="*/ 385 w 546"/>
              <a:gd name="T67" fmla="*/ 121 h 173"/>
              <a:gd name="T68" fmla="*/ 375 w 546"/>
              <a:gd name="T69" fmla="*/ 104 h 173"/>
              <a:gd name="T70" fmla="*/ 365 w 546"/>
              <a:gd name="T71" fmla="*/ 92 h 173"/>
              <a:gd name="T72" fmla="*/ 344 w 546"/>
              <a:gd name="T73" fmla="*/ 84 h 173"/>
              <a:gd name="T74" fmla="*/ 325 w 546"/>
              <a:gd name="T75" fmla="*/ 76 h 173"/>
              <a:gd name="T76" fmla="*/ 303 w 546"/>
              <a:gd name="T77" fmla="*/ 87 h 173"/>
              <a:gd name="T78" fmla="*/ 258 w 546"/>
              <a:gd name="T79" fmla="*/ 134 h 173"/>
              <a:gd name="T80" fmla="*/ 236 w 546"/>
              <a:gd name="T81" fmla="*/ 163 h 173"/>
              <a:gd name="T82" fmla="*/ 220 w 546"/>
              <a:gd name="T83" fmla="*/ 172 h 173"/>
              <a:gd name="T84" fmla="*/ 188 w 546"/>
              <a:gd name="T85" fmla="*/ 167 h 173"/>
              <a:gd name="T86" fmla="*/ 165 w 546"/>
              <a:gd name="T87" fmla="*/ 155 h 173"/>
              <a:gd name="T88" fmla="*/ 113 w 546"/>
              <a:gd name="T89" fmla="*/ 105 h 173"/>
              <a:gd name="T90" fmla="*/ 95 w 546"/>
              <a:gd name="T91" fmla="*/ 91 h 173"/>
              <a:gd name="T92" fmla="*/ 60 w 546"/>
              <a:gd name="T93" fmla="*/ 76 h 173"/>
              <a:gd name="T94" fmla="*/ 16 w 546"/>
              <a:gd name="T95" fmla="*/ 58 h 173"/>
              <a:gd name="T96" fmla="*/ 11 w 546"/>
              <a:gd name="T97" fmla="*/ 34 h 173"/>
              <a:gd name="T98" fmla="*/ 28 w 546"/>
              <a:gd name="T99" fmla="*/ 19 h 173"/>
              <a:gd name="T100" fmla="*/ 47 w 546"/>
              <a:gd name="T101" fmla="*/ 12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1" name="Freeform 227">
            <a:extLst>
              <a:ext uri="{FF2B5EF4-FFF2-40B4-BE49-F238E27FC236}">
                <a16:creationId xmlns:a16="http://schemas.microsoft.com/office/drawing/2014/main" id="{389FC305-EFEC-4EC8-BDF0-033E888F2CDF}"/>
              </a:ext>
            </a:extLst>
          </p:cNvPr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7854718" y="1812222"/>
            <a:ext cx="432370" cy="361950"/>
          </a:xfrm>
          <a:custGeom>
            <a:avLst/>
            <a:gdLst>
              <a:gd name="T0" fmla="*/ 240 w 1037"/>
              <a:gd name="T1" fmla="*/ 622 h 690"/>
              <a:gd name="T2" fmla="*/ 155 w 1037"/>
              <a:gd name="T3" fmla="*/ 683 h 690"/>
              <a:gd name="T4" fmla="*/ 32 w 1037"/>
              <a:gd name="T5" fmla="*/ 654 h 690"/>
              <a:gd name="T6" fmla="*/ 67 w 1037"/>
              <a:gd name="T7" fmla="*/ 634 h 690"/>
              <a:gd name="T8" fmla="*/ 18 w 1037"/>
              <a:gd name="T9" fmla="*/ 596 h 690"/>
              <a:gd name="T10" fmla="*/ 44 w 1037"/>
              <a:gd name="T11" fmla="*/ 595 h 690"/>
              <a:gd name="T12" fmla="*/ 67 w 1037"/>
              <a:gd name="T13" fmla="*/ 567 h 690"/>
              <a:gd name="T14" fmla="*/ 8 w 1037"/>
              <a:gd name="T15" fmla="*/ 546 h 690"/>
              <a:gd name="T16" fmla="*/ 74 w 1037"/>
              <a:gd name="T17" fmla="*/ 523 h 690"/>
              <a:gd name="T18" fmla="*/ 0 w 1037"/>
              <a:gd name="T19" fmla="*/ 499 h 690"/>
              <a:gd name="T20" fmla="*/ 20 w 1037"/>
              <a:gd name="T21" fmla="*/ 456 h 690"/>
              <a:gd name="T22" fmla="*/ 37 w 1037"/>
              <a:gd name="T23" fmla="*/ 461 h 690"/>
              <a:gd name="T24" fmla="*/ 77 w 1037"/>
              <a:gd name="T25" fmla="*/ 449 h 690"/>
              <a:gd name="T26" fmla="*/ 92 w 1037"/>
              <a:gd name="T27" fmla="*/ 424 h 690"/>
              <a:gd name="T28" fmla="*/ 130 w 1037"/>
              <a:gd name="T29" fmla="*/ 409 h 690"/>
              <a:gd name="T30" fmla="*/ 220 w 1037"/>
              <a:gd name="T31" fmla="*/ 382 h 690"/>
              <a:gd name="T32" fmla="*/ 227 w 1037"/>
              <a:gd name="T33" fmla="*/ 339 h 690"/>
              <a:gd name="T34" fmla="*/ 283 w 1037"/>
              <a:gd name="T35" fmla="*/ 325 h 690"/>
              <a:gd name="T36" fmla="*/ 282 w 1037"/>
              <a:gd name="T37" fmla="*/ 310 h 690"/>
              <a:gd name="T38" fmla="*/ 298 w 1037"/>
              <a:gd name="T39" fmla="*/ 285 h 690"/>
              <a:gd name="T40" fmla="*/ 335 w 1037"/>
              <a:gd name="T41" fmla="*/ 243 h 690"/>
              <a:gd name="T42" fmla="*/ 343 w 1037"/>
              <a:gd name="T43" fmla="*/ 226 h 690"/>
              <a:gd name="T44" fmla="*/ 390 w 1037"/>
              <a:gd name="T45" fmla="*/ 200 h 690"/>
              <a:gd name="T46" fmla="*/ 387 w 1037"/>
              <a:gd name="T47" fmla="*/ 157 h 690"/>
              <a:gd name="T48" fmla="*/ 373 w 1037"/>
              <a:gd name="T49" fmla="*/ 142 h 690"/>
              <a:gd name="T50" fmla="*/ 334 w 1037"/>
              <a:gd name="T51" fmla="*/ 154 h 690"/>
              <a:gd name="T52" fmla="*/ 390 w 1037"/>
              <a:gd name="T53" fmla="*/ 103 h 690"/>
              <a:gd name="T54" fmla="*/ 411 w 1037"/>
              <a:gd name="T55" fmla="*/ 96 h 690"/>
              <a:gd name="T56" fmla="*/ 463 w 1037"/>
              <a:gd name="T57" fmla="*/ 114 h 690"/>
              <a:gd name="T58" fmla="*/ 466 w 1037"/>
              <a:gd name="T59" fmla="*/ 91 h 690"/>
              <a:gd name="T60" fmla="*/ 558 w 1037"/>
              <a:gd name="T61" fmla="*/ 61 h 690"/>
              <a:gd name="T62" fmla="*/ 591 w 1037"/>
              <a:gd name="T63" fmla="*/ 63 h 690"/>
              <a:gd name="T64" fmla="*/ 645 w 1037"/>
              <a:gd name="T65" fmla="*/ 55 h 690"/>
              <a:gd name="T66" fmla="*/ 645 w 1037"/>
              <a:gd name="T67" fmla="*/ 33 h 690"/>
              <a:gd name="T68" fmla="*/ 699 w 1037"/>
              <a:gd name="T69" fmla="*/ 13 h 690"/>
              <a:gd name="T70" fmla="*/ 705 w 1037"/>
              <a:gd name="T71" fmla="*/ 29 h 690"/>
              <a:gd name="T72" fmla="*/ 712 w 1037"/>
              <a:gd name="T73" fmla="*/ 40 h 690"/>
              <a:gd name="T74" fmla="*/ 758 w 1037"/>
              <a:gd name="T75" fmla="*/ 12 h 690"/>
              <a:gd name="T76" fmla="*/ 817 w 1037"/>
              <a:gd name="T77" fmla="*/ 6 h 690"/>
              <a:gd name="T78" fmla="*/ 844 w 1037"/>
              <a:gd name="T79" fmla="*/ 8 h 690"/>
              <a:gd name="T80" fmla="*/ 862 w 1037"/>
              <a:gd name="T81" fmla="*/ 11 h 690"/>
              <a:gd name="T82" fmla="*/ 924 w 1037"/>
              <a:gd name="T83" fmla="*/ 6 h 690"/>
              <a:gd name="T84" fmla="*/ 1037 w 1037"/>
              <a:gd name="T85" fmla="*/ 43 h 690"/>
              <a:gd name="T86" fmla="*/ 1005 w 1037"/>
              <a:gd name="T87" fmla="*/ 79 h 690"/>
              <a:gd name="T88" fmla="*/ 930 w 1037"/>
              <a:gd name="T89" fmla="*/ 55 h 690"/>
              <a:gd name="T90" fmla="*/ 873 w 1037"/>
              <a:gd name="T91" fmla="*/ 74 h 690"/>
              <a:gd name="T92" fmla="*/ 848 w 1037"/>
              <a:gd name="T93" fmla="*/ 116 h 690"/>
              <a:gd name="T94" fmla="*/ 811 w 1037"/>
              <a:gd name="T95" fmla="*/ 111 h 690"/>
              <a:gd name="T96" fmla="*/ 745 w 1037"/>
              <a:gd name="T97" fmla="*/ 128 h 690"/>
              <a:gd name="T98" fmla="*/ 694 w 1037"/>
              <a:gd name="T99" fmla="*/ 92 h 690"/>
              <a:gd name="T100" fmla="*/ 620 w 1037"/>
              <a:gd name="T101" fmla="*/ 112 h 690"/>
              <a:gd name="T102" fmla="*/ 534 w 1037"/>
              <a:gd name="T103" fmla="*/ 134 h 690"/>
              <a:gd name="T104" fmla="*/ 486 w 1037"/>
              <a:gd name="T105" fmla="*/ 210 h 690"/>
              <a:gd name="T106" fmla="*/ 430 w 1037"/>
              <a:gd name="T107" fmla="*/ 279 h 690"/>
              <a:gd name="T108" fmla="*/ 399 w 1037"/>
              <a:gd name="T109" fmla="*/ 364 h 690"/>
              <a:gd name="T110" fmla="*/ 333 w 1037"/>
              <a:gd name="T111" fmla="*/ 425 h 690"/>
              <a:gd name="T112" fmla="*/ 355 w 1037"/>
              <a:gd name="T113" fmla="*/ 497 h 690"/>
              <a:gd name="T114" fmla="*/ 354 w 1037"/>
              <a:gd name="T115" fmla="*/ 558 h 690"/>
              <a:gd name="T116" fmla="*/ 331 w 1037"/>
              <a:gd name="T117" fmla="*/ 615 h 690"/>
              <a:gd name="T118" fmla="*/ 295 w 1037"/>
              <a:gd name="T119" fmla="*/ 645 h 69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2" name="Freeform 228">
            <a:extLst>
              <a:ext uri="{FF2B5EF4-FFF2-40B4-BE49-F238E27FC236}">
                <a16:creationId xmlns:a16="http://schemas.microsoft.com/office/drawing/2014/main" id="{DBC6F02C-ED29-4A04-81BE-5B70233F946E}"/>
              </a:ext>
            </a:extLst>
          </p:cNvPr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8181670" y="2653598"/>
            <a:ext cx="47362" cy="90487"/>
          </a:xfrm>
          <a:custGeom>
            <a:avLst/>
            <a:gdLst>
              <a:gd name="T0" fmla="*/ 120 w 120"/>
              <a:gd name="T1" fmla="*/ 99 h 173"/>
              <a:gd name="T2" fmla="*/ 92 w 120"/>
              <a:gd name="T3" fmla="*/ 60 h 173"/>
              <a:gd name="T4" fmla="*/ 70 w 120"/>
              <a:gd name="T5" fmla="*/ 28 h 173"/>
              <a:gd name="T6" fmla="*/ 60 w 120"/>
              <a:gd name="T7" fmla="*/ 16 h 173"/>
              <a:gd name="T8" fmla="*/ 53 w 120"/>
              <a:gd name="T9" fmla="*/ 8 h 173"/>
              <a:gd name="T10" fmla="*/ 48 w 120"/>
              <a:gd name="T11" fmla="*/ 4 h 173"/>
              <a:gd name="T12" fmla="*/ 45 w 120"/>
              <a:gd name="T13" fmla="*/ 2 h 173"/>
              <a:gd name="T14" fmla="*/ 43 w 120"/>
              <a:gd name="T15" fmla="*/ 1 h 173"/>
              <a:gd name="T16" fmla="*/ 39 w 120"/>
              <a:gd name="T17" fmla="*/ 0 h 173"/>
              <a:gd name="T18" fmla="*/ 33 w 120"/>
              <a:gd name="T19" fmla="*/ 0 h 173"/>
              <a:gd name="T20" fmla="*/ 27 w 120"/>
              <a:gd name="T21" fmla="*/ 1 h 173"/>
              <a:gd name="T22" fmla="*/ 24 w 120"/>
              <a:gd name="T23" fmla="*/ 3 h 173"/>
              <a:gd name="T24" fmla="*/ 21 w 120"/>
              <a:gd name="T25" fmla="*/ 5 h 173"/>
              <a:gd name="T26" fmla="*/ 19 w 120"/>
              <a:gd name="T27" fmla="*/ 8 h 173"/>
              <a:gd name="T28" fmla="*/ 16 w 120"/>
              <a:gd name="T29" fmla="*/ 12 h 173"/>
              <a:gd name="T30" fmla="*/ 15 w 120"/>
              <a:gd name="T31" fmla="*/ 15 h 173"/>
              <a:gd name="T32" fmla="*/ 15 w 120"/>
              <a:gd name="T33" fmla="*/ 20 h 173"/>
              <a:gd name="T34" fmla="*/ 14 w 120"/>
              <a:gd name="T35" fmla="*/ 30 h 173"/>
              <a:gd name="T36" fmla="*/ 12 w 120"/>
              <a:gd name="T37" fmla="*/ 42 h 173"/>
              <a:gd name="T38" fmla="*/ 10 w 120"/>
              <a:gd name="T39" fmla="*/ 48 h 173"/>
              <a:gd name="T40" fmla="*/ 8 w 120"/>
              <a:gd name="T41" fmla="*/ 54 h 173"/>
              <a:gd name="T42" fmla="*/ 4 w 120"/>
              <a:gd name="T43" fmla="*/ 61 h 173"/>
              <a:gd name="T44" fmla="*/ 0 w 120"/>
              <a:gd name="T45" fmla="*/ 68 h 173"/>
              <a:gd name="T46" fmla="*/ 5 w 120"/>
              <a:gd name="T47" fmla="*/ 82 h 173"/>
              <a:gd name="T48" fmla="*/ 10 w 120"/>
              <a:gd name="T49" fmla="*/ 99 h 173"/>
              <a:gd name="T50" fmla="*/ 15 w 120"/>
              <a:gd name="T51" fmla="*/ 115 h 173"/>
              <a:gd name="T52" fmla="*/ 20 w 120"/>
              <a:gd name="T53" fmla="*/ 129 h 173"/>
              <a:gd name="T54" fmla="*/ 24 w 120"/>
              <a:gd name="T55" fmla="*/ 134 h 173"/>
              <a:gd name="T56" fmla="*/ 30 w 120"/>
              <a:gd name="T57" fmla="*/ 139 h 173"/>
              <a:gd name="T58" fmla="*/ 37 w 120"/>
              <a:gd name="T59" fmla="*/ 145 h 173"/>
              <a:gd name="T60" fmla="*/ 46 w 120"/>
              <a:gd name="T61" fmla="*/ 151 h 173"/>
              <a:gd name="T62" fmla="*/ 54 w 120"/>
              <a:gd name="T63" fmla="*/ 157 h 173"/>
              <a:gd name="T64" fmla="*/ 60 w 120"/>
              <a:gd name="T65" fmla="*/ 163 h 173"/>
              <a:gd name="T66" fmla="*/ 62 w 120"/>
              <a:gd name="T67" fmla="*/ 165 h 173"/>
              <a:gd name="T68" fmla="*/ 65 w 120"/>
              <a:gd name="T69" fmla="*/ 168 h 173"/>
              <a:gd name="T70" fmla="*/ 66 w 120"/>
              <a:gd name="T71" fmla="*/ 170 h 173"/>
              <a:gd name="T72" fmla="*/ 67 w 120"/>
              <a:gd name="T73" fmla="*/ 173 h 173"/>
              <a:gd name="T74" fmla="*/ 76 w 120"/>
              <a:gd name="T75" fmla="*/ 167 h 173"/>
              <a:gd name="T76" fmla="*/ 86 w 120"/>
              <a:gd name="T77" fmla="*/ 160 h 173"/>
              <a:gd name="T78" fmla="*/ 93 w 120"/>
              <a:gd name="T79" fmla="*/ 152 h 173"/>
              <a:gd name="T80" fmla="*/ 101 w 120"/>
              <a:gd name="T81" fmla="*/ 142 h 173"/>
              <a:gd name="T82" fmla="*/ 106 w 120"/>
              <a:gd name="T83" fmla="*/ 132 h 173"/>
              <a:gd name="T84" fmla="*/ 112 w 120"/>
              <a:gd name="T85" fmla="*/ 121 h 173"/>
              <a:gd name="T86" fmla="*/ 116 w 120"/>
              <a:gd name="T87" fmla="*/ 110 h 173"/>
              <a:gd name="T88" fmla="*/ 120 w 120"/>
              <a:gd name="T89" fmla="*/ 99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3" name="Freeform 229">
            <a:extLst>
              <a:ext uri="{FF2B5EF4-FFF2-40B4-BE49-F238E27FC236}">
                <a16:creationId xmlns:a16="http://schemas.microsoft.com/office/drawing/2014/main" id="{8DA29A00-5E3A-4397-AA74-F056FEC99471}"/>
              </a:ext>
            </a:extLst>
          </p:cNvPr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7900554" y="2493259"/>
            <a:ext cx="80974" cy="58738"/>
          </a:xfrm>
          <a:custGeom>
            <a:avLst/>
            <a:gdLst>
              <a:gd name="T0" fmla="*/ 200 w 200"/>
              <a:gd name="T1" fmla="*/ 55 h 98"/>
              <a:gd name="T2" fmla="*/ 195 w 200"/>
              <a:gd name="T3" fmla="*/ 56 h 98"/>
              <a:gd name="T4" fmla="*/ 186 w 200"/>
              <a:gd name="T5" fmla="*/ 60 h 98"/>
              <a:gd name="T6" fmla="*/ 177 w 200"/>
              <a:gd name="T7" fmla="*/ 65 h 98"/>
              <a:gd name="T8" fmla="*/ 166 w 200"/>
              <a:gd name="T9" fmla="*/ 73 h 98"/>
              <a:gd name="T10" fmla="*/ 155 w 200"/>
              <a:gd name="T11" fmla="*/ 80 h 98"/>
              <a:gd name="T12" fmla="*/ 145 w 200"/>
              <a:gd name="T13" fmla="*/ 87 h 98"/>
              <a:gd name="T14" fmla="*/ 137 w 200"/>
              <a:gd name="T15" fmla="*/ 93 h 98"/>
              <a:gd name="T16" fmla="*/ 133 w 200"/>
              <a:gd name="T17" fmla="*/ 98 h 98"/>
              <a:gd name="T18" fmla="*/ 127 w 200"/>
              <a:gd name="T19" fmla="*/ 98 h 98"/>
              <a:gd name="T20" fmla="*/ 122 w 200"/>
              <a:gd name="T21" fmla="*/ 98 h 98"/>
              <a:gd name="T22" fmla="*/ 116 w 200"/>
              <a:gd name="T23" fmla="*/ 97 h 98"/>
              <a:gd name="T24" fmla="*/ 111 w 200"/>
              <a:gd name="T25" fmla="*/ 95 h 98"/>
              <a:gd name="T26" fmla="*/ 106 w 200"/>
              <a:gd name="T27" fmla="*/ 93 h 98"/>
              <a:gd name="T28" fmla="*/ 103 w 200"/>
              <a:gd name="T29" fmla="*/ 88 h 98"/>
              <a:gd name="T30" fmla="*/ 101 w 200"/>
              <a:gd name="T31" fmla="*/ 82 h 98"/>
              <a:gd name="T32" fmla="*/ 100 w 200"/>
              <a:gd name="T33" fmla="*/ 74 h 98"/>
              <a:gd name="T34" fmla="*/ 91 w 200"/>
              <a:gd name="T35" fmla="*/ 80 h 98"/>
              <a:gd name="T36" fmla="*/ 82 w 200"/>
              <a:gd name="T37" fmla="*/ 86 h 98"/>
              <a:gd name="T38" fmla="*/ 78 w 200"/>
              <a:gd name="T39" fmla="*/ 90 h 98"/>
              <a:gd name="T40" fmla="*/ 72 w 200"/>
              <a:gd name="T41" fmla="*/ 93 h 98"/>
              <a:gd name="T42" fmla="*/ 67 w 200"/>
              <a:gd name="T43" fmla="*/ 96 h 98"/>
              <a:gd name="T44" fmla="*/ 60 w 200"/>
              <a:gd name="T45" fmla="*/ 98 h 98"/>
              <a:gd name="T46" fmla="*/ 39 w 200"/>
              <a:gd name="T47" fmla="*/ 98 h 98"/>
              <a:gd name="T48" fmla="*/ 34 w 200"/>
              <a:gd name="T49" fmla="*/ 98 h 98"/>
              <a:gd name="T50" fmla="*/ 28 w 200"/>
              <a:gd name="T51" fmla="*/ 95 h 98"/>
              <a:gd name="T52" fmla="*/ 22 w 200"/>
              <a:gd name="T53" fmla="*/ 92 h 98"/>
              <a:gd name="T54" fmla="*/ 15 w 200"/>
              <a:gd name="T55" fmla="*/ 89 h 98"/>
              <a:gd name="T56" fmla="*/ 9 w 200"/>
              <a:gd name="T57" fmla="*/ 85 h 98"/>
              <a:gd name="T58" fmla="*/ 4 w 200"/>
              <a:gd name="T59" fmla="*/ 81 h 98"/>
              <a:gd name="T60" fmla="*/ 1 w 200"/>
              <a:gd name="T61" fmla="*/ 77 h 98"/>
              <a:gd name="T62" fmla="*/ 0 w 200"/>
              <a:gd name="T63" fmla="*/ 74 h 98"/>
              <a:gd name="T64" fmla="*/ 5 w 200"/>
              <a:gd name="T65" fmla="*/ 71 h 98"/>
              <a:gd name="T66" fmla="*/ 10 w 200"/>
              <a:gd name="T67" fmla="*/ 67 h 98"/>
              <a:gd name="T68" fmla="*/ 14 w 200"/>
              <a:gd name="T69" fmla="*/ 60 h 98"/>
              <a:gd name="T70" fmla="*/ 20 w 200"/>
              <a:gd name="T71" fmla="*/ 53 h 98"/>
              <a:gd name="T72" fmla="*/ 23 w 200"/>
              <a:gd name="T73" fmla="*/ 45 h 98"/>
              <a:gd name="T74" fmla="*/ 27 w 200"/>
              <a:gd name="T75" fmla="*/ 37 h 98"/>
              <a:gd name="T76" fmla="*/ 30 w 200"/>
              <a:gd name="T77" fmla="*/ 28 h 98"/>
              <a:gd name="T78" fmla="*/ 33 w 200"/>
              <a:gd name="T79" fmla="*/ 19 h 98"/>
              <a:gd name="T80" fmla="*/ 66 w 200"/>
              <a:gd name="T81" fmla="*/ 14 h 98"/>
              <a:gd name="T82" fmla="*/ 103 w 200"/>
              <a:gd name="T83" fmla="*/ 9 h 98"/>
              <a:gd name="T84" fmla="*/ 145 w 200"/>
              <a:gd name="T85" fmla="*/ 4 h 98"/>
              <a:gd name="T86" fmla="*/ 193 w 200"/>
              <a:gd name="T87" fmla="*/ 0 h 98"/>
              <a:gd name="T88" fmla="*/ 166 w 200"/>
              <a:gd name="T89" fmla="*/ 31 h 98"/>
              <a:gd name="T90" fmla="*/ 166 w 200"/>
              <a:gd name="T91" fmla="*/ 34 h 98"/>
              <a:gd name="T92" fmla="*/ 164 w 200"/>
              <a:gd name="T93" fmla="*/ 37 h 98"/>
              <a:gd name="T94" fmla="*/ 162 w 200"/>
              <a:gd name="T95" fmla="*/ 39 h 98"/>
              <a:gd name="T96" fmla="*/ 161 w 200"/>
              <a:gd name="T97" fmla="*/ 41 h 98"/>
              <a:gd name="T98" fmla="*/ 157 w 200"/>
              <a:gd name="T99" fmla="*/ 45 h 98"/>
              <a:gd name="T100" fmla="*/ 156 w 200"/>
              <a:gd name="T101" fmla="*/ 47 h 98"/>
              <a:gd name="T102" fmla="*/ 156 w 200"/>
              <a:gd name="T103" fmla="*/ 49 h 98"/>
              <a:gd name="T104" fmla="*/ 157 w 200"/>
              <a:gd name="T105" fmla="*/ 50 h 98"/>
              <a:gd name="T106" fmla="*/ 159 w 200"/>
              <a:gd name="T107" fmla="*/ 50 h 98"/>
              <a:gd name="T108" fmla="*/ 163 w 200"/>
              <a:gd name="T109" fmla="*/ 51 h 98"/>
              <a:gd name="T110" fmla="*/ 177 w 200"/>
              <a:gd name="T111" fmla="*/ 53 h 98"/>
              <a:gd name="T112" fmla="*/ 200 w 200"/>
              <a:gd name="T113" fmla="*/ 5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4" name="Freeform 230">
            <a:extLst>
              <a:ext uri="{FF2B5EF4-FFF2-40B4-BE49-F238E27FC236}">
                <a16:creationId xmlns:a16="http://schemas.microsoft.com/office/drawing/2014/main" id="{4D5FC1BF-4009-41CE-9D5A-AF8D3D845B86}"/>
              </a:ext>
            </a:extLst>
          </p:cNvPr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7840968" y="2312285"/>
            <a:ext cx="80974" cy="73025"/>
          </a:xfrm>
          <a:custGeom>
            <a:avLst/>
            <a:gdLst>
              <a:gd name="T0" fmla="*/ 0 w 186"/>
              <a:gd name="T1" fmla="*/ 112 h 142"/>
              <a:gd name="T2" fmla="*/ 2 w 186"/>
              <a:gd name="T3" fmla="*/ 116 h 142"/>
              <a:gd name="T4" fmla="*/ 3 w 186"/>
              <a:gd name="T5" fmla="*/ 107 h 142"/>
              <a:gd name="T6" fmla="*/ 3 w 186"/>
              <a:gd name="T7" fmla="*/ 93 h 142"/>
              <a:gd name="T8" fmla="*/ 9 w 186"/>
              <a:gd name="T9" fmla="*/ 82 h 142"/>
              <a:gd name="T10" fmla="*/ 17 w 186"/>
              <a:gd name="T11" fmla="*/ 69 h 142"/>
              <a:gd name="T12" fmla="*/ 20 w 186"/>
              <a:gd name="T13" fmla="*/ 56 h 142"/>
              <a:gd name="T14" fmla="*/ 23 w 186"/>
              <a:gd name="T15" fmla="*/ 46 h 142"/>
              <a:gd name="T16" fmla="*/ 28 w 186"/>
              <a:gd name="T17" fmla="*/ 37 h 142"/>
              <a:gd name="T18" fmla="*/ 35 w 186"/>
              <a:gd name="T19" fmla="*/ 32 h 142"/>
              <a:gd name="T20" fmla="*/ 41 w 186"/>
              <a:gd name="T21" fmla="*/ 38 h 142"/>
              <a:gd name="T22" fmla="*/ 43 w 186"/>
              <a:gd name="T23" fmla="*/ 49 h 142"/>
              <a:gd name="T24" fmla="*/ 47 w 186"/>
              <a:gd name="T25" fmla="*/ 58 h 142"/>
              <a:gd name="T26" fmla="*/ 55 w 186"/>
              <a:gd name="T27" fmla="*/ 65 h 142"/>
              <a:gd name="T28" fmla="*/ 87 w 186"/>
              <a:gd name="T29" fmla="*/ 67 h 142"/>
              <a:gd name="T30" fmla="*/ 79 w 186"/>
              <a:gd name="T31" fmla="*/ 41 h 142"/>
              <a:gd name="T32" fmla="*/ 69 w 186"/>
              <a:gd name="T33" fmla="*/ 36 h 142"/>
              <a:gd name="T34" fmla="*/ 63 w 186"/>
              <a:gd name="T35" fmla="*/ 30 h 142"/>
              <a:gd name="T36" fmla="*/ 61 w 186"/>
              <a:gd name="T37" fmla="*/ 23 h 142"/>
              <a:gd name="T38" fmla="*/ 70 w 186"/>
              <a:gd name="T39" fmla="*/ 17 h 142"/>
              <a:gd name="T40" fmla="*/ 87 w 186"/>
              <a:gd name="T41" fmla="*/ 14 h 142"/>
              <a:gd name="T42" fmla="*/ 98 w 186"/>
              <a:gd name="T43" fmla="*/ 10 h 142"/>
              <a:gd name="T44" fmla="*/ 111 w 186"/>
              <a:gd name="T45" fmla="*/ 6 h 142"/>
              <a:gd name="T46" fmla="*/ 130 w 186"/>
              <a:gd name="T47" fmla="*/ 3 h 142"/>
              <a:gd name="T48" fmla="*/ 147 w 186"/>
              <a:gd name="T49" fmla="*/ 1 h 142"/>
              <a:gd name="T50" fmla="*/ 159 w 186"/>
              <a:gd name="T51" fmla="*/ 2 h 142"/>
              <a:gd name="T52" fmla="*/ 176 w 186"/>
              <a:gd name="T53" fmla="*/ 1 h 142"/>
              <a:gd name="T54" fmla="*/ 183 w 186"/>
              <a:gd name="T55" fmla="*/ 10 h 142"/>
              <a:gd name="T56" fmla="*/ 178 w 186"/>
              <a:gd name="T57" fmla="*/ 26 h 142"/>
              <a:gd name="T58" fmla="*/ 169 w 186"/>
              <a:gd name="T59" fmla="*/ 40 h 142"/>
              <a:gd name="T60" fmla="*/ 159 w 186"/>
              <a:gd name="T61" fmla="*/ 51 h 142"/>
              <a:gd name="T62" fmla="*/ 155 w 186"/>
              <a:gd name="T63" fmla="*/ 63 h 142"/>
              <a:gd name="T64" fmla="*/ 153 w 186"/>
              <a:gd name="T65" fmla="*/ 76 h 142"/>
              <a:gd name="T66" fmla="*/ 120 w 186"/>
              <a:gd name="T67" fmla="*/ 142 h 142"/>
              <a:gd name="T68" fmla="*/ 80 w 186"/>
              <a:gd name="T69" fmla="*/ 122 h 142"/>
              <a:gd name="T70" fmla="*/ 35 w 186"/>
              <a:gd name="T71" fmla="*/ 117 h 142"/>
              <a:gd name="T72" fmla="*/ 8 w 186"/>
              <a:gd name="T73" fmla="*/ 113 h 1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5" name="Freeform 231">
            <a:extLst>
              <a:ext uri="{FF2B5EF4-FFF2-40B4-BE49-F238E27FC236}">
                <a16:creationId xmlns:a16="http://schemas.microsoft.com/office/drawing/2014/main" id="{A9B979FE-705D-48D3-9D87-6940C3FA5A13}"/>
              </a:ext>
            </a:extLst>
          </p:cNvPr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7822634" y="2375784"/>
            <a:ext cx="80974" cy="57150"/>
          </a:xfrm>
          <a:custGeom>
            <a:avLst/>
            <a:gdLst>
              <a:gd name="T0" fmla="*/ 192 w 192"/>
              <a:gd name="T1" fmla="*/ 61 h 105"/>
              <a:gd name="T2" fmla="*/ 189 w 192"/>
              <a:gd name="T3" fmla="*/ 62 h 105"/>
              <a:gd name="T4" fmla="*/ 184 w 192"/>
              <a:gd name="T5" fmla="*/ 63 h 105"/>
              <a:gd name="T6" fmla="*/ 180 w 192"/>
              <a:gd name="T7" fmla="*/ 64 h 105"/>
              <a:gd name="T8" fmla="*/ 177 w 192"/>
              <a:gd name="T9" fmla="*/ 67 h 105"/>
              <a:gd name="T10" fmla="*/ 168 w 192"/>
              <a:gd name="T11" fmla="*/ 72 h 105"/>
              <a:gd name="T12" fmla="*/ 160 w 192"/>
              <a:gd name="T13" fmla="*/ 79 h 105"/>
              <a:gd name="T14" fmla="*/ 154 w 192"/>
              <a:gd name="T15" fmla="*/ 86 h 105"/>
              <a:gd name="T16" fmla="*/ 147 w 192"/>
              <a:gd name="T17" fmla="*/ 93 h 105"/>
              <a:gd name="T18" fmla="*/ 143 w 192"/>
              <a:gd name="T19" fmla="*/ 99 h 105"/>
              <a:gd name="T20" fmla="*/ 139 w 192"/>
              <a:gd name="T21" fmla="*/ 105 h 105"/>
              <a:gd name="T22" fmla="*/ 120 w 192"/>
              <a:gd name="T23" fmla="*/ 97 h 105"/>
              <a:gd name="T24" fmla="*/ 102 w 192"/>
              <a:gd name="T25" fmla="*/ 89 h 105"/>
              <a:gd name="T26" fmla="*/ 86 w 192"/>
              <a:gd name="T27" fmla="*/ 80 h 105"/>
              <a:gd name="T28" fmla="*/ 69 w 192"/>
              <a:gd name="T29" fmla="*/ 71 h 105"/>
              <a:gd name="T30" fmla="*/ 53 w 192"/>
              <a:gd name="T31" fmla="*/ 61 h 105"/>
              <a:gd name="T32" fmla="*/ 36 w 192"/>
              <a:gd name="T33" fmla="*/ 53 h 105"/>
              <a:gd name="T34" fmla="*/ 19 w 192"/>
              <a:gd name="T35" fmla="*/ 44 h 105"/>
              <a:gd name="T36" fmla="*/ 0 w 192"/>
              <a:gd name="T37" fmla="*/ 37 h 105"/>
              <a:gd name="T38" fmla="*/ 0 w 192"/>
              <a:gd name="T39" fmla="*/ 13 h 105"/>
              <a:gd name="T40" fmla="*/ 7 w 192"/>
              <a:gd name="T41" fmla="*/ 7 h 105"/>
              <a:gd name="T42" fmla="*/ 16 w 192"/>
              <a:gd name="T43" fmla="*/ 4 h 105"/>
              <a:gd name="T44" fmla="*/ 29 w 192"/>
              <a:gd name="T45" fmla="*/ 1 h 105"/>
              <a:gd name="T46" fmla="*/ 40 w 192"/>
              <a:gd name="T47" fmla="*/ 0 h 105"/>
              <a:gd name="T48" fmla="*/ 60 w 192"/>
              <a:gd name="T49" fmla="*/ 2 h 105"/>
              <a:gd name="T50" fmla="*/ 93 w 192"/>
              <a:gd name="T51" fmla="*/ 5 h 105"/>
              <a:gd name="T52" fmla="*/ 111 w 192"/>
              <a:gd name="T53" fmla="*/ 7 h 105"/>
              <a:gd name="T54" fmla="*/ 128 w 192"/>
              <a:gd name="T55" fmla="*/ 7 h 105"/>
              <a:gd name="T56" fmla="*/ 143 w 192"/>
              <a:gd name="T57" fmla="*/ 7 h 105"/>
              <a:gd name="T58" fmla="*/ 153 w 192"/>
              <a:gd name="T59" fmla="*/ 6 h 105"/>
              <a:gd name="T60" fmla="*/ 155 w 192"/>
              <a:gd name="T61" fmla="*/ 11 h 105"/>
              <a:gd name="T62" fmla="*/ 159 w 192"/>
              <a:gd name="T63" fmla="*/ 17 h 105"/>
              <a:gd name="T64" fmla="*/ 161 w 192"/>
              <a:gd name="T65" fmla="*/ 20 h 105"/>
              <a:gd name="T66" fmla="*/ 164 w 192"/>
              <a:gd name="T67" fmla="*/ 23 h 105"/>
              <a:gd name="T68" fmla="*/ 165 w 192"/>
              <a:gd name="T69" fmla="*/ 27 h 105"/>
              <a:gd name="T70" fmla="*/ 166 w 192"/>
              <a:gd name="T71" fmla="*/ 31 h 105"/>
              <a:gd name="T72" fmla="*/ 170 w 192"/>
              <a:gd name="T73" fmla="*/ 32 h 105"/>
              <a:gd name="T74" fmla="*/ 177 w 192"/>
              <a:gd name="T75" fmla="*/ 33 h 105"/>
              <a:gd name="T76" fmla="*/ 180 w 192"/>
              <a:gd name="T77" fmla="*/ 34 h 105"/>
              <a:gd name="T78" fmla="*/ 183 w 192"/>
              <a:gd name="T79" fmla="*/ 34 h 105"/>
              <a:gd name="T80" fmla="*/ 188 w 192"/>
              <a:gd name="T81" fmla="*/ 33 h 105"/>
              <a:gd name="T82" fmla="*/ 192 w 192"/>
              <a:gd name="T83" fmla="*/ 31 h 105"/>
              <a:gd name="T84" fmla="*/ 192 w 192"/>
              <a:gd name="T85" fmla="*/ 61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6" name="Freeform 232">
            <a:extLst>
              <a:ext uri="{FF2B5EF4-FFF2-40B4-BE49-F238E27FC236}">
                <a16:creationId xmlns:a16="http://schemas.microsoft.com/office/drawing/2014/main" id="{74D7FC5B-47FD-40CF-B248-633418AE5E60}"/>
              </a:ext>
            </a:extLst>
          </p:cNvPr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8554457" y="2929822"/>
            <a:ext cx="32084" cy="131762"/>
          </a:xfrm>
          <a:custGeom>
            <a:avLst/>
            <a:gdLst>
              <a:gd name="T0" fmla="*/ 33 w 80"/>
              <a:gd name="T1" fmla="*/ 0 h 254"/>
              <a:gd name="T2" fmla="*/ 37 w 80"/>
              <a:gd name="T3" fmla="*/ 2 h 254"/>
              <a:gd name="T4" fmla="*/ 40 w 80"/>
              <a:gd name="T5" fmla="*/ 4 h 254"/>
              <a:gd name="T6" fmla="*/ 43 w 80"/>
              <a:gd name="T7" fmla="*/ 7 h 254"/>
              <a:gd name="T8" fmla="*/ 46 w 80"/>
              <a:gd name="T9" fmla="*/ 10 h 254"/>
              <a:gd name="T10" fmla="*/ 52 w 80"/>
              <a:gd name="T11" fmla="*/ 18 h 254"/>
              <a:gd name="T12" fmla="*/ 56 w 80"/>
              <a:gd name="T13" fmla="*/ 25 h 254"/>
              <a:gd name="T14" fmla="*/ 62 w 80"/>
              <a:gd name="T15" fmla="*/ 32 h 254"/>
              <a:gd name="T16" fmla="*/ 67 w 80"/>
              <a:gd name="T17" fmla="*/ 38 h 254"/>
              <a:gd name="T18" fmla="*/ 70 w 80"/>
              <a:gd name="T19" fmla="*/ 40 h 254"/>
              <a:gd name="T20" fmla="*/ 73 w 80"/>
              <a:gd name="T21" fmla="*/ 42 h 254"/>
              <a:gd name="T22" fmla="*/ 76 w 80"/>
              <a:gd name="T23" fmla="*/ 43 h 254"/>
              <a:gd name="T24" fmla="*/ 80 w 80"/>
              <a:gd name="T25" fmla="*/ 44 h 254"/>
              <a:gd name="T26" fmla="*/ 80 w 80"/>
              <a:gd name="T27" fmla="*/ 53 h 254"/>
              <a:gd name="T28" fmla="*/ 80 w 80"/>
              <a:gd name="T29" fmla="*/ 62 h 254"/>
              <a:gd name="T30" fmla="*/ 53 w 80"/>
              <a:gd name="T31" fmla="*/ 254 h 254"/>
              <a:gd name="T32" fmla="*/ 0 w 80"/>
              <a:gd name="T33" fmla="*/ 93 h 254"/>
              <a:gd name="T34" fmla="*/ 4 w 80"/>
              <a:gd name="T35" fmla="*/ 88 h 254"/>
              <a:gd name="T36" fmla="*/ 11 w 80"/>
              <a:gd name="T37" fmla="*/ 71 h 254"/>
              <a:gd name="T38" fmla="*/ 17 w 80"/>
              <a:gd name="T39" fmla="*/ 57 h 254"/>
              <a:gd name="T40" fmla="*/ 22 w 80"/>
              <a:gd name="T41" fmla="*/ 41 h 254"/>
              <a:gd name="T42" fmla="*/ 28 w 80"/>
              <a:gd name="T43" fmla="*/ 23 h 254"/>
              <a:gd name="T44" fmla="*/ 33 w 80"/>
              <a:gd name="T45" fmla="*/ 0 h 2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7" name="Freeform 233">
            <a:extLst>
              <a:ext uri="{FF2B5EF4-FFF2-40B4-BE49-F238E27FC236}">
                <a16:creationId xmlns:a16="http://schemas.microsoft.com/office/drawing/2014/main" id="{F407C7FF-E0E2-4CD9-B779-3820D5C5C885}"/>
              </a:ext>
            </a:extLst>
          </p:cNvPr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8505566" y="2982210"/>
            <a:ext cx="67224" cy="130175"/>
          </a:xfrm>
          <a:custGeom>
            <a:avLst/>
            <a:gdLst>
              <a:gd name="T0" fmla="*/ 114 w 167"/>
              <a:gd name="T1" fmla="*/ 0 h 259"/>
              <a:gd name="T2" fmla="*/ 167 w 167"/>
              <a:gd name="T3" fmla="*/ 155 h 259"/>
              <a:gd name="T4" fmla="*/ 121 w 167"/>
              <a:gd name="T5" fmla="*/ 259 h 259"/>
              <a:gd name="T6" fmla="*/ 113 w 167"/>
              <a:gd name="T7" fmla="*/ 259 h 259"/>
              <a:gd name="T8" fmla="*/ 107 w 167"/>
              <a:gd name="T9" fmla="*/ 257 h 259"/>
              <a:gd name="T10" fmla="*/ 100 w 167"/>
              <a:gd name="T11" fmla="*/ 254 h 259"/>
              <a:gd name="T12" fmla="*/ 95 w 167"/>
              <a:gd name="T13" fmla="*/ 251 h 259"/>
              <a:gd name="T14" fmla="*/ 89 w 167"/>
              <a:gd name="T15" fmla="*/ 245 h 259"/>
              <a:gd name="T16" fmla="*/ 85 w 167"/>
              <a:gd name="T17" fmla="*/ 240 h 259"/>
              <a:gd name="T18" fmla="*/ 80 w 167"/>
              <a:gd name="T19" fmla="*/ 235 h 259"/>
              <a:gd name="T20" fmla="*/ 76 w 167"/>
              <a:gd name="T21" fmla="*/ 229 h 259"/>
              <a:gd name="T22" fmla="*/ 69 w 167"/>
              <a:gd name="T23" fmla="*/ 217 h 259"/>
              <a:gd name="T24" fmla="*/ 65 w 167"/>
              <a:gd name="T25" fmla="*/ 205 h 259"/>
              <a:gd name="T26" fmla="*/ 62 w 167"/>
              <a:gd name="T27" fmla="*/ 194 h 259"/>
              <a:gd name="T28" fmla="*/ 62 w 167"/>
              <a:gd name="T29" fmla="*/ 185 h 259"/>
              <a:gd name="T30" fmla="*/ 55 w 167"/>
              <a:gd name="T31" fmla="*/ 184 h 259"/>
              <a:gd name="T32" fmla="*/ 51 w 167"/>
              <a:gd name="T33" fmla="*/ 183 h 259"/>
              <a:gd name="T34" fmla="*/ 45 w 167"/>
              <a:gd name="T35" fmla="*/ 182 h 259"/>
              <a:gd name="T36" fmla="*/ 42 w 167"/>
              <a:gd name="T37" fmla="*/ 180 h 259"/>
              <a:gd name="T38" fmla="*/ 39 w 167"/>
              <a:gd name="T39" fmla="*/ 177 h 259"/>
              <a:gd name="T40" fmla="*/ 36 w 167"/>
              <a:gd name="T41" fmla="*/ 174 h 259"/>
              <a:gd name="T42" fmla="*/ 34 w 167"/>
              <a:gd name="T43" fmla="*/ 170 h 259"/>
              <a:gd name="T44" fmla="*/ 32 w 167"/>
              <a:gd name="T45" fmla="*/ 167 h 259"/>
              <a:gd name="T46" fmla="*/ 30 w 167"/>
              <a:gd name="T47" fmla="*/ 158 h 259"/>
              <a:gd name="T48" fmla="*/ 29 w 167"/>
              <a:gd name="T49" fmla="*/ 149 h 259"/>
              <a:gd name="T50" fmla="*/ 28 w 167"/>
              <a:gd name="T51" fmla="*/ 140 h 259"/>
              <a:gd name="T52" fmla="*/ 28 w 167"/>
              <a:gd name="T53" fmla="*/ 129 h 259"/>
              <a:gd name="T54" fmla="*/ 21 w 167"/>
              <a:gd name="T55" fmla="*/ 129 h 259"/>
              <a:gd name="T56" fmla="*/ 16 w 167"/>
              <a:gd name="T57" fmla="*/ 127 h 259"/>
              <a:gd name="T58" fmla="*/ 11 w 167"/>
              <a:gd name="T59" fmla="*/ 125 h 259"/>
              <a:gd name="T60" fmla="*/ 7 w 167"/>
              <a:gd name="T61" fmla="*/ 121 h 259"/>
              <a:gd name="T62" fmla="*/ 5 w 167"/>
              <a:gd name="T63" fmla="*/ 117 h 259"/>
              <a:gd name="T64" fmla="*/ 2 w 167"/>
              <a:gd name="T65" fmla="*/ 112 h 259"/>
              <a:gd name="T66" fmla="*/ 0 w 167"/>
              <a:gd name="T67" fmla="*/ 107 h 259"/>
              <a:gd name="T68" fmla="*/ 0 w 167"/>
              <a:gd name="T69" fmla="*/ 101 h 259"/>
              <a:gd name="T70" fmla="*/ 0 w 167"/>
              <a:gd name="T71" fmla="*/ 75 h 259"/>
              <a:gd name="T72" fmla="*/ 1 w 167"/>
              <a:gd name="T73" fmla="*/ 50 h 259"/>
              <a:gd name="T74" fmla="*/ 12 w 167"/>
              <a:gd name="T75" fmla="*/ 52 h 259"/>
              <a:gd name="T76" fmla="*/ 22 w 167"/>
              <a:gd name="T77" fmla="*/ 53 h 259"/>
              <a:gd name="T78" fmla="*/ 32 w 167"/>
              <a:gd name="T79" fmla="*/ 53 h 259"/>
              <a:gd name="T80" fmla="*/ 42 w 167"/>
              <a:gd name="T81" fmla="*/ 52 h 259"/>
              <a:gd name="T82" fmla="*/ 50 w 167"/>
              <a:gd name="T83" fmla="*/ 51 h 259"/>
              <a:gd name="T84" fmla="*/ 58 w 167"/>
              <a:gd name="T85" fmla="*/ 49 h 259"/>
              <a:gd name="T86" fmla="*/ 66 w 167"/>
              <a:gd name="T87" fmla="*/ 47 h 259"/>
              <a:gd name="T88" fmla="*/ 73 w 167"/>
              <a:gd name="T89" fmla="*/ 44 h 259"/>
              <a:gd name="T90" fmla="*/ 79 w 167"/>
              <a:gd name="T91" fmla="*/ 40 h 259"/>
              <a:gd name="T92" fmla="*/ 86 w 167"/>
              <a:gd name="T93" fmla="*/ 36 h 259"/>
              <a:gd name="T94" fmla="*/ 91 w 167"/>
              <a:gd name="T95" fmla="*/ 31 h 259"/>
              <a:gd name="T96" fmla="*/ 97 w 167"/>
              <a:gd name="T97" fmla="*/ 26 h 259"/>
              <a:gd name="T98" fmla="*/ 107 w 167"/>
              <a:gd name="T99" fmla="*/ 13 h 259"/>
              <a:gd name="T100" fmla="*/ 114 w 167"/>
              <a:gd name="T101" fmla="*/ 0 h 2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8" name="Freeform 234">
            <a:extLst>
              <a:ext uri="{FF2B5EF4-FFF2-40B4-BE49-F238E27FC236}">
                <a16:creationId xmlns:a16="http://schemas.microsoft.com/office/drawing/2014/main" id="{4E9CA9ED-B917-44FC-AF3D-07B8E489DB28}"/>
              </a:ext>
            </a:extLst>
          </p:cNvPr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7544572" y="2236085"/>
            <a:ext cx="93197" cy="144463"/>
          </a:xfrm>
          <a:custGeom>
            <a:avLst/>
            <a:gdLst>
              <a:gd name="T0" fmla="*/ 185 w 225"/>
              <a:gd name="T1" fmla="*/ 67 h 273"/>
              <a:gd name="T2" fmla="*/ 173 w 225"/>
              <a:gd name="T3" fmla="*/ 78 h 273"/>
              <a:gd name="T4" fmla="*/ 159 w 225"/>
              <a:gd name="T5" fmla="*/ 82 h 273"/>
              <a:gd name="T6" fmla="*/ 163 w 225"/>
              <a:gd name="T7" fmla="*/ 93 h 273"/>
              <a:gd name="T8" fmla="*/ 174 w 225"/>
              <a:gd name="T9" fmla="*/ 101 h 273"/>
              <a:gd name="T10" fmla="*/ 195 w 225"/>
              <a:gd name="T11" fmla="*/ 105 h 273"/>
              <a:gd name="T12" fmla="*/ 225 w 225"/>
              <a:gd name="T13" fmla="*/ 106 h 273"/>
              <a:gd name="T14" fmla="*/ 225 w 225"/>
              <a:gd name="T15" fmla="*/ 152 h 273"/>
              <a:gd name="T16" fmla="*/ 224 w 225"/>
              <a:gd name="T17" fmla="*/ 176 h 273"/>
              <a:gd name="T18" fmla="*/ 215 w 225"/>
              <a:gd name="T19" fmla="*/ 187 h 273"/>
              <a:gd name="T20" fmla="*/ 197 w 225"/>
              <a:gd name="T21" fmla="*/ 205 h 273"/>
              <a:gd name="T22" fmla="*/ 192 w 225"/>
              <a:gd name="T23" fmla="*/ 214 h 273"/>
              <a:gd name="T24" fmla="*/ 179 w 225"/>
              <a:gd name="T25" fmla="*/ 218 h 273"/>
              <a:gd name="T26" fmla="*/ 164 w 225"/>
              <a:gd name="T27" fmla="*/ 225 h 273"/>
              <a:gd name="T28" fmla="*/ 159 w 225"/>
              <a:gd name="T29" fmla="*/ 236 h 273"/>
              <a:gd name="T30" fmla="*/ 140 w 225"/>
              <a:gd name="T31" fmla="*/ 242 h 273"/>
              <a:gd name="T32" fmla="*/ 128 w 225"/>
              <a:gd name="T33" fmla="*/ 252 h 273"/>
              <a:gd name="T34" fmla="*/ 101 w 225"/>
              <a:gd name="T35" fmla="*/ 255 h 273"/>
              <a:gd name="T36" fmla="*/ 60 w 225"/>
              <a:gd name="T37" fmla="*/ 261 h 273"/>
              <a:gd name="T38" fmla="*/ 19 w 225"/>
              <a:gd name="T39" fmla="*/ 261 h 273"/>
              <a:gd name="T40" fmla="*/ 0 w 225"/>
              <a:gd name="T41" fmla="*/ 217 h 273"/>
              <a:gd name="T42" fmla="*/ 21 w 225"/>
              <a:gd name="T43" fmla="*/ 212 h 273"/>
              <a:gd name="T44" fmla="*/ 26 w 225"/>
              <a:gd name="T45" fmla="*/ 205 h 273"/>
              <a:gd name="T46" fmla="*/ 60 w 225"/>
              <a:gd name="T47" fmla="*/ 202 h 273"/>
              <a:gd name="T48" fmla="*/ 72 w 225"/>
              <a:gd name="T49" fmla="*/ 193 h 273"/>
              <a:gd name="T50" fmla="*/ 48 w 225"/>
              <a:gd name="T51" fmla="*/ 198 h 273"/>
              <a:gd name="T52" fmla="*/ 40 w 225"/>
              <a:gd name="T53" fmla="*/ 197 h 273"/>
              <a:gd name="T54" fmla="*/ 39 w 225"/>
              <a:gd name="T55" fmla="*/ 188 h 273"/>
              <a:gd name="T56" fmla="*/ 46 w 225"/>
              <a:gd name="T57" fmla="*/ 173 h 273"/>
              <a:gd name="T58" fmla="*/ 39 w 225"/>
              <a:gd name="T59" fmla="*/ 160 h 273"/>
              <a:gd name="T60" fmla="*/ 14 w 225"/>
              <a:gd name="T61" fmla="*/ 150 h 273"/>
              <a:gd name="T62" fmla="*/ 6 w 225"/>
              <a:gd name="T63" fmla="*/ 130 h 273"/>
              <a:gd name="T64" fmla="*/ 22 w 225"/>
              <a:gd name="T65" fmla="*/ 115 h 273"/>
              <a:gd name="T66" fmla="*/ 35 w 225"/>
              <a:gd name="T67" fmla="*/ 102 h 273"/>
              <a:gd name="T68" fmla="*/ 68 w 225"/>
              <a:gd name="T69" fmla="*/ 94 h 273"/>
              <a:gd name="T70" fmla="*/ 90 w 225"/>
              <a:gd name="T71" fmla="*/ 94 h 273"/>
              <a:gd name="T72" fmla="*/ 100 w 225"/>
              <a:gd name="T73" fmla="*/ 88 h 273"/>
              <a:gd name="T74" fmla="*/ 108 w 225"/>
              <a:gd name="T75" fmla="*/ 52 h 273"/>
              <a:gd name="T76" fmla="*/ 120 w 225"/>
              <a:gd name="T77" fmla="*/ 31 h 273"/>
              <a:gd name="T78" fmla="*/ 130 w 225"/>
              <a:gd name="T79" fmla="*/ 20 h 273"/>
              <a:gd name="T80" fmla="*/ 141 w 225"/>
              <a:gd name="T81" fmla="*/ 7 h 273"/>
              <a:gd name="T82" fmla="*/ 155 w 225"/>
              <a:gd name="T83" fmla="*/ 1 h 273"/>
              <a:gd name="T84" fmla="*/ 179 w 225"/>
              <a:gd name="T85" fmla="*/ 3 h 273"/>
              <a:gd name="T86" fmla="*/ 195 w 225"/>
              <a:gd name="T87" fmla="*/ 38 h 273"/>
              <a:gd name="T88" fmla="*/ 196 w 225"/>
              <a:gd name="T89" fmla="*/ 47 h 273"/>
              <a:gd name="T90" fmla="*/ 190 w 225"/>
              <a:gd name="T91" fmla="*/ 56 h 2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29" name="Freeform 235">
            <a:extLst>
              <a:ext uri="{FF2B5EF4-FFF2-40B4-BE49-F238E27FC236}">
                <a16:creationId xmlns:a16="http://schemas.microsoft.com/office/drawing/2014/main" id="{DF3FCD13-FF38-4356-8FDD-DC7836DB625B}"/>
              </a:ext>
            </a:extLst>
          </p:cNvPr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7364290" y="3147310"/>
            <a:ext cx="294868" cy="390525"/>
          </a:xfrm>
          <a:custGeom>
            <a:avLst/>
            <a:gdLst>
              <a:gd name="T0" fmla="*/ 94 w 232"/>
              <a:gd name="T1" fmla="*/ 246 h 248"/>
              <a:gd name="T2" fmla="*/ 96 w 232"/>
              <a:gd name="T3" fmla="*/ 243 h 248"/>
              <a:gd name="T4" fmla="*/ 98 w 232"/>
              <a:gd name="T5" fmla="*/ 238 h 248"/>
              <a:gd name="T6" fmla="*/ 100 w 232"/>
              <a:gd name="T7" fmla="*/ 232 h 248"/>
              <a:gd name="T8" fmla="*/ 103 w 232"/>
              <a:gd name="T9" fmla="*/ 231 h 248"/>
              <a:gd name="T10" fmla="*/ 104 w 232"/>
              <a:gd name="T11" fmla="*/ 238 h 248"/>
              <a:gd name="T12" fmla="*/ 106 w 232"/>
              <a:gd name="T13" fmla="*/ 241 h 248"/>
              <a:gd name="T14" fmla="*/ 108 w 232"/>
              <a:gd name="T15" fmla="*/ 242 h 248"/>
              <a:gd name="T16" fmla="*/ 110 w 232"/>
              <a:gd name="T17" fmla="*/ 242 h 248"/>
              <a:gd name="T18" fmla="*/ 113 w 232"/>
              <a:gd name="T19" fmla="*/ 241 h 248"/>
              <a:gd name="T20" fmla="*/ 116 w 232"/>
              <a:gd name="T21" fmla="*/ 238 h 248"/>
              <a:gd name="T22" fmla="*/ 216 w 232"/>
              <a:gd name="T23" fmla="*/ 234 h 248"/>
              <a:gd name="T24" fmla="*/ 213 w 232"/>
              <a:gd name="T25" fmla="*/ 204 h 248"/>
              <a:gd name="T26" fmla="*/ 207 w 232"/>
              <a:gd name="T27" fmla="*/ 138 h 248"/>
              <a:gd name="T28" fmla="*/ 201 w 232"/>
              <a:gd name="T29" fmla="*/ 73 h 248"/>
              <a:gd name="T30" fmla="*/ 198 w 232"/>
              <a:gd name="T31" fmla="*/ 43 h 248"/>
              <a:gd name="T32" fmla="*/ 215 w 232"/>
              <a:gd name="T33" fmla="*/ 44 h 248"/>
              <a:gd name="T34" fmla="*/ 232 w 232"/>
              <a:gd name="T35" fmla="*/ 46 h 248"/>
              <a:gd name="T36" fmla="*/ 161 w 232"/>
              <a:gd name="T37" fmla="*/ 2 h 248"/>
              <a:gd name="T38" fmla="*/ 160 w 232"/>
              <a:gd name="T39" fmla="*/ 8 h 248"/>
              <a:gd name="T40" fmla="*/ 161 w 232"/>
              <a:gd name="T41" fmla="*/ 18 h 248"/>
              <a:gd name="T42" fmla="*/ 98 w 232"/>
              <a:gd name="T43" fmla="*/ 24 h 248"/>
              <a:gd name="T44" fmla="*/ 98 w 232"/>
              <a:gd name="T45" fmla="*/ 74 h 248"/>
              <a:gd name="T46" fmla="*/ 95 w 232"/>
              <a:gd name="T47" fmla="*/ 76 h 248"/>
              <a:gd name="T48" fmla="*/ 87 w 232"/>
              <a:gd name="T49" fmla="*/ 78 h 248"/>
              <a:gd name="T50" fmla="*/ 72 w 232"/>
              <a:gd name="T51" fmla="*/ 82 h 248"/>
              <a:gd name="T52" fmla="*/ 74 w 232"/>
              <a:gd name="T53" fmla="*/ 88 h 248"/>
              <a:gd name="T54" fmla="*/ 78 w 232"/>
              <a:gd name="T55" fmla="*/ 96 h 248"/>
              <a:gd name="T56" fmla="*/ 80 w 232"/>
              <a:gd name="T57" fmla="*/ 105 h 248"/>
              <a:gd name="T58" fmla="*/ 81 w 232"/>
              <a:gd name="T59" fmla="*/ 115 h 248"/>
              <a:gd name="T60" fmla="*/ 9 w 232"/>
              <a:gd name="T61" fmla="*/ 119 h 248"/>
              <a:gd name="T62" fmla="*/ 5 w 232"/>
              <a:gd name="T63" fmla="*/ 130 h 248"/>
              <a:gd name="T64" fmla="*/ 6 w 232"/>
              <a:gd name="T65" fmla="*/ 143 h 248"/>
              <a:gd name="T66" fmla="*/ 8 w 232"/>
              <a:gd name="T67" fmla="*/ 155 h 248"/>
              <a:gd name="T68" fmla="*/ 9 w 232"/>
              <a:gd name="T69" fmla="*/ 168 h 248"/>
              <a:gd name="T70" fmla="*/ 9 w 232"/>
              <a:gd name="T71" fmla="*/ 182 h 248"/>
              <a:gd name="T72" fmla="*/ 8 w 232"/>
              <a:gd name="T73" fmla="*/ 194 h 248"/>
              <a:gd name="T74" fmla="*/ 6 w 232"/>
              <a:gd name="T75" fmla="*/ 206 h 248"/>
              <a:gd name="T76" fmla="*/ 2 w 232"/>
              <a:gd name="T77" fmla="*/ 216 h 248"/>
              <a:gd name="T78" fmla="*/ 2 w 232"/>
              <a:gd name="T79" fmla="*/ 219 h 248"/>
              <a:gd name="T80" fmla="*/ 3 w 232"/>
              <a:gd name="T81" fmla="*/ 220 h 248"/>
              <a:gd name="T82" fmla="*/ 3 w 232"/>
              <a:gd name="T83" fmla="*/ 222 h 248"/>
              <a:gd name="T84" fmla="*/ 7 w 232"/>
              <a:gd name="T85" fmla="*/ 217 h 248"/>
              <a:gd name="T86" fmla="*/ 18 w 232"/>
              <a:gd name="T87" fmla="*/ 213 h 248"/>
              <a:gd name="T88" fmla="*/ 36 w 232"/>
              <a:gd name="T89" fmla="*/ 207 h 248"/>
              <a:gd name="T90" fmla="*/ 45 w 232"/>
              <a:gd name="T91" fmla="*/ 208 h 248"/>
              <a:gd name="T92" fmla="*/ 51 w 232"/>
              <a:gd name="T93" fmla="*/ 212 h 248"/>
              <a:gd name="T94" fmla="*/ 56 w 232"/>
              <a:gd name="T95" fmla="*/ 214 h 248"/>
              <a:gd name="T96" fmla="*/ 62 w 232"/>
              <a:gd name="T97" fmla="*/ 215 h 248"/>
              <a:gd name="T98" fmla="*/ 66 w 232"/>
              <a:gd name="T99" fmla="*/ 219 h 248"/>
              <a:gd name="T100" fmla="*/ 67 w 232"/>
              <a:gd name="T101" fmla="*/ 225 h 248"/>
              <a:gd name="T102" fmla="*/ 70 w 232"/>
              <a:gd name="T103" fmla="*/ 231 h 248"/>
              <a:gd name="T104" fmla="*/ 74 w 232"/>
              <a:gd name="T105" fmla="*/ 235 h 248"/>
              <a:gd name="T106" fmla="*/ 85 w 232"/>
              <a:gd name="T107" fmla="*/ 243 h 2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0" name="Freeform 236">
            <a:extLst>
              <a:ext uri="{FF2B5EF4-FFF2-40B4-BE49-F238E27FC236}">
                <a16:creationId xmlns:a16="http://schemas.microsoft.com/office/drawing/2014/main" id="{DAACBCF1-5F7F-404B-9798-160949EDDD1A}"/>
              </a:ext>
            </a:extLst>
          </p:cNvPr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7475822" y="3207635"/>
            <a:ext cx="398758" cy="468313"/>
          </a:xfrm>
          <a:custGeom>
            <a:avLst/>
            <a:gdLst>
              <a:gd name="T0" fmla="*/ 90 w 948"/>
              <a:gd name="T1" fmla="*/ 788 h 893"/>
              <a:gd name="T2" fmla="*/ 121 w 948"/>
              <a:gd name="T3" fmla="*/ 788 h 893"/>
              <a:gd name="T4" fmla="*/ 146 w 948"/>
              <a:gd name="T5" fmla="*/ 783 h 893"/>
              <a:gd name="T6" fmla="*/ 186 w 948"/>
              <a:gd name="T7" fmla="*/ 776 h 893"/>
              <a:gd name="T8" fmla="*/ 197 w 948"/>
              <a:gd name="T9" fmla="*/ 813 h 893"/>
              <a:gd name="T10" fmla="*/ 212 w 948"/>
              <a:gd name="T11" fmla="*/ 835 h 893"/>
              <a:gd name="T12" fmla="*/ 226 w 948"/>
              <a:gd name="T13" fmla="*/ 846 h 893"/>
              <a:gd name="T14" fmla="*/ 246 w 948"/>
              <a:gd name="T15" fmla="*/ 850 h 893"/>
              <a:gd name="T16" fmla="*/ 246 w 948"/>
              <a:gd name="T17" fmla="*/ 881 h 893"/>
              <a:gd name="T18" fmla="*/ 326 w 948"/>
              <a:gd name="T19" fmla="*/ 889 h 893"/>
              <a:gd name="T20" fmla="*/ 334 w 948"/>
              <a:gd name="T21" fmla="*/ 876 h 893"/>
              <a:gd name="T22" fmla="*/ 347 w 948"/>
              <a:gd name="T23" fmla="*/ 871 h 893"/>
              <a:gd name="T24" fmla="*/ 348 w 948"/>
              <a:gd name="T25" fmla="*/ 888 h 893"/>
              <a:gd name="T26" fmla="*/ 358 w 948"/>
              <a:gd name="T27" fmla="*/ 893 h 893"/>
              <a:gd name="T28" fmla="*/ 385 w 948"/>
              <a:gd name="T29" fmla="*/ 893 h 893"/>
              <a:gd name="T30" fmla="*/ 401 w 948"/>
              <a:gd name="T31" fmla="*/ 854 h 893"/>
              <a:gd name="T32" fmla="*/ 412 w 948"/>
              <a:gd name="T33" fmla="*/ 788 h 893"/>
              <a:gd name="T34" fmla="*/ 424 w 948"/>
              <a:gd name="T35" fmla="*/ 771 h 893"/>
              <a:gd name="T36" fmla="*/ 452 w 948"/>
              <a:gd name="T37" fmla="*/ 754 h 893"/>
              <a:gd name="T38" fmla="*/ 485 w 948"/>
              <a:gd name="T39" fmla="*/ 743 h 893"/>
              <a:gd name="T40" fmla="*/ 501 w 948"/>
              <a:gd name="T41" fmla="*/ 729 h 893"/>
              <a:gd name="T42" fmla="*/ 515 w 948"/>
              <a:gd name="T43" fmla="*/ 702 h 893"/>
              <a:gd name="T44" fmla="*/ 535 w 948"/>
              <a:gd name="T45" fmla="*/ 668 h 893"/>
              <a:gd name="T46" fmla="*/ 547 w 948"/>
              <a:gd name="T47" fmla="*/ 660 h 893"/>
              <a:gd name="T48" fmla="*/ 572 w 948"/>
              <a:gd name="T49" fmla="*/ 659 h 893"/>
              <a:gd name="T50" fmla="*/ 605 w 948"/>
              <a:gd name="T51" fmla="*/ 644 h 893"/>
              <a:gd name="T52" fmla="*/ 639 w 948"/>
              <a:gd name="T53" fmla="*/ 624 h 893"/>
              <a:gd name="T54" fmla="*/ 674 w 948"/>
              <a:gd name="T55" fmla="*/ 613 h 893"/>
              <a:gd name="T56" fmla="*/ 724 w 948"/>
              <a:gd name="T57" fmla="*/ 610 h 893"/>
              <a:gd name="T58" fmla="*/ 788 w 948"/>
              <a:gd name="T59" fmla="*/ 602 h 893"/>
              <a:gd name="T60" fmla="*/ 815 w 948"/>
              <a:gd name="T61" fmla="*/ 594 h 893"/>
              <a:gd name="T62" fmla="*/ 863 w 948"/>
              <a:gd name="T63" fmla="*/ 590 h 893"/>
              <a:gd name="T64" fmla="*/ 901 w 948"/>
              <a:gd name="T65" fmla="*/ 583 h 893"/>
              <a:gd name="T66" fmla="*/ 913 w 948"/>
              <a:gd name="T67" fmla="*/ 574 h 893"/>
              <a:gd name="T68" fmla="*/ 931 w 948"/>
              <a:gd name="T69" fmla="*/ 544 h 893"/>
              <a:gd name="T70" fmla="*/ 943 w 948"/>
              <a:gd name="T71" fmla="*/ 504 h 893"/>
              <a:gd name="T72" fmla="*/ 948 w 948"/>
              <a:gd name="T73" fmla="*/ 461 h 893"/>
              <a:gd name="T74" fmla="*/ 947 w 948"/>
              <a:gd name="T75" fmla="*/ 421 h 893"/>
              <a:gd name="T76" fmla="*/ 943 w 948"/>
              <a:gd name="T77" fmla="*/ 363 h 893"/>
              <a:gd name="T78" fmla="*/ 922 w 948"/>
              <a:gd name="T79" fmla="*/ 356 h 893"/>
              <a:gd name="T80" fmla="*/ 862 w 948"/>
              <a:gd name="T81" fmla="*/ 322 h 893"/>
              <a:gd name="T82" fmla="*/ 794 w 948"/>
              <a:gd name="T83" fmla="*/ 278 h 893"/>
              <a:gd name="T84" fmla="*/ 738 w 948"/>
              <a:gd name="T85" fmla="*/ 216 h 893"/>
              <a:gd name="T86" fmla="*/ 412 w 948"/>
              <a:gd name="T87" fmla="*/ 12 h 893"/>
              <a:gd name="T88" fmla="*/ 348 w 948"/>
              <a:gd name="T89" fmla="*/ 102 h 893"/>
              <a:gd name="T90" fmla="*/ 379 w 948"/>
              <a:gd name="T91" fmla="*/ 405 h 893"/>
              <a:gd name="T92" fmla="*/ 392 w 948"/>
              <a:gd name="T93" fmla="*/ 565 h 893"/>
              <a:gd name="T94" fmla="*/ 93 w 948"/>
              <a:gd name="T95" fmla="*/ 591 h 893"/>
              <a:gd name="T96" fmla="*/ 79 w 948"/>
              <a:gd name="T97" fmla="*/ 606 h 893"/>
              <a:gd name="T98" fmla="*/ 67 w 948"/>
              <a:gd name="T99" fmla="*/ 610 h 893"/>
              <a:gd name="T100" fmla="*/ 57 w 948"/>
              <a:gd name="T101" fmla="*/ 607 h 893"/>
              <a:gd name="T102" fmla="*/ 49 w 948"/>
              <a:gd name="T103" fmla="*/ 591 h 893"/>
              <a:gd name="T104" fmla="*/ 40 w 948"/>
              <a:gd name="T105" fmla="*/ 581 h 893"/>
              <a:gd name="T106" fmla="*/ 29 w 948"/>
              <a:gd name="T107" fmla="*/ 605 h 893"/>
              <a:gd name="T108" fmla="*/ 15 w 948"/>
              <a:gd name="T109" fmla="*/ 623 h 893"/>
              <a:gd name="T110" fmla="*/ 67 w 948"/>
              <a:gd name="T111" fmla="*/ 733 h 893"/>
              <a:gd name="T112" fmla="*/ 61 w 948"/>
              <a:gd name="T113" fmla="*/ 748 h 893"/>
              <a:gd name="T114" fmla="*/ 62 w 948"/>
              <a:gd name="T115" fmla="*/ 760 h 893"/>
              <a:gd name="T116" fmla="*/ 54 w 948"/>
              <a:gd name="T117" fmla="*/ 788 h 8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1" name="Freeform 237">
            <a:extLst>
              <a:ext uri="{FF2B5EF4-FFF2-40B4-BE49-F238E27FC236}">
                <a16:creationId xmlns:a16="http://schemas.microsoft.com/office/drawing/2014/main" id="{1ED4594C-A6AB-4FB4-ACDA-62E2ACE5FBAB}"/>
              </a:ext>
            </a:extLst>
          </p:cNvPr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7570545" y="2813934"/>
            <a:ext cx="475149" cy="579438"/>
          </a:xfrm>
          <a:custGeom>
            <a:avLst/>
            <a:gdLst>
              <a:gd name="T0" fmla="*/ 238 w 373"/>
              <a:gd name="T1" fmla="*/ 367 h 370"/>
              <a:gd name="T2" fmla="*/ 244 w 373"/>
              <a:gd name="T3" fmla="*/ 365 h 370"/>
              <a:gd name="T4" fmla="*/ 255 w 373"/>
              <a:gd name="T5" fmla="*/ 368 h 370"/>
              <a:gd name="T6" fmla="*/ 372 w 373"/>
              <a:gd name="T7" fmla="*/ 277 h 370"/>
              <a:gd name="T8" fmla="*/ 369 w 373"/>
              <a:gd name="T9" fmla="*/ 270 h 370"/>
              <a:gd name="T10" fmla="*/ 361 w 373"/>
              <a:gd name="T11" fmla="*/ 264 h 370"/>
              <a:gd name="T12" fmla="*/ 347 w 373"/>
              <a:gd name="T13" fmla="*/ 259 h 370"/>
              <a:gd name="T14" fmla="*/ 339 w 373"/>
              <a:gd name="T15" fmla="*/ 254 h 370"/>
              <a:gd name="T16" fmla="*/ 336 w 373"/>
              <a:gd name="T17" fmla="*/ 247 h 370"/>
              <a:gd name="T18" fmla="*/ 337 w 373"/>
              <a:gd name="T19" fmla="*/ 228 h 370"/>
              <a:gd name="T20" fmla="*/ 337 w 373"/>
              <a:gd name="T21" fmla="*/ 196 h 370"/>
              <a:gd name="T22" fmla="*/ 334 w 373"/>
              <a:gd name="T23" fmla="*/ 168 h 370"/>
              <a:gd name="T24" fmla="*/ 329 w 373"/>
              <a:gd name="T25" fmla="*/ 155 h 370"/>
              <a:gd name="T26" fmla="*/ 323 w 373"/>
              <a:gd name="T27" fmla="*/ 142 h 370"/>
              <a:gd name="T28" fmla="*/ 315 w 373"/>
              <a:gd name="T29" fmla="*/ 109 h 370"/>
              <a:gd name="T30" fmla="*/ 306 w 373"/>
              <a:gd name="T31" fmla="*/ 90 h 370"/>
              <a:gd name="T32" fmla="*/ 297 w 373"/>
              <a:gd name="T33" fmla="*/ 78 h 370"/>
              <a:gd name="T34" fmla="*/ 300 w 373"/>
              <a:gd name="T35" fmla="*/ 63 h 370"/>
              <a:gd name="T36" fmla="*/ 301 w 373"/>
              <a:gd name="T37" fmla="*/ 43 h 370"/>
              <a:gd name="T38" fmla="*/ 302 w 373"/>
              <a:gd name="T39" fmla="*/ 23 h 370"/>
              <a:gd name="T40" fmla="*/ 310 w 373"/>
              <a:gd name="T41" fmla="*/ 7 h 370"/>
              <a:gd name="T42" fmla="*/ 302 w 373"/>
              <a:gd name="T43" fmla="*/ 6 h 370"/>
              <a:gd name="T44" fmla="*/ 278 w 373"/>
              <a:gd name="T45" fmla="*/ 12 h 370"/>
              <a:gd name="T46" fmla="*/ 245 w 373"/>
              <a:gd name="T47" fmla="*/ 12 h 370"/>
              <a:gd name="T48" fmla="*/ 206 w 373"/>
              <a:gd name="T49" fmla="*/ 14 h 370"/>
              <a:gd name="T50" fmla="*/ 168 w 373"/>
              <a:gd name="T51" fmla="*/ 24 h 370"/>
              <a:gd name="T52" fmla="*/ 145 w 373"/>
              <a:gd name="T53" fmla="*/ 32 h 370"/>
              <a:gd name="T54" fmla="*/ 124 w 373"/>
              <a:gd name="T55" fmla="*/ 44 h 370"/>
              <a:gd name="T56" fmla="*/ 123 w 373"/>
              <a:gd name="T57" fmla="*/ 52 h 370"/>
              <a:gd name="T58" fmla="*/ 131 w 373"/>
              <a:gd name="T59" fmla="*/ 89 h 370"/>
              <a:gd name="T60" fmla="*/ 134 w 373"/>
              <a:gd name="T61" fmla="*/ 93 h 370"/>
              <a:gd name="T62" fmla="*/ 141 w 373"/>
              <a:gd name="T63" fmla="*/ 98 h 370"/>
              <a:gd name="T64" fmla="*/ 142 w 373"/>
              <a:gd name="T65" fmla="*/ 102 h 370"/>
              <a:gd name="T66" fmla="*/ 139 w 373"/>
              <a:gd name="T67" fmla="*/ 107 h 370"/>
              <a:gd name="T68" fmla="*/ 128 w 373"/>
              <a:gd name="T69" fmla="*/ 107 h 370"/>
              <a:gd name="T70" fmla="*/ 106 w 373"/>
              <a:gd name="T71" fmla="*/ 113 h 370"/>
              <a:gd name="T72" fmla="*/ 95 w 373"/>
              <a:gd name="T73" fmla="*/ 122 h 370"/>
              <a:gd name="T74" fmla="*/ 90 w 373"/>
              <a:gd name="T75" fmla="*/ 131 h 370"/>
              <a:gd name="T76" fmla="*/ 82 w 373"/>
              <a:gd name="T77" fmla="*/ 137 h 370"/>
              <a:gd name="T78" fmla="*/ 66 w 373"/>
              <a:gd name="T79" fmla="*/ 150 h 370"/>
              <a:gd name="T80" fmla="*/ 51 w 373"/>
              <a:gd name="T81" fmla="*/ 158 h 370"/>
              <a:gd name="T82" fmla="*/ 31 w 373"/>
              <a:gd name="T83" fmla="*/ 160 h 370"/>
              <a:gd name="T84" fmla="*/ 20 w 373"/>
              <a:gd name="T85" fmla="*/ 164 h 370"/>
              <a:gd name="T86" fmla="*/ 8 w 373"/>
              <a:gd name="T87" fmla="*/ 174 h 370"/>
              <a:gd name="T88" fmla="*/ 0 w 373"/>
              <a:gd name="T89" fmla="*/ 200 h 370"/>
              <a:gd name="T90" fmla="*/ 179 w 373"/>
              <a:gd name="T91" fmla="*/ 331 h 370"/>
              <a:gd name="T92" fmla="*/ 201 w 373"/>
              <a:gd name="T93" fmla="*/ 352 h 370"/>
              <a:gd name="T94" fmla="*/ 229 w 373"/>
              <a:gd name="T95" fmla="*/ 368 h 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2" name="Freeform 238">
            <a:extLst>
              <a:ext uri="{FF2B5EF4-FFF2-40B4-BE49-F238E27FC236}">
                <a16:creationId xmlns:a16="http://schemas.microsoft.com/office/drawing/2014/main" id="{47CA6DF6-A9E4-4A2A-A228-943059C72D86}"/>
              </a:ext>
            </a:extLst>
          </p:cNvPr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7990694" y="2948872"/>
            <a:ext cx="369730" cy="436562"/>
          </a:xfrm>
          <a:custGeom>
            <a:avLst/>
            <a:gdLst>
              <a:gd name="T0" fmla="*/ 36 w 877"/>
              <a:gd name="T1" fmla="*/ 141 h 826"/>
              <a:gd name="T2" fmla="*/ 46 w 877"/>
              <a:gd name="T3" fmla="*/ 109 h 826"/>
              <a:gd name="T4" fmla="*/ 46 w 877"/>
              <a:gd name="T5" fmla="*/ 70 h 826"/>
              <a:gd name="T6" fmla="*/ 61 w 877"/>
              <a:gd name="T7" fmla="*/ 64 h 826"/>
              <a:gd name="T8" fmla="*/ 89 w 877"/>
              <a:gd name="T9" fmla="*/ 55 h 826"/>
              <a:gd name="T10" fmla="*/ 99 w 877"/>
              <a:gd name="T11" fmla="*/ 20 h 826"/>
              <a:gd name="T12" fmla="*/ 168 w 877"/>
              <a:gd name="T13" fmla="*/ 6 h 826"/>
              <a:gd name="T14" fmla="*/ 242 w 877"/>
              <a:gd name="T15" fmla="*/ 24 h 826"/>
              <a:gd name="T16" fmla="*/ 273 w 877"/>
              <a:gd name="T17" fmla="*/ 43 h 826"/>
              <a:gd name="T18" fmla="*/ 285 w 877"/>
              <a:gd name="T19" fmla="*/ 78 h 826"/>
              <a:gd name="T20" fmla="*/ 295 w 877"/>
              <a:gd name="T21" fmla="*/ 101 h 826"/>
              <a:gd name="T22" fmla="*/ 325 w 877"/>
              <a:gd name="T23" fmla="*/ 110 h 826"/>
              <a:gd name="T24" fmla="*/ 363 w 877"/>
              <a:gd name="T25" fmla="*/ 109 h 826"/>
              <a:gd name="T26" fmla="*/ 421 w 877"/>
              <a:gd name="T27" fmla="*/ 133 h 826"/>
              <a:gd name="T28" fmla="*/ 478 w 877"/>
              <a:gd name="T29" fmla="*/ 162 h 826"/>
              <a:gd name="T30" fmla="*/ 513 w 877"/>
              <a:gd name="T31" fmla="*/ 166 h 826"/>
              <a:gd name="T32" fmla="*/ 538 w 877"/>
              <a:gd name="T33" fmla="*/ 158 h 826"/>
              <a:gd name="T34" fmla="*/ 549 w 877"/>
              <a:gd name="T35" fmla="*/ 126 h 826"/>
              <a:gd name="T36" fmla="*/ 544 w 877"/>
              <a:gd name="T37" fmla="*/ 103 h 826"/>
              <a:gd name="T38" fmla="*/ 531 w 877"/>
              <a:gd name="T39" fmla="*/ 81 h 826"/>
              <a:gd name="T40" fmla="*/ 539 w 877"/>
              <a:gd name="T41" fmla="*/ 49 h 826"/>
              <a:gd name="T42" fmla="*/ 574 w 877"/>
              <a:gd name="T43" fmla="*/ 34 h 826"/>
              <a:gd name="T44" fmla="*/ 617 w 877"/>
              <a:gd name="T45" fmla="*/ 4 h 826"/>
              <a:gd name="T46" fmla="*/ 650 w 877"/>
              <a:gd name="T47" fmla="*/ 0 h 826"/>
              <a:gd name="T48" fmla="*/ 681 w 877"/>
              <a:gd name="T49" fmla="*/ 6 h 826"/>
              <a:gd name="T50" fmla="*/ 695 w 877"/>
              <a:gd name="T51" fmla="*/ 24 h 826"/>
              <a:gd name="T52" fmla="*/ 706 w 877"/>
              <a:gd name="T53" fmla="*/ 50 h 826"/>
              <a:gd name="T54" fmla="*/ 728 w 877"/>
              <a:gd name="T55" fmla="*/ 63 h 826"/>
              <a:gd name="T56" fmla="*/ 798 w 877"/>
              <a:gd name="T57" fmla="*/ 71 h 826"/>
              <a:gd name="T58" fmla="*/ 830 w 877"/>
              <a:gd name="T59" fmla="*/ 97 h 826"/>
              <a:gd name="T60" fmla="*/ 834 w 877"/>
              <a:gd name="T61" fmla="*/ 117 h 826"/>
              <a:gd name="T62" fmla="*/ 843 w 877"/>
              <a:gd name="T63" fmla="*/ 140 h 826"/>
              <a:gd name="T64" fmla="*/ 836 w 877"/>
              <a:gd name="T65" fmla="*/ 159 h 826"/>
              <a:gd name="T66" fmla="*/ 824 w 877"/>
              <a:gd name="T67" fmla="*/ 170 h 826"/>
              <a:gd name="T68" fmla="*/ 829 w 877"/>
              <a:gd name="T69" fmla="*/ 207 h 826"/>
              <a:gd name="T70" fmla="*/ 858 w 877"/>
              <a:gd name="T71" fmla="*/ 245 h 826"/>
              <a:gd name="T72" fmla="*/ 876 w 877"/>
              <a:gd name="T73" fmla="*/ 687 h 826"/>
              <a:gd name="T74" fmla="*/ 877 w 877"/>
              <a:gd name="T75" fmla="*/ 741 h 826"/>
              <a:gd name="T76" fmla="*/ 870 w 877"/>
              <a:gd name="T77" fmla="*/ 775 h 826"/>
              <a:gd name="T78" fmla="*/ 848 w 877"/>
              <a:gd name="T79" fmla="*/ 783 h 826"/>
              <a:gd name="T80" fmla="*/ 830 w 877"/>
              <a:gd name="T81" fmla="*/ 804 h 826"/>
              <a:gd name="T82" fmla="*/ 366 w 877"/>
              <a:gd name="T83" fmla="*/ 593 h 826"/>
              <a:gd name="T84" fmla="*/ 331 w 877"/>
              <a:gd name="T85" fmla="*/ 607 h 826"/>
              <a:gd name="T86" fmla="*/ 292 w 877"/>
              <a:gd name="T87" fmla="*/ 626 h 826"/>
              <a:gd name="T88" fmla="*/ 263 w 877"/>
              <a:gd name="T89" fmla="*/ 627 h 826"/>
              <a:gd name="T90" fmla="*/ 230 w 877"/>
              <a:gd name="T91" fmla="*/ 609 h 826"/>
              <a:gd name="T92" fmla="*/ 193 w 877"/>
              <a:gd name="T93" fmla="*/ 586 h 826"/>
              <a:gd name="T94" fmla="*/ 152 w 877"/>
              <a:gd name="T95" fmla="*/ 578 h 826"/>
              <a:gd name="T96" fmla="*/ 138 w 877"/>
              <a:gd name="T97" fmla="*/ 577 h 826"/>
              <a:gd name="T98" fmla="*/ 130 w 877"/>
              <a:gd name="T99" fmla="*/ 553 h 826"/>
              <a:gd name="T100" fmla="*/ 109 w 877"/>
              <a:gd name="T101" fmla="*/ 535 h 826"/>
              <a:gd name="T102" fmla="*/ 63 w 877"/>
              <a:gd name="T103" fmla="*/ 517 h 826"/>
              <a:gd name="T104" fmla="*/ 28 w 877"/>
              <a:gd name="T105" fmla="*/ 499 h 826"/>
              <a:gd name="T106" fmla="*/ 16 w 877"/>
              <a:gd name="T107" fmla="*/ 482 h 826"/>
              <a:gd name="T108" fmla="*/ 14 w 877"/>
              <a:gd name="T109" fmla="*/ 439 h 826"/>
              <a:gd name="T110" fmla="*/ 19 w 877"/>
              <a:gd name="T111" fmla="*/ 352 h 826"/>
              <a:gd name="T112" fmla="*/ 17 w 877"/>
              <a:gd name="T113" fmla="*/ 258 h 826"/>
              <a:gd name="T114" fmla="*/ 4 w 877"/>
              <a:gd name="T115" fmla="*/ 202 h 8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3" name="Freeform 239">
            <a:extLst>
              <a:ext uri="{FF2B5EF4-FFF2-40B4-BE49-F238E27FC236}">
                <a16:creationId xmlns:a16="http://schemas.microsoft.com/office/drawing/2014/main" id="{61F8C86C-D4A7-470F-AD9E-9878B887E9AF}"/>
              </a:ext>
            </a:extLst>
          </p:cNvPr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7944860" y="2813934"/>
            <a:ext cx="90141" cy="236538"/>
          </a:xfrm>
          <a:custGeom>
            <a:avLst/>
            <a:gdLst>
              <a:gd name="T0" fmla="*/ 103 w 206"/>
              <a:gd name="T1" fmla="*/ 441 h 455"/>
              <a:gd name="T2" fmla="*/ 125 w 206"/>
              <a:gd name="T3" fmla="*/ 420 h 455"/>
              <a:gd name="T4" fmla="*/ 140 w 206"/>
              <a:gd name="T5" fmla="*/ 404 h 455"/>
              <a:gd name="T6" fmla="*/ 147 w 206"/>
              <a:gd name="T7" fmla="*/ 390 h 455"/>
              <a:gd name="T8" fmla="*/ 152 w 206"/>
              <a:gd name="T9" fmla="*/ 373 h 455"/>
              <a:gd name="T10" fmla="*/ 154 w 206"/>
              <a:gd name="T11" fmla="*/ 352 h 455"/>
              <a:gd name="T12" fmla="*/ 153 w 206"/>
              <a:gd name="T13" fmla="*/ 335 h 455"/>
              <a:gd name="T14" fmla="*/ 156 w 206"/>
              <a:gd name="T15" fmla="*/ 331 h 455"/>
              <a:gd name="T16" fmla="*/ 168 w 206"/>
              <a:gd name="T17" fmla="*/ 329 h 455"/>
              <a:gd name="T18" fmla="*/ 185 w 206"/>
              <a:gd name="T19" fmla="*/ 325 h 455"/>
              <a:gd name="T20" fmla="*/ 196 w 206"/>
              <a:gd name="T21" fmla="*/ 318 h 455"/>
              <a:gd name="T22" fmla="*/ 203 w 206"/>
              <a:gd name="T23" fmla="*/ 304 h 455"/>
              <a:gd name="T24" fmla="*/ 206 w 206"/>
              <a:gd name="T25" fmla="*/ 280 h 455"/>
              <a:gd name="T26" fmla="*/ 202 w 206"/>
              <a:gd name="T27" fmla="*/ 265 h 455"/>
              <a:gd name="T28" fmla="*/ 193 w 206"/>
              <a:gd name="T29" fmla="*/ 264 h 455"/>
              <a:gd name="T30" fmla="*/ 177 w 206"/>
              <a:gd name="T31" fmla="*/ 256 h 455"/>
              <a:gd name="T32" fmla="*/ 155 w 206"/>
              <a:gd name="T33" fmla="*/ 242 h 455"/>
              <a:gd name="T34" fmla="*/ 140 w 206"/>
              <a:gd name="T35" fmla="*/ 231 h 455"/>
              <a:gd name="T36" fmla="*/ 130 w 206"/>
              <a:gd name="T37" fmla="*/ 228 h 455"/>
              <a:gd name="T38" fmla="*/ 119 w 206"/>
              <a:gd name="T39" fmla="*/ 222 h 455"/>
              <a:gd name="T40" fmla="*/ 101 w 206"/>
              <a:gd name="T41" fmla="*/ 212 h 455"/>
              <a:gd name="T42" fmla="*/ 95 w 206"/>
              <a:gd name="T43" fmla="*/ 206 h 455"/>
              <a:gd name="T44" fmla="*/ 95 w 206"/>
              <a:gd name="T45" fmla="*/ 199 h 455"/>
              <a:gd name="T46" fmla="*/ 104 w 206"/>
              <a:gd name="T47" fmla="*/ 181 h 455"/>
              <a:gd name="T48" fmla="*/ 119 w 206"/>
              <a:gd name="T49" fmla="*/ 158 h 455"/>
              <a:gd name="T50" fmla="*/ 134 w 206"/>
              <a:gd name="T51" fmla="*/ 140 h 455"/>
              <a:gd name="T52" fmla="*/ 136 w 206"/>
              <a:gd name="T53" fmla="*/ 129 h 455"/>
              <a:gd name="T54" fmla="*/ 126 w 206"/>
              <a:gd name="T55" fmla="*/ 116 h 455"/>
              <a:gd name="T56" fmla="*/ 115 w 206"/>
              <a:gd name="T57" fmla="*/ 105 h 455"/>
              <a:gd name="T58" fmla="*/ 108 w 206"/>
              <a:gd name="T59" fmla="*/ 93 h 455"/>
              <a:gd name="T60" fmla="*/ 107 w 206"/>
              <a:gd name="T61" fmla="*/ 84 h 455"/>
              <a:gd name="T62" fmla="*/ 111 w 206"/>
              <a:gd name="T63" fmla="*/ 78 h 455"/>
              <a:gd name="T64" fmla="*/ 116 w 206"/>
              <a:gd name="T65" fmla="*/ 72 h 455"/>
              <a:gd name="T66" fmla="*/ 123 w 206"/>
              <a:gd name="T67" fmla="*/ 69 h 455"/>
              <a:gd name="T68" fmla="*/ 126 w 206"/>
              <a:gd name="T69" fmla="*/ 37 h 455"/>
              <a:gd name="T70" fmla="*/ 110 w 206"/>
              <a:gd name="T71" fmla="*/ 32 h 455"/>
              <a:gd name="T72" fmla="*/ 87 w 206"/>
              <a:gd name="T73" fmla="*/ 21 h 455"/>
              <a:gd name="T74" fmla="*/ 53 w 206"/>
              <a:gd name="T75" fmla="*/ 0 h 455"/>
              <a:gd name="T76" fmla="*/ 47 w 206"/>
              <a:gd name="T77" fmla="*/ 11 h 455"/>
              <a:gd name="T78" fmla="*/ 34 w 206"/>
              <a:gd name="T79" fmla="*/ 44 h 455"/>
              <a:gd name="T80" fmla="*/ 28 w 206"/>
              <a:gd name="T81" fmla="*/ 70 h 455"/>
              <a:gd name="T82" fmla="*/ 22 w 206"/>
              <a:gd name="T83" fmla="*/ 99 h 455"/>
              <a:gd name="T84" fmla="*/ 20 w 206"/>
              <a:gd name="T85" fmla="*/ 133 h 455"/>
              <a:gd name="T86" fmla="*/ 20 w 206"/>
              <a:gd name="T87" fmla="*/ 172 h 455"/>
              <a:gd name="T88" fmla="*/ 12 w 206"/>
              <a:gd name="T89" fmla="*/ 188 h 455"/>
              <a:gd name="T90" fmla="*/ 8 w 206"/>
              <a:gd name="T91" fmla="*/ 206 h 455"/>
              <a:gd name="T92" fmla="*/ 0 w 206"/>
              <a:gd name="T93" fmla="*/ 235 h 455"/>
              <a:gd name="T94" fmla="*/ 22 w 206"/>
              <a:gd name="T95" fmla="*/ 259 h 455"/>
              <a:gd name="T96" fmla="*/ 41 w 206"/>
              <a:gd name="T97" fmla="*/ 281 h 455"/>
              <a:gd name="T98" fmla="*/ 55 w 206"/>
              <a:gd name="T99" fmla="*/ 305 h 455"/>
              <a:gd name="T100" fmla="*/ 66 w 206"/>
              <a:gd name="T101" fmla="*/ 329 h 455"/>
              <a:gd name="T102" fmla="*/ 75 w 206"/>
              <a:gd name="T103" fmla="*/ 355 h 455"/>
              <a:gd name="T104" fmla="*/ 82 w 206"/>
              <a:gd name="T105" fmla="*/ 384 h 455"/>
              <a:gd name="T106" fmla="*/ 93 w 206"/>
              <a:gd name="T107" fmla="*/ 455 h 4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4" name="Freeform 240">
            <a:extLst>
              <a:ext uri="{FF2B5EF4-FFF2-40B4-BE49-F238E27FC236}">
                <a16:creationId xmlns:a16="http://schemas.microsoft.com/office/drawing/2014/main" id="{2CE7B6EA-A36A-4DD6-BCA3-0E108BEA2D1A}"/>
              </a:ext>
            </a:extLst>
          </p:cNvPr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7350541" y="3125084"/>
            <a:ext cx="223060" cy="215900"/>
          </a:xfrm>
          <a:custGeom>
            <a:avLst/>
            <a:gdLst>
              <a:gd name="T0" fmla="*/ 326 w 518"/>
              <a:gd name="T1" fmla="*/ 110 h 406"/>
              <a:gd name="T2" fmla="*/ 326 w 518"/>
              <a:gd name="T3" fmla="*/ 259 h 406"/>
              <a:gd name="T4" fmla="*/ 315 w 518"/>
              <a:gd name="T5" fmla="*/ 264 h 406"/>
              <a:gd name="T6" fmla="*/ 291 w 518"/>
              <a:gd name="T7" fmla="*/ 271 h 406"/>
              <a:gd name="T8" fmla="*/ 246 w 518"/>
              <a:gd name="T9" fmla="*/ 283 h 406"/>
              <a:gd name="T10" fmla="*/ 253 w 518"/>
              <a:gd name="T11" fmla="*/ 302 h 406"/>
              <a:gd name="T12" fmla="*/ 265 w 518"/>
              <a:gd name="T13" fmla="*/ 326 h 406"/>
              <a:gd name="T14" fmla="*/ 269 w 518"/>
              <a:gd name="T15" fmla="*/ 353 h 406"/>
              <a:gd name="T16" fmla="*/ 272 w 518"/>
              <a:gd name="T17" fmla="*/ 382 h 406"/>
              <a:gd name="T18" fmla="*/ 52 w 518"/>
              <a:gd name="T19" fmla="*/ 394 h 406"/>
              <a:gd name="T20" fmla="*/ 22 w 518"/>
              <a:gd name="T21" fmla="*/ 406 h 406"/>
              <a:gd name="T22" fmla="*/ 5 w 518"/>
              <a:gd name="T23" fmla="*/ 403 h 406"/>
              <a:gd name="T24" fmla="*/ 1 w 518"/>
              <a:gd name="T25" fmla="*/ 398 h 406"/>
              <a:gd name="T26" fmla="*/ 1 w 518"/>
              <a:gd name="T27" fmla="*/ 385 h 406"/>
              <a:gd name="T28" fmla="*/ 4 w 518"/>
              <a:gd name="T29" fmla="*/ 371 h 406"/>
              <a:gd name="T30" fmla="*/ 11 w 518"/>
              <a:gd name="T31" fmla="*/ 354 h 406"/>
              <a:gd name="T32" fmla="*/ 20 w 518"/>
              <a:gd name="T33" fmla="*/ 341 h 406"/>
              <a:gd name="T34" fmla="*/ 30 w 518"/>
              <a:gd name="T35" fmla="*/ 334 h 406"/>
              <a:gd name="T36" fmla="*/ 38 w 518"/>
              <a:gd name="T37" fmla="*/ 326 h 406"/>
              <a:gd name="T38" fmla="*/ 44 w 518"/>
              <a:gd name="T39" fmla="*/ 317 h 406"/>
              <a:gd name="T40" fmla="*/ 49 w 518"/>
              <a:gd name="T41" fmla="*/ 292 h 406"/>
              <a:gd name="T42" fmla="*/ 56 w 518"/>
              <a:gd name="T43" fmla="*/ 265 h 406"/>
              <a:gd name="T44" fmla="*/ 62 w 518"/>
              <a:gd name="T45" fmla="*/ 257 h 406"/>
              <a:gd name="T46" fmla="*/ 74 w 518"/>
              <a:gd name="T47" fmla="*/ 246 h 406"/>
              <a:gd name="T48" fmla="*/ 92 w 518"/>
              <a:gd name="T49" fmla="*/ 238 h 406"/>
              <a:gd name="T50" fmla="*/ 107 w 518"/>
              <a:gd name="T51" fmla="*/ 231 h 406"/>
              <a:gd name="T52" fmla="*/ 122 w 518"/>
              <a:gd name="T53" fmla="*/ 218 h 406"/>
              <a:gd name="T54" fmla="*/ 136 w 518"/>
              <a:gd name="T55" fmla="*/ 195 h 406"/>
              <a:gd name="T56" fmla="*/ 150 w 518"/>
              <a:gd name="T57" fmla="*/ 156 h 406"/>
              <a:gd name="T58" fmla="*/ 162 w 518"/>
              <a:gd name="T59" fmla="*/ 117 h 406"/>
              <a:gd name="T60" fmla="*/ 172 w 518"/>
              <a:gd name="T61" fmla="*/ 94 h 406"/>
              <a:gd name="T62" fmla="*/ 186 w 518"/>
              <a:gd name="T63" fmla="*/ 73 h 406"/>
              <a:gd name="T64" fmla="*/ 201 w 518"/>
              <a:gd name="T65" fmla="*/ 62 h 406"/>
              <a:gd name="T66" fmla="*/ 213 w 518"/>
              <a:gd name="T67" fmla="*/ 57 h 406"/>
              <a:gd name="T68" fmla="*/ 219 w 518"/>
              <a:gd name="T69" fmla="*/ 44 h 406"/>
              <a:gd name="T70" fmla="*/ 223 w 518"/>
              <a:gd name="T71" fmla="*/ 28 h 406"/>
              <a:gd name="T72" fmla="*/ 228 w 518"/>
              <a:gd name="T73" fmla="*/ 16 h 406"/>
              <a:gd name="T74" fmla="*/ 239 w 518"/>
              <a:gd name="T75" fmla="*/ 8 h 406"/>
              <a:gd name="T76" fmla="*/ 511 w 518"/>
              <a:gd name="T77" fmla="*/ 0 h 406"/>
              <a:gd name="T78" fmla="*/ 515 w 518"/>
              <a:gd name="T79" fmla="*/ 46 h 406"/>
              <a:gd name="T80" fmla="*/ 518 w 518"/>
              <a:gd name="T81" fmla="*/ 110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5" name="Freeform 241">
            <a:extLst>
              <a:ext uri="{FF2B5EF4-FFF2-40B4-BE49-F238E27FC236}">
                <a16:creationId xmlns:a16="http://schemas.microsoft.com/office/drawing/2014/main" id="{6139154F-8791-4DC8-9BCE-5412ED99DC85}"/>
              </a:ext>
            </a:extLst>
          </p:cNvPr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7319984" y="1932872"/>
            <a:ext cx="183337" cy="93662"/>
          </a:xfrm>
          <a:custGeom>
            <a:avLst/>
            <a:gdLst>
              <a:gd name="T0" fmla="*/ 34 w 446"/>
              <a:gd name="T1" fmla="*/ 61 h 178"/>
              <a:gd name="T2" fmla="*/ 41 w 446"/>
              <a:gd name="T3" fmla="*/ 42 h 178"/>
              <a:gd name="T4" fmla="*/ 68 w 446"/>
              <a:gd name="T5" fmla="*/ 37 h 178"/>
              <a:gd name="T6" fmla="*/ 80 w 446"/>
              <a:gd name="T7" fmla="*/ 18 h 178"/>
              <a:gd name="T8" fmla="*/ 72 w 446"/>
              <a:gd name="T9" fmla="*/ 14 h 178"/>
              <a:gd name="T10" fmla="*/ 60 w 446"/>
              <a:gd name="T11" fmla="*/ 0 h 178"/>
              <a:gd name="T12" fmla="*/ 85 w 446"/>
              <a:gd name="T13" fmla="*/ 10 h 178"/>
              <a:gd name="T14" fmla="*/ 108 w 446"/>
              <a:gd name="T15" fmla="*/ 39 h 178"/>
              <a:gd name="T16" fmla="*/ 125 w 446"/>
              <a:gd name="T17" fmla="*/ 62 h 178"/>
              <a:gd name="T18" fmla="*/ 139 w 446"/>
              <a:gd name="T19" fmla="*/ 67 h 178"/>
              <a:gd name="T20" fmla="*/ 157 w 446"/>
              <a:gd name="T21" fmla="*/ 63 h 178"/>
              <a:gd name="T22" fmla="*/ 181 w 446"/>
              <a:gd name="T23" fmla="*/ 45 h 178"/>
              <a:gd name="T24" fmla="*/ 205 w 446"/>
              <a:gd name="T25" fmla="*/ 23 h 178"/>
              <a:gd name="T26" fmla="*/ 220 w 446"/>
              <a:gd name="T27" fmla="*/ 31 h 178"/>
              <a:gd name="T28" fmla="*/ 359 w 446"/>
              <a:gd name="T29" fmla="*/ 11 h 178"/>
              <a:gd name="T30" fmla="*/ 376 w 446"/>
              <a:gd name="T31" fmla="*/ 23 h 178"/>
              <a:gd name="T32" fmla="*/ 396 w 446"/>
              <a:gd name="T33" fmla="*/ 22 h 178"/>
              <a:gd name="T34" fmla="*/ 413 w 446"/>
              <a:gd name="T35" fmla="*/ 37 h 178"/>
              <a:gd name="T36" fmla="*/ 415 w 446"/>
              <a:gd name="T37" fmla="*/ 43 h 178"/>
              <a:gd name="T38" fmla="*/ 429 w 446"/>
              <a:gd name="T39" fmla="*/ 54 h 178"/>
              <a:gd name="T40" fmla="*/ 443 w 446"/>
              <a:gd name="T41" fmla="*/ 68 h 178"/>
              <a:gd name="T42" fmla="*/ 446 w 446"/>
              <a:gd name="T43" fmla="*/ 80 h 178"/>
              <a:gd name="T44" fmla="*/ 438 w 446"/>
              <a:gd name="T45" fmla="*/ 96 h 178"/>
              <a:gd name="T46" fmla="*/ 413 w 446"/>
              <a:gd name="T47" fmla="*/ 111 h 178"/>
              <a:gd name="T48" fmla="*/ 397 w 446"/>
              <a:gd name="T49" fmla="*/ 120 h 178"/>
              <a:gd name="T50" fmla="*/ 366 w 446"/>
              <a:gd name="T51" fmla="*/ 123 h 178"/>
              <a:gd name="T52" fmla="*/ 300 w 446"/>
              <a:gd name="T53" fmla="*/ 146 h 178"/>
              <a:gd name="T54" fmla="*/ 234 w 446"/>
              <a:gd name="T55" fmla="*/ 171 h 178"/>
              <a:gd name="T56" fmla="*/ 199 w 446"/>
              <a:gd name="T57" fmla="*/ 178 h 178"/>
              <a:gd name="T58" fmla="*/ 177 w 446"/>
              <a:gd name="T59" fmla="*/ 174 h 178"/>
              <a:gd name="T60" fmla="*/ 172 w 446"/>
              <a:gd name="T61" fmla="*/ 164 h 178"/>
              <a:gd name="T62" fmla="*/ 170 w 446"/>
              <a:gd name="T63" fmla="*/ 161 h 178"/>
              <a:gd name="T64" fmla="*/ 156 w 446"/>
              <a:gd name="T65" fmla="*/ 161 h 178"/>
              <a:gd name="T66" fmla="*/ 139 w 446"/>
              <a:gd name="T67" fmla="*/ 160 h 178"/>
              <a:gd name="T68" fmla="*/ 100 w 446"/>
              <a:gd name="T69" fmla="*/ 147 h 178"/>
              <a:gd name="T70" fmla="*/ 85 w 446"/>
              <a:gd name="T71" fmla="*/ 137 h 178"/>
              <a:gd name="T72" fmla="*/ 81 w 446"/>
              <a:gd name="T73" fmla="*/ 125 h 178"/>
              <a:gd name="T74" fmla="*/ 87 w 446"/>
              <a:gd name="T75" fmla="*/ 111 h 178"/>
              <a:gd name="T76" fmla="*/ 27 w 446"/>
              <a:gd name="T77" fmla="*/ 103 h 178"/>
              <a:gd name="T78" fmla="*/ 9 w 446"/>
              <a:gd name="T79" fmla="*/ 105 h 178"/>
              <a:gd name="T80" fmla="*/ 0 w 446"/>
              <a:gd name="T81" fmla="*/ 80 h 178"/>
              <a:gd name="T82" fmla="*/ 60 w 446"/>
              <a:gd name="T83" fmla="*/ 86 h 178"/>
              <a:gd name="T84" fmla="*/ 87 w 446"/>
              <a:gd name="T85" fmla="*/ 80 h 178"/>
              <a:gd name="T86" fmla="*/ 23 w 446"/>
              <a:gd name="T87" fmla="*/ 68 h 178"/>
              <a:gd name="T88" fmla="*/ 16 w 446"/>
              <a:gd name="T89" fmla="*/ 55 h 1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</a:cxnLst>
            <a:rect l="0" t="0" r="r" b="b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36" name="Freeform 242">
            <a:extLst>
              <a:ext uri="{FF2B5EF4-FFF2-40B4-BE49-F238E27FC236}">
                <a16:creationId xmlns:a16="http://schemas.microsoft.com/office/drawing/2014/main" id="{A35A2F47-4636-4F06-9ADF-C26365178C9B}"/>
              </a:ext>
            </a:extLst>
          </p:cNvPr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8082362" y="2196397"/>
            <a:ext cx="13751" cy="57150"/>
          </a:xfrm>
          <a:custGeom>
            <a:avLst/>
            <a:gdLst>
              <a:gd name="T0" fmla="*/ 0 w 28"/>
              <a:gd name="T1" fmla="*/ 73 h 73"/>
              <a:gd name="T2" fmla="*/ 2 w 28"/>
              <a:gd name="T3" fmla="*/ 47 h 73"/>
              <a:gd name="T4" fmla="*/ 6 w 28"/>
              <a:gd name="T5" fmla="*/ 28 h 73"/>
              <a:gd name="T6" fmla="*/ 7 w 28"/>
              <a:gd name="T7" fmla="*/ 20 h 73"/>
              <a:gd name="T8" fmla="*/ 6 w 28"/>
              <a:gd name="T9" fmla="*/ 13 h 73"/>
              <a:gd name="T10" fmla="*/ 4 w 28"/>
              <a:gd name="T11" fmla="*/ 7 h 73"/>
              <a:gd name="T12" fmla="*/ 0 w 28"/>
              <a:gd name="T13" fmla="*/ 0 h 73"/>
              <a:gd name="T14" fmla="*/ 28 w 28"/>
              <a:gd name="T15" fmla="*/ 0 h 73"/>
              <a:gd name="T16" fmla="*/ 22 w 28"/>
              <a:gd name="T17" fmla="*/ 16 h 73"/>
              <a:gd name="T18" fmla="*/ 17 w 28"/>
              <a:gd name="T19" fmla="*/ 30 h 73"/>
              <a:gd name="T20" fmla="*/ 12 w 28"/>
              <a:gd name="T21" fmla="*/ 43 h 73"/>
              <a:gd name="T22" fmla="*/ 7 w 28"/>
              <a:gd name="T23" fmla="*/ 55 h 73"/>
              <a:gd name="T24" fmla="*/ 0 w 28"/>
              <a:gd name="T25" fmla="*/ 73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7" name="Freeform 243">
            <a:extLst>
              <a:ext uri="{FF2B5EF4-FFF2-40B4-BE49-F238E27FC236}">
                <a16:creationId xmlns:a16="http://schemas.microsoft.com/office/drawing/2014/main" id="{1520D997-BBD1-430C-871A-EE6703CEC99D}"/>
              </a:ext>
            </a:extLst>
          </p:cNvPr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7973888" y="1859848"/>
            <a:ext cx="226116" cy="395287"/>
          </a:xfrm>
          <a:custGeom>
            <a:avLst/>
            <a:gdLst>
              <a:gd name="T0" fmla="*/ 419 w 531"/>
              <a:gd name="T1" fmla="*/ 203 h 757"/>
              <a:gd name="T2" fmla="*/ 406 w 531"/>
              <a:gd name="T3" fmla="*/ 221 h 757"/>
              <a:gd name="T4" fmla="*/ 404 w 531"/>
              <a:gd name="T5" fmla="*/ 237 h 757"/>
              <a:gd name="T6" fmla="*/ 382 w 531"/>
              <a:gd name="T7" fmla="*/ 275 h 757"/>
              <a:gd name="T8" fmla="*/ 325 w 531"/>
              <a:gd name="T9" fmla="*/ 306 h 757"/>
              <a:gd name="T10" fmla="*/ 252 w 531"/>
              <a:gd name="T11" fmla="*/ 354 h 757"/>
              <a:gd name="T12" fmla="*/ 237 w 531"/>
              <a:gd name="T13" fmla="*/ 369 h 757"/>
              <a:gd name="T14" fmla="*/ 245 w 531"/>
              <a:gd name="T15" fmla="*/ 381 h 757"/>
              <a:gd name="T16" fmla="*/ 240 w 531"/>
              <a:gd name="T17" fmla="*/ 424 h 757"/>
              <a:gd name="T18" fmla="*/ 239 w 531"/>
              <a:gd name="T19" fmla="*/ 449 h 757"/>
              <a:gd name="T20" fmla="*/ 262 w 531"/>
              <a:gd name="T21" fmla="*/ 468 h 757"/>
              <a:gd name="T22" fmla="*/ 320 w 531"/>
              <a:gd name="T23" fmla="*/ 485 h 757"/>
              <a:gd name="T24" fmla="*/ 332 w 531"/>
              <a:gd name="T25" fmla="*/ 505 h 757"/>
              <a:gd name="T26" fmla="*/ 310 w 531"/>
              <a:gd name="T27" fmla="*/ 531 h 757"/>
              <a:gd name="T28" fmla="*/ 272 w 531"/>
              <a:gd name="T29" fmla="*/ 547 h 757"/>
              <a:gd name="T30" fmla="*/ 265 w 531"/>
              <a:gd name="T31" fmla="*/ 560 h 757"/>
              <a:gd name="T32" fmla="*/ 252 w 531"/>
              <a:gd name="T33" fmla="*/ 631 h 757"/>
              <a:gd name="T34" fmla="*/ 239 w 531"/>
              <a:gd name="T35" fmla="*/ 721 h 757"/>
              <a:gd name="T36" fmla="*/ 173 w 531"/>
              <a:gd name="T37" fmla="*/ 727 h 757"/>
              <a:gd name="T38" fmla="*/ 152 w 531"/>
              <a:gd name="T39" fmla="*/ 738 h 757"/>
              <a:gd name="T40" fmla="*/ 153 w 531"/>
              <a:gd name="T41" fmla="*/ 757 h 757"/>
              <a:gd name="T42" fmla="*/ 106 w 531"/>
              <a:gd name="T43" fmla="*/ 757 h 757"/>
              <a:gd name="T44" fmla="*/ 95 w 531"/>
              <a:gd name="T45" fmla="*/ 752 h 757"/>
              <a:gd name="T46" fmla="*/ 71 w 531"/>
              <a:gd name="T47" fmla="*/ 718 h 757"/>
              <a:gd name="T48" fmla="*/ 41 w 531"/>
              <a:gd name="T49" fmla="*/ 640 h 757"/>
              <a:gd name="T50" fmla="*/ 34 w 531"/>
              <a:gd name="T51" fmla="*/ 597 h 757"/>
              <a:gd name="T52" fmla="*/ 14 w 531"/>
              <a:gd name="T53" fmla="*/ 586 h 757"/>
              <a:gd name="T54" fmla="*/ 19 w 531"/>
              <a:gd name="T55" fmla="*/ 561 h 757"/>
              <a:gd name="T56" fmla="*/ 36 w 531"/>
              <a:gd name="T57" fmla="*/ 538 h 757"/>
              <a:gd name="T58" fmla="*/ 53 w 531"/>
              <a:gd name="T59" fmla="*/ 504 h 757"/>
              <a:gd name="T60" fmla="*/ 61 w 531"/>
              <a:gd name="T61" fmla="*/ 471 h 757"/>
              <a:gd name="T62" fmla="*/ 64 w 531"/>
              <a:gd name="T63" fmla="*/ 441 h 757"/>
              <a:gd name="T64" fmla="*/ 58 w 531"/>
              <a:gd name="T65" fmla="*/ 408 h 757"/>
              <a:gd name="T66" fmla="*/ 43 w 531"/>
              <a:gd name="T67" fmla="*/ 377 h 757"/>
              <a:gd name="T68" fmla="*/ 74 w 531"/>
              <a:gd name="T69" fmla="*/ 276 h 757"/>
              <a:gd name="T70" fmla="*/ 103 w 531"/>
              <a:gd name="T71" fmla="*/ 275 h 757"/>
              <a:gd name="T72" fmla="*/ 113 w 531"/>
              <a:gd name="T73" fmla="*/ 234 h 757"/>
              <a:gd name="T74" fmla="*/ 137 w 531"/>
              <a:gd name="T75" fmla="*/ 192 h 757"/>
              <a:gd name="T76" fmla="*/ 180 w 531"/>
              <a:gd name="T77" fmla="*/ 145 h 757"/>
              <a:gd name="T78" fmla="*/ 198 w 531"/>
              <a:gd name="T79" fmla="*/ 111 h 757"/>
              <a:gd name="T80" fmla="*/ 228 w 531"/>
              <a:gd name="T81" fmla="*/ 60 h 757"/>
              <a:gd name="T82" fmla="*/ 249 w 531"/>
              <a:gd name="T83" fmla="*/ 43 h 757"/>
              <a:gd name="T84" fmla="*/ 309 w 531"/>
              <a:gd name="T85" fmla="*/ 29 h 757"/>
              <a:gd name="T86" fmla="*/ 368 w 531"/>
              <a:gd name="T87" fmla="*/ 13 h 757"/>
              <a:gd name="T88" fmla="*/ 401 w 531"/>
              <a:gd name="T89" fmla="*/ 5 h 757"/>
              <a:gd name="T90" fmla="*/ 431 w 531"/>
              <a:gd name="T91" fmla="*/ 32 h 757"/>
              <a:gd name="T92" fmla="*/ 457 w 531"/>
              <a:gd name="T93" fmla="*/ 42 h 757"/>
              <a:gd name="T94" fmla="*/ 513 w 531"/>
              <a:gd name="T95" fmla="*/ 111 h 757"/>
              <a:gd name="T96" fmla="*/ 528 w 531"/>
              <a:gd name="T97" fmla="*/ 150 h 7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8" name="Freeform 244">
            <a:extLst>
              <a:ext uri="{FF2B5EF4-FFF2-40B4-BE49-F238E27FC236}">
                <a16:creationId xmlns:a16="http://schemas.microsoft.com/office/drawing/2014/main" id="{F3A349DF-936D-47CB-843E-2167C74E587B}"/>
              </a:ext>
            </a:extLst>
          </p:cNvPr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8106807" y="2174172"/>
            <a:ext cx="25973" cy="57150"/>
          </a:xfrm>
          <a:custGeom>
            <a:avLst/>
            <a:gdLst>
              <a:gd name="T0" fmla="*/ 0 w 60"/>
              <a:gd name="T1" fmla="*/ 37 h 51"/>
              <a:gd name="T2" fmla="*/ 6 w 60"/>
              <a:gd name="T3" fmla="*/ 30 h 51"/>
              <a:gd name="T4" fmla="*/ 15 w 60"/>
              <a:gd name="T5" fmla="*/ 19 h 51"/>
              <a:gd name="T6" fmla="*/ 20 w 60"/>
              <a:gd name="T7" fmla="*/ 13 h 51"/>
              <a:gd name="T8" fmla="*/ 27 w 60"/>
              <a:gd name="T9" fmla="*/ 8 h 51"/>
              <a:gd name="T10" fmla="*/ 33 w 60"/>
              <a:gd name="T11" fmla="*/ 4 h 51"/>
              <a:gd name="T12" fmla="*/ 40 w 60"/>
              <a:gd name="T13" fmla="*/ 0 h 51"/>
              <a:gd name="T14" fmla="*/ 50 w 60"/>
              <a:gd name="T15" fmla="*/ 7 h 51"/>
              <a:gd name="T16" fmla="*/ 60 w 60"/>
              <a:gd name="T17" fmla="*/ 13 h 51"/>
              <a:gd name="T18" fmla="*/ 59 w 60"/>
              <a:gd name="T19" fmla="*/ 20 h 51"/>
              <a:gd name="T20" fmla="*/ 56 w 60"/>
              <a:gd name="T21" fmla="*/ 29 h 51"/>
              <a:gd name="T22" fmla="*/ 54 w 60"/>
              <a:gd name="T23" fmla="*/ 34 h 51"/>
              <a:gd name="T24" fmla="*/ 52 w 60"/>
              <a:gd name="T25" fmla="*/ 38 h 51"/>
              <a:gd name="T26" fmla="*/ 49 w 60"/>
              <a:gd name="T27" fmla="*/ 42 h 51"/>
              <a:gd name="T28" fmla="*/ 45 w 60"/>
              <a:gd name="T29" fmla="*/ 45 h 51"/>
              <a:gd name="T30" fmla="*/ 41 w 60"/>
              <a:gd name="T31" fmla="*/ 48 h 51"/>
              <a:gd name="T32" fmla="*/ 37 w 60"/>
              <a:gd name="T33" fmla="*/ 50 h 51"/>
              <a:gd name="T34" fmla="*/ 31 w 60"/>
              <a:gd name="T35" fmla="*/ 51 h 51"/>
              <a:gd name="T36" fmla="*/ 27 w 60"/>
              <a:gd name="T37" fmla="*/ 51 h 51"/>
              <a:gd name="T38" fmla="*/ 20 w 60"/>
              <a:gd name="T39" fmla="*/ 50 h 51"/>
              <a:gd name="T40" fmla="*/ 15 w 60"/>
              <a:gd name="T41" fmla="*/ 47 h 51"/>
              <a:gd name="T42" fmla="*/ 7 w 60"/>
              <a:gd name="T43" fmla="*/ 43 h 51"/>
              <a:gd name="T44" fmla="*/ 0 w 60"/>
              <a:gd name="T45" fmla="*/ 37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39" name="Freeform 245">
            <a:extLst>
              <a:ext uri="{FF2B5EF4-FFF2-40B4-BE49-F238E27FC236}">
                <a16:creationId xmlns:a16="http://schemas.microsoft.com/office/drawing/2014/main" id="{9FFC2C29-0582-4F37-8471-46489D126BB5}"/>
              </a:ext>
            </a:extLst>
          </p:cNvPr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7572074" y="2336097"/>
            <a:ext cx="27501" cy="57150"/>
          </a:xfrm>
          <a:custGeom>
            <a:avLst/>
            <a:gdLst>
              <a:gd name="T0" fmla="*/ 59 w 66"/>
              <a:gd name="T1" fmla="*/ 48 h 51"/>
              <a:gd name="T2" fmla="*/ 42 w 66"/>
              <a:gd name="T3" fmla="*/ 50 h 51"/>
              <a:gd name="T4" fmla="*/ 22 w 66"/>
              <a:gd name="T5" fmla="*/ 51 h 51"/>
              <a:gd name="T6" fmla="*/ 17 w 66"/>
              <a:gd name="T7" fmla="*/ 50 h 51"/>
              <a:gd name="T8" fmla="*/ 13 w 66"/>
              <a:gd name="T9" fmla="*/ 49 h 51"/>
              <a:gd name="T10" fmla="*/ 10 w 66"/>
              <a:gd name="T11" fmla="*/ 48 h 51"/>
              <a:gd name="T12" fmla="*/ 7 w 66"/>
              <a:gd name="T13" fmla="*/ 46 h 51"/>
              <a:gd name="T14" fmla="*/ 3 w 66"/>
              <a:gd name="T15" fmla="*/ 43 h 51"/>
              <a:gd name="T16" fmla="*/ 1 w 66"/>
              <a:gd name="T17" fmla="*/ 40 h 51"/>
              <a:gd name="T18" fmla="*/ 0 w 66"/>
              <a:gd name="T19" fmla="*/ 35 h 51"/>
              <a:gd name="T20" fmla="*/ 0 w 66"/>
              <a:gd name="T21" fmla="*/ 30 h 51"/>
              <a:gd name="T22" fmla="*/ 4 w 66"/>
              <a:gd name="T23" fmla="*/ 29 h 51"/>
              <a:gd name="T24" fmla="*/ 10 w 66"/>
              <a:gd name="T25" fmla="*/ 27 h 51"/>
              <a:gd name="T26" fmla="*/ 14 w 66"/>
              <a:gd name="T27" fmla="*/ 24 h 51"/>
              <a:gd name="T28" fmla="*/ 19 w 66"/>
              <a:gd name="T29" fmla="*/ 20 h 51"/>
              <a:gd name="T30" fmla="*/ 26 w 66"/>
              <a:gd name="T31" fmla="*/ 10 h 51"/>
              <a:gd name="T32" fmla="*/ 33 w 66"/>
              <a:gd name="T33" fmla="*/ 0 h 51"/>
              <a:gd name="T34" fmla="*/ 46 w 66"/>
              <a:gd name="T35" fmla="*/ 1 h 51"/>
              <a:gd name="T36" fmla="*/ 52 w 66"/>
              <a:gd name="T37" fmla="*/ 2 h 51"/>
              <a:gd name="T38" fmla="*/ 56 w 66"/>
              <a:gd name="T39" fmla="*/ 3 h 51"/>
              <a:gd name="T40" fmla="*/ 66 w 66"/>
              <a:gd name="T41" fmla="*/ 0 h 51"/>
              <a:gd name="T42" fmla="*/ 65 w 66"/>
              <a:gd name="T43" fmla="*/ 13 h 51"/>
              <a:gd name="T44" fmla="*/ 63 w 66"/>
              <a:gd name="T45" fmla="*/ 24 h 51"/>
              <a:gd name="T46" fmla="*/ 60 w 66"/>
              <a:gd name="T47" fmla="*/ 36 h 51"/>
              <a:gd name="T48" fmla="*/ 59 w 66"/>
              <a:gd name="T49" fmla="*/ 48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40" name="Freeform 246">
            <a:extLst>
              <a:ext uri="{FF2B5EF4-FFF2-40B4-BE49-F238E27FC236}">
                <a16:creationId xmlns:a16="http://schemas.microsoft.com/office/drawing/2014/main" id="{93189CF9-E23F-4F2A-AC6C-10A5DE25274D}"/>
              </a:ext>
            </a:extLst>
          </p:cNvPr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8488760" y="2864734"/>
            <a:ext cx="48890" cy="57150"/>
          </a:xfrm>
          <a:custGeom>
            <a:avLst/>
            <a:gdLst>
              <a:gd name="T0" fmla="*/ 0 w 113"/>
              <a:gd name="T1" fmla="*/ 44 h 74"/>
              <a:gd name="T2" fmla="*/ 20 w 113"/>
              <a:gd name="T3" fmla="*/ 74 h 74"/>
              <a:gd name="T4" fmla="*/ 37 w 113"/>
              <a:gd name="T5" fmla="*/ 69 h 74"/>
              <a:gd name="T6" fmla="*/ 51 w 113"/>
              <a:gd name="T7" fmla="*/ 65 h 74"/>
              <a:gd name="T8" fmla="*/ 64 w 113"/>
              <a:gd name="T9" fmla="*/ 59 h 74"/>
              <a:gd name="T10" fmla="*/ 74 w 113"/>
              <a:gd name="T11" fmla="*/ 53 h 74"/>
              <a:gd name="T12" fmla="*/ 78 w 113"/>
              <a:gd name="T13" fmla="*/ 49 h 74"/>
              <a:gd name="T14" fmla="*/ 83 w 113"/>
              <a:gd name="T15" fmla="*/ 45 h 74"/>
              <a:gd name="T16" fmla="*/ 86 w 113"/>
              <a:gd name="T17" fmla="*/ 41 h 74"/>
              <a:gd name="T18" fmla="*/ 88 w 113"/>
              <a:gd name="T19" fmla="*/ 37 h 74"/>
              <a:gd name="T20" fmla="*/ 90 w 113"/>
              <a:gd name="T21" fmla="*/ 32 h 74"/>
              <a:gd name="T22" fmla="*/ 91 w 113"/>
              <a:gd name="T23" fmla="*/ 26 h 74"/>
              <a:gd name="T24" fmla="*/ 93 w 113"/>
              <a:gd name="T25" fmla="*/ 19 h 74"/>
              <a:gd name="T26" fmla="*/ 94 w 113"/>
              <a:gd name="T27" fmla="*/ 13 h 74"/>
              <a:gd name="T28" fmla="*/ 99 w 113"/>
              <a:gd name="T29" fmla="*/ 12 h 74"/>
              <a:gd name="T30" fmla="*/ 106 w 113"/>
              <a:gd name="T31" fmla="*/ 9 h 74"/>
              <a:gd name="T32" fmla="*/ 108 w 113"/>
              <a:gd name="T33" fmla="*/ 7 h 74"/>
              <a:gd name="T34" fmla="*/ 111 w 113"/>
              <a:gd name="T35" fmla="*/ 5 h 74"/>
              <a:gd name="T36" fmla="*/ 112 w 113"/>
              <a:gd name="T37" fmla="*/ 3 h 74"/>
              <a:gd name="T38" fmla="*/ 113 w 113"/>
              <a:gd name="T39" fmla="*/ 0 h 74"/>
              <a:gd name="T40" fmla="*/ 98 w 113"/>
              <a:gd name="T41" fmla="*/ 4 h 74"/>
              <a:gd name="T42" fmla="*/ 82 w 113"/>
              <a:gd name="T43" fmla="*/ 8 h 74"/>
              <a:gd name="T44" fmla="*/ 65 w 113"/>
              <a:gd name="T45" fmla="*/ 13 h 74"/>
              <a:gd name="T46" fmla="*/ 49 w 113"/>
              <a:gd name="T47" fmla="*/ 19 h 74"/>
              <a:gd name="T48" fmla="*/ 20 w 113"/>
              <a:gd name="T49" fmla="*/ 33 h 74"/>
              <a:gd name="T50" fmla="*/ 0 w 113"/>
              <a:gd name="T51" fmla="*/ 4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1" name="Freeform 247">
            <a:extLst>
              <a:ext uri="{FF2B5EF4-FFF2-40B4-BE49-F238E27FC236}">
                <a16:creationId xmlns:a16="http://schemas.microsoft.com/office/drawing/2014/main" id="{75B559ED-2E7E-4608-B5CB-9B7876D2483E}"/>
              </a:ext>
            </a:extLst>
          </p:cNvPr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8111392" y="3656898"/>
            <a:ext cx="313201" cy="244475"/>
          </a:xfrm>
          <a:custGeom>
            <a:avLst/>
            <a:gdLst>
              <a:gd name="T0" fmla="*/ 98 w 746"/>
              <a:gd name="T1" fmla="*/ 452 h 469"/>
              <a:gd name="T2" fmla="*/ 54 w 746"/>
              <a:gd name="T3" fmla="*/ 440 h 469"/>
              <a:gd name="T4" fmla="*/ 21 w 746"/>
              <a:gd name="T5" fmla="*/ 429 h 469"/>
              <a:gd name="T6" fmla="*/ 5 w 746"/>
              <a:gd name="T7" fmla="*/ 413 h 469"/>
              <a:gd name="T8" fmla="*/ 0 w 746"/>
              <a:gd name="T9" fmla="*/ 363 h 469"/>
              <a:gd name="T10" fmla="*/ 5 w 746"/>
              <a:gd name="T11" fmla="*/ 309 h 469"/>
              <a:gd name="T12" fmla="*/ 23 w 746"/>
              <a:gd name="T13" fmla="*/ 273 h 469"/>
              <a:gd name="T14" fmla="*/ 56 w 746"/>
              <a:gd name="T15" fmla="*/ 228 h 469"/>
              <a:gd name="T16" fmla="*/ 121 w 746"/>
              <a:gd name="T17" fmla="*/ 204 h 469"/>
              <a:gd name="T18" fmla="*/ 166 w 746"/>
              <a:gd name="T19" fmla="*/ 188 h 469"/>
              <a:gd name="T20" fmla="*/ 235 w 746"/>
              <a:gd name="T21" fmla="*/ 173 h 469"/>
              <a:gd name="T22" fmla="*/ 262 w 746"/>
              <a:gd name="T23" fmla="*/ 153 h 469"/>
              <a:gd name="T24" fmla="*/ 267 w 746"/>
              <a:gd name="T25" fmla="*/ 136 h 469"/>
              <a:gd name="T26" fmla="*/ 292 w 746"/>
              <a:gd name="T27" fmla="*/ 120 h 469"/>
              <a:gd name="T28" fmla="*/ 332 w 746"/>
              <a:gd name="T29" fmla="*/ 115 h 469"/>
              <a:gd name="T30" fmla="*/ 359 w 746"/>
              <a:gd name="T31" fmla="*/ 101 h 469"/>
              <a:gd name="T32" fmla="*/ 389 w 746"/>
              <a:gd name="T33" fmla="*/ 67 h 469"/>
              <a:gd name="T34" fmla="*/ 425 w 746"/>
              <a:gd name="T35" fmla="*/ 22 h 469"/>
              <a:gd name="T36" fmla="*/ 450 w 746"/>
              <a:gd name="T37" fmla="*/ 6 h 469"/>
              <a:gd name="T38" fmla="*/ 486 w 746"/>
              <a:gd name="T39" fmla="*/ 0 h 469"/>
              <a:gd name="T40" fmla="*/ 507 w 746"/>
              <a:gd name="T41" fmla="*/ 29 h 469"/>
              <a:gd name="T42" fmla="*/ 532 w 746"/>
              <a:gd name="T43" fmla="*/ 53 h 469"/>
              <a:gd name="T44" fmla="*/ 553 w 746"/>
              <a:gd name="T45" fmla="*/ 107 h 469"/>
              <a:gd name="T46" fmla="*/ 579 w 746"/>
              <a:gd name="T47" fmla="*/ 159 h 469"/>
              <a:gd name="T48" fmla="*/ 613 w 746"/>
              <a:gd name="T49" fmla="*/ 172 h 469"/>
              <a:gd name="T50" fmla="*/ 628 w 746"/>
              <a:gd name="T51" fmla="*/ 193 h 469"/>
              <a:gd name="T52" fmla="*/ 650 w 746"/>
              <a:gd name="T53" fmla="*/ 233 h 469"/>
              <a:gd name="T54" fmla="*/ 702 w 746"/>
              <a:gd name="T55" fmla="*/ 279 h 469"/>
              <a:gd name="T56" fmla="*/ 741 w 746"/>
              <a:gd name="T57" fmla="*/ 315 h 469"/>
              <a:gd name="T58" fmla="*/ 711 w 746"/>
              <a:gd name="T59" fmla="*/ 345 h 469"/>
              <a:gd name="T60" fmla="*/ 691 w 746"/>
              <a:gd name="T61" fmla="*/ 342 h 469"/>
              <a:gd name="T62" fmla="*/ 679 w 746"/>
              <a:gd name="T63" fmla="*/ 321 h 469"/>
              <a:gd name="T64" fmla="*/ 651 w 746"/>
              <a:gd name="T65" fmla="*/ 330 h 469"/>
              <a:gd name="T66" fmla="*/ 639 w 746"/>
              <a:gd name="T67" fmla="*/ 352 h 469"/>
              <a:gd name="T68" fmla="*/ 604 w 746"/>
              <a:gd name="T69" fmla="*/ 356 h 469"/>
              <a:gd name="T70" fmla="*/ 553 w 746"/>
              <a:gd name="T71" fmla="*/ 356 h 469"/>
              <a:gd name="T72" fmla="*/ 522 w 746"/>
              <a:gd name="T73" fmla="*/ 365 h 469"/>
              <a:gd name="T74" fmla="*/ 496 w 746"/>
              <a:gd name="T75" fmla="*/ 387 h 469"/>
              <a:gd name="T76" fmla="*/ 486 w 746"/>
              <a:gd name="T77" fmla="*/ 394 h 469"/>
              <a:gd name="T78" fmla="*/ 426 w 746"/>
              <a:gd name="T79" fmla="*/ 400 h 469"/>
              <a:gd name="T80" fmla="*/ 396 w 746"/>
              <a:gd name="T81" fmla="*/ 392 h 469"/>
              <a:gd name="T82" fmla="*/ 349 w 746"/>
              <a:gd name="T83" fmla="*/ 354 h 469"/>
              <a:gd name="T84" fmla="*/ 319 w 746"/>
              <a:gd name="T85" fmla="*/ 345 h 469"/>
              <a:gd name="T86" fmla="*/ 291 w 746"/>
              <a:gd name="T87" fmla="*/ 355 h 469"/>
              <a:gd name="T88" fmla="*/ 266 w 746"/>
              <a:gd name="T89" fmla="*/ 377 h 469"/>
              <a:gd name="T90" fmla="*/ 227 w 746"/>
              <a:gd name="T91" fmla="*/ 437 h 469"/>
              <a:gd name="T92" fmla="*/ 150 w 746"/>
              <a:gd name="T93" fmla="*/ 439 h 469"/>
              <a:gd name="T94" fmla="*/ 135 w 746"/>
              <a:gd name="T95" fmla="*/ 448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2" name="Freeform 248">
            <a:extLst>
              <a:ext uri="{FF2B5EF4-FFF2-40B4-BE49-F238E27FC236}">
                <a16:creationId xmlns:a16="http://schemas.microsoft.com/office/drawing/2014/main" id="{26F5CAD1-F64B-40E8-AB8D-C4222E95FF18}"/>
              </a:ext>
            </a:extLst>
          </p:cNvPr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8050278" y="3825172"/>
            <a:ext cx="481260" cy="552450"/>
          </a:xfrm>
          <a:custGeom>
            <a:avLst/>
            <a:gdLst>
              <a:gd name="T0" fmla="*/ 902 w 1145"/>
              <a:gd name="T1" fmla="*/ 57 h 1053"/>
              <a:gd name="T2" fmla="*/ 993 w 1145"/>
              <a:gd name="T3" fmla="*/ 66 h 1053"/>
              <a:gd name="T4" fmla="*/ 1080 w 1145"/>
              <a:gd name="T5" fmla="*/ 81 h 1053"/>
              <a:gd name="T6" fmla="*/ 1126 w 1145"/>
              <a:gd name="T7" fmla="*/ 175 h 1053"/>
              <a:gd name="T8" fmla="*/ 1133 w 1145"/>
              <a:gd name="T9" fmla="*/ 211 h 1053"/>
              <a:gd name="T10" fmla="*/ 1058 w 1145"/>
              <a:gd name="T11" fmla="*/ 272 h 1053"/>
              <a:gd name="T12" fmla="*/ 1045 w 1145"/>
              <a:gd name="T13" fmla="*/ 360 h 1053"/>
              <a:gd name="T14" fmla="*/ 1003 w 1145"/>
              <a:gd name="T15" fmla="*/ 440 h 1053"/>
              <a:gd name="T16" fmla="*/ 990 w 1145"/>
              <a:gd name="T17" fmla="*/ 476 h 1053"/>
              <a:gd name="T18" fmla="*/ 1019 w 1145"/>
              <a:gd name="T19" fmla="*/ 576 h 1053"/>
              <a:gd name="T20" fmla="*/ 1026 w 1145"/>
              <a:gd name="T21" fmla="*/ 664 h 1053"/>
              <a:gd name="T22" fmla="*/ 1047 w 1145"/>
              <a:gd name="T23" fmla="*/ 731 h 1053"/>
              <a:gd name="T24" fmla="*/ 1079 w 1145"/>
              <a:gd name="T25" fmla="*/ 765 h 1053"/>
              <a:gd name="T26" fmla="*/ 1092 w 1145"/>
              <a:gd name="T27" fmla="*/ 825 h 1053"/>
              <a:gd name="T28" fmla="*/ 1040 w 1145"/>
              <a:gd name="T29" fmla="*/ 844 h 1053"/>
              <a:gd name="T30" fmla="*/ 997 w 1145"/>
              <a:gd name="T31" fmla="*/ 856 h 1053"/>
              <a:gd name="T32" fmla="*/ 960 w 1145"/>
              <a:gd name="T33" fmla="*/ 992 h 1053"/>
              <a:gd name="T34" fmla="*/ 930 w 1145"/>
              <a:gd name="T35" fmla="*/ 1026 h 1053"/>
              <a:gd name="T36" fmla="*/ 902 w 1145"/>
              <a:gd name="T37" fmla="*/ 1031 h 1053"/>
              <a:gd name="T38" fmla="*/ 840 w 1145"/>
              <a:gd name="T39" fmla="*/ 1053 h 1053"/>
              <a:gd name="T40" fmla="*/ 782 w 1145"/>
              <a:gd name="T41" fmla="*/ 1037 h 1053"/>
              <a:gd name="T42" fmla="*/ 743 w 1145"/>
              <a:gd name="T43" fmla="*/ 1014 h 1053"/>
              <a:gd name="T44" fmla="*/ 707 w 1145"/>
              <a:gd name="T45" fmla="*/ 997 h 1053"/>
              <a:gd name="T46" fmla="*/ 674 w 1145"/>
              <a:gd name="T47" fmla="*/ 986 h 1053"/>
              <a:gd name="T48" fmla="*/ 608 w 1145"/>
              <a:gd name="T49" fmla="*/ 987 h 1053"/>
              <a:gd name="T50" fmla="*/ 594 w 1145"/>
              <a:gd name="T51" fmla="*/ 942 h 1053"/>
              <a:gd name="T52" fmla="*/ 575 w 1145"/>
              <a:gd name="T53" fmla="*/ 884 h 1053"/>
              <a:gd name="T54" fmla="*/ 590 w 1145"/>
              <a:gd name="T55" fmla="*/ 846 h 1053"/>
              <a:gd name="T56" fmla="*/ 590 w 1145"/>
              <a:gd name="T57" fmla="*/ 779 h 1053"/>
              <a:gd name="T58" fmla="*/ 454 w 1145"/>
              <a:gd name="T59" fmla="*/ 755 h 1053"/>
              <a:gd name="T60" fmla="*/ 443 w 1145"/>
              <a:gd name="T61" fmla="*/ 785 h 1053"/>
              <a:gd name="T62" fmla="*/ 396 w 1145"/>
              <a:gd name="T63" fmla="*/ 817 h 1053"/>
              <a:gd name="T64" fmla="*/ 337 w 1145"/>
              <a:gd name="T65" fmla="*/ 797 h 1053"/>
              <a:gd name="T66" fmla="*/ 297 w 1145"/>
              <a:gd name="T67" fmla="*/ 708 h 1053"/>
              <a:gd name="T68" fmla="*/ 3 w 1145"/>
              <a:gd name="T69" fmla="*/ 671 h 1053"/>
              <a:gd name="T70" fmla="*/ 45 w 1145"/>
              <a:gd name="T71" fmla="*/ 667 h 1053"/>
              <a:gd name="T72" fmla="*/ 26 w 1145"/>
              <a:gd name="T73" fmla="*/ 631 h 1053"/>
              <a:gd name="T74" fmla="*/ 75 w 1145"/>
              <a:gd name="T75" fmla="*/ 615 h 1053"/>
              <a:gd name="T76" fmla="*/ 145 w 1145"/>
              <a:gd name="T77" fmla="*/ 614 h 1053"/>
              <a:gd name="T78" fmla="*/ 183 w 1145"/>
              <a:gd name="T79" fmla="*/ 620 h 1053"/>
              <a:gd name="T80" fmla="*/ 220 w 1145"/>
              <a:gd name="T81" fmla="*/ 574 h 1053"/>
              <a:gd name="T82" fmla="*/ 260 w 1145"/>
              <a:gd name="T83" fmla="*/ 555 h 1053"/>
              <a:gd name="T84" fmla="*/ 281 w 1145"/>
              <a:gd name="T85" fmla="*/ 440 h 1053"/>
              <a:gd name="T86" fmla="*/ 346 w 1145"/>
              <a:gd name="T87" fmla="*/ 370 h 1053"/>
              <a:gd name="T88" fmla="*/ 370 w 1145"/>
              <a:gd name="T89" fmla="*/ 276 h 1053"/>
              <a:gd name="T90" fmla="*/ 372 w 1145"/>
              <a:gd name="T91" fmla="*/ 180 h 1053"/>
              <a:gd name="T92" fmla="*/ 383 w 1145"/>
              <a:gd name="T93" fmla="*/ 122 h 1053"/>
              <a:gd name="T94" fmla="*/ 440 w 1145"/>
              <a:gd name="T95" fmla="*/ 35 h 1053"/>
              <a:gd name="T96" fmla="*/ 491 w 1145"/>
              <a:gd name="T97" fmla="*/ 30 h 1053"/>
              <a:gd name="T98" fmla="*/ 558 w 1145"/>
              <a:gd name="T99" fmla="*/ 77 h 1053"/>
              <a:gd name="T100" fmla="*/ 637 w 1145"/>
              <a:gd name="T101" fmla="*/ 73 h 1053"/>
              <a:gd name="T102" fmla="*/ 670 w 1145"/>
              <a:gd name="T103" fmla="*/ 44 h 1053"/>
              <a:gd name="T104" fmla="*/ 734 w 1145"/>
              <a:gd name="T105" fmla="*/ 34 h 1053"/>
              <a:gd name="T106" fmla="*/ 795 w 1145"/>
              <a:gd name="T107" fmla="*/ 17 h 1053"/>
              <a:gd name="T108" fmla="*/ 828 w 1145"/>
              <a:gd name="T109" fmla="*/ 8 h 1053"/>
              <a:gd name="T110" fmla="*/ 859 w 1145"/>
              <a:gd name="T111" fmla="*/ 24 h 10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3" name="Freeform 249">
            <a:extLst>
              <a:ext uri="{FF2B5EF4-FFF2-40B4-BE49-F238E27FC236}">
                <a16:creationId xmlns:a16="http://schemas.microsoft.com/office/drawing/2014/main" id="{B2AB7298-81E9-4234-A097-8BC6C8EBE6C2}"/>
              </a:ext>
            </a:extLst>
          </p:cNvPr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7989166" y="3925185"/>
            <a:ext cx="53473" cy="55563"/>
          </a:xfrm>
          <a:custGeom>
            <a:avLst/>
            <a:gdLst>
              <a:gd name="T0" fmla="*/ 120 w 125"/>
              <a:gd name="T1" fmla="*/ 0 h 81"/>
              <a:gd name="T2" fmla="*/ 121 w 125"/>
              <a:gd name="T3" fmla="*/ 27 h 81"/>
              <a:gd name="T4" fmla="*/ 124 w 125"/>
              <a:gd name="T5" fmla="*/ 46 h 81"/>
              <a:gd name="T6" fmla="*/ 125 w 125"/>
              <a:gd name="T7" fmla="*/ 53 h 81"/>
              <a:gd name="T8" fmla="*/ 125 w 125"/>
              <a:gd name="T9" fmla="*/ 59 h 81"/>
              <a:gd name="T10" fmla="*/ 125 w 125"/>
              <a:gd name="T11" fmla="*/ 65 h 81"/>
              <a:gd name="T12" fmla="*/ 123 w 125"/>
              <a:gd name="T13" fmla="*/ 69 h 81"/>
              <a:gd name="T14" fmla="*/ 119 w 125"/>
              <a:gd name="T15" fmla="*/ 72 h 81"/>
              <a:gd name="T16" fmla="*/ 112 w 125"/>
              <a:gd name="T17" fmla="*/ 74 h 81"/>
              <a:gd name="T18" fmla="*/ 103 w 125"/>
              <a:gd name="T19" fmla="*/ 76 h 81"/>
              <a:gd name="T20" fmla="*/ 91 w 125"/>
              <a:gd name="T21" fmla="*/ 77 h 81"/>
              <a:gd name="T22" fmla="*/ 57 w 125"/>
              <a:gd name="T23" fmla="*/ 79 h 81"/>
              <a:gd name="T24" fmla="*/ 7 w 125"/>
              <a:gd name="T25" fmla="*/ 81 h 81"/>
              <a:gd name="T26" fmla="*/ 5 w 125"/>
              <a:gd name="T27" fmla="*/ 79 h 81"/>
              <a:gd name="T28" fmla="*/ 3 w 125"/>
              <a:gd name="T29" fmla="*/ 72 h 81"/>
              <a:gd name="T30" fmla="*/ 1 w 125"/>
              <a:gd name="T31" fmla="*/ 59 h 81"/>
              <a:gd name="T32" fmla="*/ 0 w 125"/>
              <a:gd name="T33" fmla="*/ 43 h 81"/>
              <a:gd name="T34" fmla="*/ 0 w 125"/>
              <a:gd name="T35" fmla="*/ 37 h 81"/>
              <a:gd name="T36" fmla="*/ 1 w 125"/>
              <a:gd name="T37" fmla="*/ 31 h 81"/>
              <a:gd name="T38" fmla="*/ 2 w 125"/>
              <a:gd name="T39" fmla="*/ 25 h 81"/>
              <a:gd name="T40" fmla="*/ 4 w 125"/>
              <a:gd name="T41" fmla="*/ 20 h 81"/>
              <a:gd name="T42" fmla="*/ 8 w 125"/>
              <a:gd name="T43" fmla="*/ 15 h 81"/>
              <a:gd name="T44" fmla="*/ 11 w 125"/>
              <a:gd name="T45" fmla="*/ 10 h 81"/>
              <a:gd name="T46" fmla="*/ 14 w 125"/>
              <a:gd name="T47" fmla="*/ 5 h 81"/>
              <a:gd name="T48" fmla="*/ 20 w 125"/>
              <a:gd name="T49" fmla="*/ 0 h 81"/>
              <a:gd name="T50" fmla="*/ 120 w 125"/>
              <a:gd name="T51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4" name="Freeform 250">
            <a:extLst>
              <a:ext uri="{FF2B5EF4-FFF2-40B4-BE49-F238E27FC236}">
                <a16:creationId xmlns:a16="http://schemas.microsoft.com/office/drawing/2014/main" id="{6F9641E5-E11F-47A3-9BEE-4E153E22A7CE}"/>
              </a:ext>
            </a:extLst>
          </p:cNvPr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7972359" y="3925185"/>
            <a:ext cx="146670" cy="201613"/>
          </a:xfrm>
          <a:custGeom>
            <a:avLst/>
            <a:gdLst>
              <a:gd name="T0" fmla="*/ 262 w 355"/>
              <a:gd name="T1" fmla="*/ 15 h 388"/>
              <a:gd name="T2" fmla="*/ 257 w 355"/>
              <a:gd name="T3" fmla="*/ 37 h 388"/>
              <a:gd name="T4" fmla="*/ 264 w 355"/>
              <a:gd name="T5" fmla="*/ 51 h 388"/>
              <a:gd name="T6" fmla="*/ 283 w 355"/>
              <a:gd name="T7" fmla="*/ 60 h 388"/>
              <a:gd name="T8" fmla="*/ 319 w 355"/>
              <a:gd name="T9" fmla="*/ 55 h 388"/>
              <a:gd name="T10" fmla="*/ 332 w 355"/>
              <a:gd name="T11" fmla="*/ 57 h 388"/>
              <a:gd name="T12" fmla="*/ 340 w 355"/>
              <a:gd name="T13" fmla="*/ 68 h 388"/>
              <a:gd name="T14" fmla="*/ 345 w 355"/>
              <a:gd name="T15" fmla="*/ 83 h 388"/>
              <a:gd name="T16" fmla="*/ 351 w 355"/>
              <a:gd name="T17" fmla="*/ 94 h 388"/>
              <a:gd name="T18" fmla="*/ 345 w 355"/>
              <a:gd name="T19" fmla="*/ 108 h 388"/>
              <a:gd name="T20" fmla="*/ 320 w 355"/>
              <a:gd name="T21" fmla="*/ 136 h 388"/>
              <a:gd name="T22" fmla="*/ 348 w 355"/>
              <a:gd name="T23" fmla="*/ 175 h 388"/>
              <a:gd name="T24" fmla="*/ 355 w 355"/>
              <a:gd name="T25" fmla="*/ 202 h 388"/>
              <a:gd name="T26" fmla="*/ 353 w 355"/>
              <a:gd name="T27" fmla="*/ 219 h 388"/>
              <a:gd name="T28" fmla="*/ 345 w 355"/>
              <a:gd name="T29" fmla="*/ 254 h 388"/>
              <a:gd name="T30" fmla="*/ 333 w 355"/>
              <a:gd name="T31" fmla="*/ 271 h 388"/>
              <a:gd name="T32" fmla="*/ 312 w 355"/>
              <a:gd name="T33" fmla="*/ 280 h 388"/>
              <a:gd name="T34" fmla="*/ 286 w 355"/>
              <a:gd name="T35" fmla="*/ 282 h 388"/>
              <a:gd name="T36" fmla="*/ 270 w 355"/>
              <a:gd name="T37" fmla="*/ 282 h 388"/>
              <a:gd name="T38" fmla="*/ 252 w 355"/>
              <a:gd name="T39" fmla="*/ 265 h 388"/>
              <a:gd name="T40" fmla="*/ 240 w 355"/>
              <a:gd name="T41" fmla="*/ 259 h 388"/>
              <a:gd name="T42" fmla="*/ 221 w 355"/>
              <a:gd name="T43" fmla="*/ 269 h 388"/>
              <a:gd name="T44" fmla="*/ 205 w 355"/>
              <a:gd name="T45" fmla="*/ 279 h 388"/>
              <a:gd name="T46" fmla="*/ 194 w 355"/>
              <a:gd name="T47" fmla="*/ 285 h 388"/>
              <a:gd name="T48" fmla="*/ 185 w 355"/>
              <a:gd name="T49" fmla="*/ 298 h 388"/>
              <a:gd name="T50" fmla="*/ 187 w 355"/>
              <a:gd name="T51" fmla="*/ 321 h 388"/>
              <a:gd name="T52" fmla="*/ 207 w 355"/>
              <a:gd name="T53" fmla="*/ 358 h 388"/>
              <a:gd name="T54" fmla="*/ 195 w 355"/>
              <a:gd name="T55" fmla="*/ 353 h 388"/>
              <a:gd name="T56" fmla="*/ 177 w 355"/>
              <a:gd name="T57" fmla="*/ 355 h 388"/>
              <a:gd name="T58" fmla="*/ 162 w 355"/>
              <a:gd name="T59" fmla="*/ 365 h 388"/>
              <a:gd name="T60" fmla="*/ 146 w 355"/>
              <a:gd name="T61" fmla="*/ 388 h 388"/>
              <a:gd name="T62" fmla="*/ 123 w 355"/>
              <a:gd name="T63" fmla="*/ 370 h 388"/>
              <a:gd name="T64" fmla="*/ 113 w 355"/>
              <a:gd name="T65" fmla="*/ 358 h 388"/>
              <a:gd name="T66" fmla="*/ 96 w 355"/>
              <a:gd name="T67" fmla="*/ 324 h 388"/>
              <a:gd name="T68" fmla="*/ 50 w 355"/>
              <a:gd name="T69" fmla="*/ 280 h 388"/>
              <a:gd name="T70" fmla="*/ 22 w 355"/>
              <a:gd name="T71" fmla="*/ 254 h 388"/>
              <a:gd name="T72" fmla="*/ 5 w 355"/>
              <a:gd name="T73" fmla="*/ 223 h 388"/>
              <a:gd name="T74" fmla="*/ 1 w 355"/>
              <a:gd name="T75" fmla="*/ 187 h 388"/>
              <a:gd name="T76" fmla="*/ 11 w 355"/>
              <a:gd name="T77" fmla="*/ 162 h 388"/>
              <a:gd name="T78" fmla="*/ 41 w 355"/>
              <a:gd name="T79" fmla="*/ 134 h 388"/>
              <a:gd name="T80" fmla="*/ 54 w 355"/>
              <a:gd name="T81" fmla="*/ 116 h 388"/>
              <a:gd name="T82" fmla="*/ 56 w 355"/>
              <a:gd name="T83" fmla="*/ 91 h 388"/>
              <a:gd name="T84" fmla="*/ 108 w 355"/>
              <a:gd name="T85" fmla="*/ 83 h 388"/>
              <a:gd name="T86" fmla="*/ 156 w 355"/>
              <a:gd name="T87" fmla="*/ 80 h 388"/>
              <a:gd name="T88" fmla="*/ 172 w 355"/>
              <a:gd name="T89" fmla="*/ 73 h 388"/>
              <a:gd name="T90" fmla="*/ 177 w 355"/>
              <a:gd name="T91" fmla="*/ 63 h 388"/>
              <a:gd name="T92" fmla="*/ 174 w 355"/>
              <a:gd name="T93" fmla="*/ 41 h 388"/>
              <a:gd name="T94" fmla="*/ 167 w 355"/>
              <a:gd name="T95" fmla="*/ 12 h 38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5" name="Freeform 251">
            <a:extLst>
              <a:ext uri="{FF2B5EF4-FFF2-40B4-BE49-F238E27FC236}">
                <a16:creationId xmlns:a16="http://schemas.microsoft.com/office/drawing/2014/main" id="{412E81F5-9C8F-494D-859F-75B3A17335CC}"/>
              </a:ext>
            </a:extLst>
          </p:cNvPr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8485704" y="4329997"/>
            <a:ext cx="250561" cy="520700"/>
          </a:xfrm>
          <a:custGeom>
            <a:avLst/>
            <a:gdLst>
              <a:gd name="T0" fmla="*/ 0 w 599"/>
              <a:gd name="T1" fmla="*/ 259 h 993"/>
              <a:gd name="T2" fmla="*/ 182 w 599"/>
              <a:gd name="T3" fmla="*/ 224 h 993"/>
              <a:gd name="T4" fmla="*/ 230 w 599"/>
              <a:gd name="T5" fmla="*/ 240 h 993"/>
              <a:gd name="T6" fmla="*/ 258 w 599"/>
              <a:gd name="T7" fmla="*/ 258 h 993"/>
              <a:gd name="T8" fmla="*/ 252 w 599"/>
              <a:gd name="T9" fmla="*/ 296 h 993"/>
              <a:gd name="T10" fmla="*/ 234 w 599"/>
              <a:gd name="T11" fmla="*/ 327 h 993"/>
              <a:gd name="T12" fmla="*/ 250 w 599"/>
              <a:gd name="T13" fmla="*/ 357 h 993"/>
              <a:gd name="T14" fmla="*/ 294 w 599"/>
              <a:gd name="T15" fmla="*/ 365 h 993"/>
              <a:gd name="T16" fmla="*/ 319 w 599"/>
              <a:gd name="T17" fmla="*/ 340 h 993"/>
              <a:gd name="T18" fmla="*/ 338 w 599"/>
              <a:gd name="T19" fmla="*/ 317 h 993"/>
              <a:gd name="T20" fmla="*/ 332 w 599"/>
              <a:gd name="T21" fmla="*/ 261 h 993"/>
              <a:gd name="T22" fmla="*/ 314 w 599"/>
              <a:gd name="T23" fmla="*/ 204 h 993"/>
              <a:gd name="T24" fmla="*/ 271 w 599"/>
              <a:gd name="T25" fmla="*/ 157 h 993"/>
              <a:gd name="T26" fmla="*/ 254 w 599"/>
              <a:gd name="T27" fmla="*/ 125 h 993"/>
              <a:gd name="T28" fmla="*/ 270 w 599"/>
              <a:gd name="T29" fmla="*/ 62 h 993"/>
              <a:gd name="T30" fmla="*/ 320 w 599"/>
              <a:gd name="T31" fmla="*/ 55 h 993"/>
              <a:gd name="T32" fmla="*/ 418 w 599"/>
              <a:gd name="T33" fmla="*/ 60 h 993"/>
              <a:gd name="T34" fmla="*/ 521 w 599"/>
              <a:gd name="T35" fmla="*/ 36 h 993"/>
              <a:gd name="T36" fmla="*/ 597 w 599"/>
              <a:gd name="T37" fmla="*/ 3 h 993"/>
              <a:gd name="T38" fmla="*/ 597 w 599"/>
              <a:gd name="T39" fmla="*/ 30 h 993"/>
              <a:gd name="T40" fmla="*/ 597 w 599"/>
              <a:gd name="T41" fmla="*/ 126 h 993"/>
              <a:gd name="T42" fmla="*/ 592 w 599"/>
              <a:gd name="T43" fmla="*/ 228 h 993"/>
              <a:gd name="T44" fmla="*/ 585 w 599"/>
              <a:gd name="T45" fmla="*/ 276 h 993"/>
              <a:gd name="T46" fmla="*/ 550 w 599"/>
              <a:gd name="T47" fmla="*/ 337 h 993"/>
              <a:gd name="T48" fmla="*/ 468 w 599"/>
              <a:gd name="T49" fmla="*/ 402 h 993"/>
              <a:gd name="T50" fmla="*/ 374 w 599"/>
              <a:gd name="T51" fmla="*/ 426 h 993"/>
              <a:gd name="T52" fmla="*/ 353 w 599"/>
              <a:gd name="T53" fmla="*/ 464 h 993"/>
              <a:gd name="T54" fmla="*/ 293 w 599"/>
              <a:gd name="T55" fmla="*/ 507 h 993"/>
              <a:gd name="T56" fmla="*/ 243 w 599"/>
              <a:gd name="T57" fmla="*/ 549 h 993"/>
              <a:gd name="T58" fmla="*/ 229 w 599"/>
              <a:gd name="T59" fmla="*/ 582 h 993"/>
              <a:gd name="T60" fmla="*/ 237 w 599"/>
              <a:gd name="T61" fmla="*/ 619 h 993"/>
              <a:gd name="T62" fmla="*/ 267 w 599"/>
              <a:gd name="T63" fmla="*/ 654 h 993"/>
              <a:gd name="T64" fmla="*/ 254 w 599"/>
              <a:gd name="T65" fmla="*/ 694 h 993"/>
              <a:gd name="T66" fmla="*/ 265 w 599"/>
              <a:gd name="T67" fmla="*/ 729 h 993"/>
              <a:gd name="T68" fmla="*/ 267 w 599"/>
              <a:gd name="T69" fmla="*/ 790 h 993"/>
              <a:gd name="T70" fmla="*/ 256 w 599"/>
              <a:gd name="T71" fmla="*/ 814 h 993"/>
              <a:gd name="T72" fmla="*/ 193 w 599"/>
              <a:gd name="T73" fmla="*/ 873 h 993"/>
              <a:gd name="T74" fmla="*/ 147 w 599"/>
              <a:gd name="T75" fmla="*/ 887 h 993"/>
              <a:gd name="T76" fmla="*/ 102 w 599"/>
              <a:gd name="T77" fmla="*/ 894 h 993"/>
              <a:gd name="T78" fmla="*/ 87 w 599"/>
              <a:gd name="T79" fmla="*/ 913 h 993"/>
              <a:gd name="T80" fmla="*/ 95 w 599"/>
              <a:gd name="T81" fmla="*/ 939 h 993"/>
              <a:gd name="T82" fmla="*/ 91 w 599"/>
              <a:gd name="T83" fmla="*/ 992 h 993"/>
              <a:gd name="T84" fmla="*/ 74 w 599"/>
              <a:gd name="T85" fmla="*/ 810 h 993"/>
              <a:gd name="T86" fmla="*/ 58 w 599"/>
              <a:gd name="T87" fmla="*/ 765 h 993"/>
              <a:gd name="T88" fmla="*/ 41 w 599"/>
              <a:gd name="T89" fmla="*/ 720 h 993"/>
              <a:gd name="T90" fmla="*/ 108 w 599"/>
              <a:gd name="T91" fmla="*/ 666 h 993"/>
              <a:gd name="T92" fmla="*/ 109 w 599"/>
              <a:gd name="T93" fmla="*/ 614 h 993"/>
              <a:gd name="T94" fmla="*/ 149 w 599"/>
              <a:gd name="T95" fmla="*/ 571 h 993"/>
              <a:gd name="T96" fmla="*/ 174 w 599"/>
              <a:gd name="T97" fmla="*/ 526 h 993"/>
              <a:gd name="T98" fmla="*/ 168 w 599"/>
              <a:gd name="T99" fmla="*/ 441 h 993"/>
              <a:gd name="T100" fmla="*/ 152 w 599"/>
              <a:gd name="T101" fmla="*/ 364 h 993"/>
              <a:gd name="T102" fmla="*/ 81 w 599"/>
              <a:gd name="T103" fmla="*/ 341 h 9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6" name="Freeform 252">
            <a:extLst>
              <a:ext uri="{FF2B5EF4-FFF2-40B4-BE49-F238E27FC236}">
                <a16:creationId xmlns:a16="http://schemas.microsoft.com/office/drawing/2014/main" id="{00C1C0AB-C890-4A7A-938A-F8B9D13BA0BB}"/>
              </a:ext>
            </a:extLst>
          </p:cNvPr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8230561" y="4569709"/>
            <a:ext cx="229172" cy="287338"/>
          </a:xfrm>
          <a:custGeom>
            <a:avLst/>
            <a:gdLst>
              <a:gd name="T0" fmla="*/ 30 w 545"/>
              <a:gd name="T1" fmla="*/ 428 h 549"/>
              <a:gd name="T2" fmla="*/ 46 w 545"/>
              <a:gd name="T3" fmla="*/ 454 h 549"/>
              <a:gd name="T4" fmla="*/ 46 w 545"/>
              <a:gd name="T5" fmla="*/ 512 h 549"/>
              <a:gd name="T6" fmla="*/ 48 w 545"/>
              <a:gd name="T7" fmla="*/ 527 h 549"/>
              <a:gd name="T8" fmla="*/ 55 w 545"/>
              <a:gd name="T9" fmla="*/ 537 h 549"/>
              <a:gd name="T10" fmla="*/ 68 w 545"/>
              <a:gd name="T11" fmla="*/ 545 h 549"/>
              <a:gd name="T12" fmla="*/ 100 w 545"/>
              <a:gd name="T13" fmla="*/ 549 h 549"/>
              <a:gd name="T14" fmla="*/ 113 w 545"/>
              <a:gd name="T15" fmla="*/ 546 h 549"/>
              <a:gd name="T16" fmla="*/ 130 w 545"/>
              <a:gd name="T17" fmla="*/ 533 h 549"/>
              <a:gd name="T18" fmla="*/ 143 w 545"/>
              <a:gd name="T19" fmla="*/ 507 h 549"/>
              <a:gd name="T20" fmla="*/ 154 w 545"/>
              <a:gd name="T21" fmla="*/ 477 h 549"/>
              <a:gd name="T22" fmla="*/ 169 w 545"/>
              <a:gd name="T23" fmla="*/ 454 h 549"/>
              <a:gd name="T24" fmla="*/ 183 w 545"/>
              <a:gd name="T25" fmla="*/ 445 h 549"/>
              <a:gd name="T26" fmla="*/ 201 w 545"/>
              <a:gd name="T27" fmla="*/ 444 h 549"/>
              <a:gd name="T28" fmla="*/ 222 w 545"/>
              <a:gd name="T29" fmla="*/ 448 h 549"/>
              <a:gd name="T30" fmla="*/ 252 w 545"/>
              <a:gd name="T31" fmla="*/ 461 h 549"/>
              <a:gd name="T32" fmla="*/ 272 w 545"/>
              <a:gd name="T33" fmla="*/ 468 h 549"/>
              <a:gd name="T34" fmla="*/ 297 w 545"/>
              <a:gd name="T35" fmla="*/ 469 h 549"/>
              <a:gd name="T36" fmla="*/ 319 w 545"/>
              <a:gd name="T37" fmla="*/ 464 h 549"/>
              <a:gd name="T38" fmla="*/ 332 w 545"/>
              <a:gd name="T39" fmla="*/ 453 h 549"/>
              <a:gd name="T40" fmla="*/ 359 w 545"/>
              <a:gd name="T41" fmla="*/ 388 h 549"/>
              <a:gd name="T42" fmla="*/ 382 w 545"/>
              <a:gd name="T43" fmla="*/ 363 h 549"/>
              <a:gd name="T44" fmla="*/ 447 w 545"/>
              <a:gd name="T45" fmla="*/ 314 h 549"/>
              <a:gd name="T46" fmla="*/ 527 w 545"/>
              <a:gd name="T47" fmla="*/ 264 h 549"/>
              <a:gd name="T48" fmla="*/ 528 w 545"/>
              <a:gd name="T49" fmla="*/ 232 h 549"/>
              <a:gd name="T50" fmla="*/ 503 w 545"/>
              <a:gd name="T51" fmla="*/ 218 h 549"/>
              <a:gd name="T52" fmla="*/ 485 w 545"/>
              <a:gd name="T53" fmla="*/ 199 h 549"/>
              <a:gd name="T54" fmla="*/ 460 w 545"/>
              <a:gd name="T55" fmla="*/ 157 h 549"/>
              <a:gd name="T56" fmla="*/ 440 w 545"/>
              <a:gd name="T57" fmla="*/ 132 h 549"/>
              <a:gd name="T58" fmla="*/ 377 w 545"/>
              <a:gd name="T59" fmla="*/ 76 h 549"/>
              <a:gd name="T60" fmla="*/ 359 w 545"/>
              <a:gd name="T61" fmla="*/ 53 h 549"/>
              <a:gd name="T62" fmla="*/ 348 w 545"/>
              <a:gd name="T63" fmla="*/ 24 h 549"/>
              <a:gd name="T64" fmla="*/ 319 w 545"/>
              <a:gd name="T65" fmla="*/ 0 h 549"/>
              <a:gd name="T66" fmla="*/ 244 w 545"/>
              <a:gd name="T67" fmla="*/ 2 h 549"/>
              <a:gd name="T68" fmla="*/ 176 w 545"/>
              <a:gd name="T69" fmla="*/ 13 h 549"/>
              <a:gd name="T70" fmla="*/ 95 w 545"/>
              <a:gd name="T71" fmla="*/ 22 h 549"/>
              <a:gd name="T72" fmla="*/ 71 w 545"/>
              <a:gd name="T73" fmla="*/ 27 h 549"/>
              <a:gd name="T74" fmla="*/ 67 w 545"/>
              <a:gd name="T75" fmla="*/ 38 h 549"/>
              <a:gd name="T76" fmla="*/ 73 w 545"/>
              <a:gd name="T77" fmla="*/ 56 h 549"/>
              <a:gd name="T78" fmla="*/ 84 w 545"/>
              <a:gd name="T79" fmla="*/ 74 h 549"/>
              <a:gd name="T80" fmla="*/ 86 w 545"/>
              <a:gd name="T81" fmla="*/ 107 h 549"/>
              <a:gd name="T82" fmla="*/ 74 w 545"/>
              <a:gd name="T83" fmla="*/ 171 h 549"/>
              <a:gd name="T84" fmla="*/ 62 w 545"/>
              <a:gd name="T85" fmla="*/ 237 h 549"/>
              <a:gd name="T86" fmla="*/ 47 w 545"/>
              <a:gd name="T87" fmla="*/ 263 h 549"/>
              <a:gd name="T88" fmla="*/ 26 w 545"/>
              <a:gd name="T89" fmla="*/ 277 h 549"/>
              <a:gd name="T90" fmla="*/ 5 w 545"/>
              <a:gd name="T91" fmla="*/ 307 h 549"/>
              <a:gd name="T92" fmla="*/ 1 w 545"/>
              <a:gd name="T93" fmla="*/ 339 h 549"/>
              <a:gd name="T94" fmla="*/ 8 w 545"/>
              <a:gd name="T95" fmla="*/ 367 h 549"/>
              <a:gd name="T96" fmla="*/ 8 w 545"/>
              <a:gd name="T97" fmla="*/ 391 h 549"/>
              <a:gd name="T98" fmla="*/ 0 w 545"/>
              <a:gd name="T99" fmla="*/ 408 h 5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</a:cxnLst>
            <a:rect l="0" t="0" r="r" b="b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7" name="Freeform 253">
            <a:extLst>
              <a:ext uri="{FF2B5EF4-FFF2-40B4-BE49-F238E27FC236}">
                <a16:creationId xmlns:a16="http://schemas.microsoft.com/office/drawing/2014/main" id="{B7C8659E-35CE-44A5-9B77-4A90C2A0784A}"/>
              </a:ext>
            </a:extLst>
          </p:cNvPr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8782099" y="4371273"/>
            <a:ext cx="189449" cy="434975"/>
          </a:xfrm>
          <a:custGeom>
            <a:avLst/>
            <a:gdLst>
              <a:gd name="T0" fmla="*/ 112 w 452"/>
              <a:gd name="T1" fmla="*/ 261 h 832"/>
              <a:gd name="T2" fmla="*/ 138 w 452"/>
              <a:gd name="T3" fmla="*/ 248 h 832"/>
              <a:gd name="T4" fmla="*/ 165 w 452"/>
              <a:gd name="T5" fmla="*/ 240 h 832"/>
              <a:gd name="T6" fmla="*/ 192 w 452"/>
              <a:gd name="T7" fmla="*/ 232 h 832"/>
              <a:gd name="T8" fmla="*/ 215 w 452"/>
              <a:gd name="T9" fmla="*/ 217 h 832"/>
              <a:gd name="T10" fmla="*/ 232 w 452"/>
              <a:gd name="T11" fmla="*/ 200 h 832"/>
              <a:gd name="T12" fmla="*/ 232 w 452"/>
              <a:gd name="T13" fmla="*/ 179 h 832"/>
              <a:gd name="T14" fmla="*/ 265 w 452"/>
              <a:gd name="T15" fmla="*/ 178 h 832"/>
              <a:gd name="T16" fmla="*/ 282 w 452"/>
              <a:gd name="T17" fmla="*/ 173 h 832"/>
              <a:gd name="T18" fmla="*/ 298 w 452"/>
              <a:gd name="T19" fmla="*/ 162 h 832"/>
              <a:gd name="T20" fmla="*/ 320 w 452"/>
              <a:gd name="T21" fmla="*/ 133 h 832"/>
              <a:gd name="T22" fmla="*/ 350 w 452"/>
              <a:gd name="T23" fmla="*/ 75 h 832"/>
              <a:gd name="T24" fmla="*/ 378 w 452"/>
              <a:gd name="T25" fmla="*/ 0 h 832"/>
              <a:gd name="T26" fmla="*/ 385 w 452"/>
              <a:gd name="T27" fmla="*/ 19 h 832"/>
              <a:gd name="T28" fmla="*/ 407 w 452"/>
              <a:gd name="T29" fmla="*/ 47 h 832"/>
              <a:gd name="T30" fmla="*/ 448 w 452"/>
              <a:gd name="T31" fmla="*/ 85 h 832"/>
              <a:gd name="T32" fmla="*/ 440 w 452"/>
              <a:gd name="T33" fmla="*/ 103 h 832"/>
              <a:gd name="T34" fmla="*/ 444 w 452"/>
              <a:gd name="T35" fmla="*/ 138 h 832"/>
              <a:gd name="T36" fmla="*/ 452 w 452"/>
              <a:gd name="T37" fmla="*/ 185 h 832"/>
              <a:gd name="T38" fmla="*/ 448 w 452"/>
              <a:gd name="T39" fmla="*/ 206 h 832"/>
              <a:gd name="T40" fmla="*/ 428 w 452"/>
              <a:gd name="T41" fmla="*/ 234 h 832"/>
              <a:gd name="T42" fmla="*/ 409 w 452"/>
              <a:gd name="T43" fmla="*/ 261 h 832"/>
              <a:gd name="T44" fmla="*/ 405 w 452"/>
              <a:gd name="T45" fmla="*/ 283 h 832"/>
              <a:gd name="T46" fmla="*/ 393 w 452"/>
              <a:gd name="T47" fmla="*/ 308 h 832"/>
              <a:gd name="T48" fmla="*/ 383 w 452"/>
              <a:gd name="T49" fmla="*/ 318 h 832"/>
              <a:gd name="T50" fmla="*/ 377 w 452"/>
              <a:gd name="T51" fmla="*/ 332 h 832"/>
              <a:gd name="T52" fmla="*/ 368 w 452"/>
              <a:gd name="T53" fmla="*/ 364 h 832"/>
              <a:gd name="T54" fmla="*/ 338 w 452"/>
              <a:gd name="T55" fmla="*/ 427 h 832"/>
              <a:gd name="T56" fmla="*/ 321 w 452"/>
              <a:gd name="T57" fmla="*/ 470 h 832"/>
              <a:gd name="T58" fmla="*/ 318 w 452"/>
              <a:gd name="T59" fmla="*/ 500 h 832"/>
              <a:gd name="T60" fmla="*/ 310 w 452"/>
              <a:gd name="T61" fmla="*/ 531 h 832"/>
              <a:gd name="T62" fmla="*/ 281 w 452"/>
              <a:gd name="T63" fmla="*/ 602 h 832"/>
              <a:gd name="T64" fmla="*/ 260 w 452"/>
              <a:gd name="T65" fmla="*/ 637 h 832"/>
              <a:gd name="T66" fmla="*/ 242 w 452"/>
              <a:gd name="T67" fmla="*/ 655 h 832"/>
              <a:gd name="T68" fmla="*/ 232 w 452"/>
              <a:gd name="T69" fmla="*/ 660 h 832"/>
              <a:gd name="T70" fmla="*/ 228 w 452"/>
              <a:gd name="T71" fmla="*/ 714 h 832"/>
              <a:gd name="T72" fmla="*/ 215 w 452"/>
              <a:gd name="T73" fmla="*/ 759 h 832"/>
              <a:gd name="T74" fmla="*/ 191 w 452"/>
              <a:gd name="T75" fmla="*/ 795 h 832"/>
              <a:gd name="T76" fmla="*/ 157 w 452"/>
              <a:gd name="T77" fmla="*/ 819 h 832"/>
              <a:gd name="T78" fmla="*/ 110 w 452"/>
              <a:gd name="T79" fmla="*/ 831 h 832"/>
              <a:gd name="T80" fmla="*/ 80 w 452"/>
              <a:gd name="T81" fmla="*/ 827 h 832"/>
              <a:gd name="T82" fmla="*/ 73 w 452"/>
              <a:gd name="T83" fmla="*/ 817 h 832"/>
              <a:gd name="T84" fmla="*/ 50 w 452"/>
              <a:gd name="T85" fmla="*/ 810 h 832"/>
              <a:gd name="T86" fmla="*/ 26 w 452"/>
              <a:gd name="T87" fmla="*/ 798 h 832"/>
              <a:gd name="T88" fmla="*/ 12 w 452"/>
              <a:gd name="T89" fmla="*/ 777 h 832"/>
              <a:gd name="T90" fmla="*/ 3 w 452"/>
              <a:gd name="T91" fmla="*/ 752 h 832"/>
              <a:gd name="T92" fmla="*/ 0 w 452"/>
              <a:gd name="T93" fmla="*/ 708 h 832"/>
              <a:gd name="T94" fmla="*/ 4 w 452"/>
              <a:gd name="T95" fmla="*/ 694 h 832"/>
              <a:gd name="T96" fmla="*/ 19 w 452"/>
              <a:gd name="T97" fmla="*/ 678 h 832"/>
              <a:gd name="T98" fmla="*/ 11 w 452"/>
              <a:gd name="T99" fmla="*/ 672 h 832"/>
              <a:gd name="T100" fmla="*/ 0 w 452"/>
              <a:gd name="T101" fmla="*/ 652 h 832"/>
              <a:gd name="T102" fmla="*/ 5 w 452"/>
              <a:gd name="T103" fmla="*/ 628 h 832"/>
              <a:gd name="T104" fmla="*/ 8 w 452"/>
              <a:gd name="T105" fmla="*/ 610 h 832"/>
              <a:gd name="T106" fmla="*/ 5 w 452"/>
              <a:gd name="T107" fmla="*/ 591 h 832"/>
              <a:gd name="T108" fmla="*/ 18 w 452"/>
              <a:gd name="T109" fmla="*/ 587 h 832"/>
              <a:gd name="T110" fmla="*/ 43 w 452"/>
              <a:gd name="T111" fmla="*/ 568 h 832"/>
              <a:gd name="T112" fmla="*/ 63 w 452"/>
              <a:gd name="T113" fmla="*/ 538 h 832"/>
              <a:gd name="T114" fmla="*/ 76 w 452"/>
              <a:gd name="T115" fmla="*/ 506 h 832"/>
              <a:gd name="T116" fmla="*/ 86 w 452"/>
              <a:gd name="T117" fmla="*/ 462 h 832"/>
              <a:gd name="T118" fmla="*/ 83 w 452"/>
              <a:gd name="T119" fmla="*/ 438 h 832"/>
              <a:gd name="T120" fmla="*/ 70 w 452"/>
              <a:gd name="T121" fmla="*/ 408 h 832"/>
              <a:gd name="T122" fmla="*/ 56 w 452"/>
              <a:gd name="T123" fmla="*/ 382 h 832"/>
              <a:gd name="T124" fmla="*/ 53 w 452"/>
              <a:gd name="T125" fmla="*/ 363 h 8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8" name="Freeform 254">
            <a:extLst>
              <a:ext uri="{FF2B5EF4-FFF2-40B4-BE49-F238E27FC236}">
                <a16:creationId xmlns:a16="http://schemas.microsoft.com/office/drawing/2014/main" id="{C7081558-74B7-4E55-AAAE-4AFB5A17D13B}"/>
              </a:ext>
            </a:extLst>
          </p:cNvPr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8470427" y="4069648"/>
            <a:ext cx="35140" cy="66675"/>
          </a:xfrm>
          <a:custGeom>
            <a:avLst/>
            <a:gdLst>
              <a:gd name="T0" fmla="*/ 80 w 80"/>
              <a:gd name="T1" fmla="*/ 2 h 126"/>
              <a:gd name="T2" fmla="*/ 80 w 80"/>
              <a:gd name="T3" fmla="*/ 101 h 126"/>
              <a:gd name="T4" fmla="*/ 78 w 80"/>
              <a:gd name="T5" fmla="*/ 104 h 126"/>
              <a:gd name="T6" fmla="*/ 75 w 80"/>
              <a:gd name="T7" fmla="*/ 107 h 126"/>
              <a:gd name="T8" fmla="*/ 70 w 80"/>
              <a:gd name="T9" fmla="*/ 109 h 126"/>
              <a:gd name="T10" fmla="*/ 67 w 80"/>
              <a:gd name="T11" fmla="*/ 111 h 126"/>
              <a:gd name="T12" fmla="*/ 58 w 80"/>
              <a:gd name="T13" fmla="*/ 114 h 126"/>
              <a:gd name="T14" fmla="*/ 48 w 80"/>
              <a:gd name="T15" fmla="*/ 116 h 126"/>
              <a:gd name="T16" fmla="*/ 36 w 80"/>
              <a:gd name="T17" fmla="*/ 117 h 126"/>
              <a:gd name="T18" fmla="*/ 25 w 80"/>
              <a:gd name="T19" fmla="*/ 119 h 126"/>
              <a:gd name="T20" fmla="*/ 13 w 80"/>
              <a:gd name="T21" fmla="*/ 123 h 126"/>
              <a:gd name="T22" fmla="*/ 0 w 80"/>
              <a:gd name="T23" fmla="*/ 126 h 126"/>
              <a:gd name="T24" fmla="*/ 7 w 80"/>
              <a:gd name="T25" fmla="*/ 40 h 126"/>
              <a:gd name="T26" fmla="*/ 23 w 80"/>
              <a:gd name="T27" fmla="*/ 27 h 126"/>
              <a:gd name="T28" fmla="*/ 41 w 80"/>
              <a:gd name="T29" fmla="*/ 12 h 126"/>
              <a:gd name="T30" fmla="*/ 51 w 80"/>
              <a:gd name="T31" fmla="*/ 5 h 126"/>
              <a:gd name="T32" fmla="*/ 60 w 80"/>
              <a:gd name="T33" fmla="*/ 1 h 126"/>
              <a:gd name="T34" fmla="*/ 65 w 80"/>
              <a:gd name="T35" fmla="*/ 0 h 126"/>
              <a:gd name="T36" fmla="*/ 70 w 80"/>
              <a:gd name="T37" fmla="*/ 0 h 126"/>
              <a:gd name="T38" fmla="*/ 75 w 80"/>
              <a:gd name="T39" fmla="*/ 1 h 126"/>
              <a:gd name="T40" fmla="*/ 80 w 80"/>
              <a:gd name="T41" fmla="*/ 2 h 1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</a:cxnLst>
            <a:rect l="0" t="0" r="r" b="b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49" name="Freeform 255">
            <a:extLst>
              <a:ext uri="{FF2B5EF4-FFF2-40B4-BE49-F238E27FC236}">
                <a16:creationId xmlns:a16="http://schemas.microsoft.com/office/drawing/2014/main" id="{893C645E-461E-4321-83F9-5A2A9FE72D14}"/>
              </a:ext>
            </a:extLst>
          </p:cNvPr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8459732" y="4029960"/>
            <a:ext cx="53473" cy="60325"/>
          </a:xfrm>
          <a:custGeom>
            <a:avLst/>
            <a:gdLst>
              <a:gd name="T0" fmla="*/ 113 w 124"/>
              <a:gd name="T1" fmla="*/ 0 h 117"/>
              <a:gd name="T2" fmla="*/ 116 w 124"/>
              <a:gd name="T3" fmla="*/ 15 h 117"/>
              <a:gd name="T4" fmla="*/ 122 w 124"/>
              <a:gd name="T5" fmla="*/ 35 h 117"/>
              <a:gd name="T6" fmla="*/ 124 w 124"/>
              <a:gd name="T7" fmla="*/ 45 h 117"/>
              <a:gd name="T8" fmla="*/ 124 w 124"/>
              <a:gd name="T9" fmla="*/ 54 h 117"/>
              <a:gd name="T10" fmla="*/ 124 w 124"/>
              <a:gd name="T11" fmla="*/ 59 h 117"/>
              <a:gd name="T12" fmla="*/ 123 w 124"/>
              <a:gd name="T13" fmla="*/ 64 h 117"/>
              <a:gd name="T14" fmla="*/ 122 w 124"/>
              <a:gd name="T15" fmla="*/ 69 h 117"/>
              <a:gd name="T16" fmla="*/ 119 w 124"/>
              <a:gd name="T17" fmla="*/ 73 h 117"/>
              <a:gd name="T18" fmla="*/ 114 w 124"/>
              <a:gd name="T19" fmla="*/ 72 h 117"/>
              <a:gd name="T20" fmla="*/ 108 w 124"/>
              <a:gd name="T21" fmla="*/ 71 h 117"/>
              <a:gd name="T22" fmla="*/ 103 w 124"/>
              <a:gd name="T23" fmla="*/ 72 h 117"/>
              <a:gd name="T24" fmla="*/ 96 w 124"/>
              <a:gd name="T25" fmla="*/ 73 h 117"/>
              <a:gd name="T26" fmla="*/ 83 w 124"/>
              <a:gd name="T27" fmla="*/ 78 h 117"/>
              <a:gd name="T28" fmla="*/ 71 w 124"/>
              <a:gd name="T29" fmla="*/ 85 h 117"/>
              <a:gd name="T30" fmla="*/ 46 w 124"/>
              <a:gd name="T31" fmla="*/ 103 h 117"/>
              <a:gd name="T32" fmla="*/ 26 w 124"/>
              <a:gd name="T33" fmla="*/ 117 h 117"/>
              <a:gd name="T34" fmla="*/ 23 w 124"/>
              <a:gd name="T35" fmla="*/ 112 h 117"/>
              <a:gd name="T36" fmla="*/ 13 w 124"/>
              <a:gd name="T37" fmla="*/ 101 h 117"/>
              <a:gd name="T38" fmla="*/ 4 w 124"/>
              <a:gd name="T39" fmla="*/ 89 h 117"/>
              <a:gd name="T40" fmla="*/ 0 w 124"/>
              <a:gd name="T41" fmla="*/ 79 h 117"/>
              <a:gd name="T42" fmla="*/ 1 w 124"/>
              <a:gd name="T43" fmla="*/ 76 h 117"/>
              <a:gd name="T44" fmla="*/ 2 w 124"/>
              <a:gd name="T45" fmla="*/ 72 h 117"/>
              <a:gd name="T46" fmla="*/ 5 w 124"/>
              <a:gd name="T47" fmla="*/ 67 h 117"/>
              <a:gd name="T48" fmla="*/ 9 w 124"/>
              <a:gd name="T49" fmla="*/ 62 h 117"/>
              <a:gd name="T50" fmla="*/ 17 w 124"/>
              <a:gd name="T51" fmla="*/ 52 h 117"/>
              <a:gd name="T52" fmla="*/ 27 w 124"/>
              <a:gd name="T53" fmla="*/ 42 h 117"/>
              <a:gd name="T54" fmla="*/ 48 w 124"/>
              <a:gd name="T55" fmla="*/ 22 h 117"/>
              <a:gd name="T56" fmla="*/ 60 w 124"/>
              <a:gd name="T57" fmla="*/ 12 h 117"/>
              <a:gd name="T58" fmla="*/ 73 w 124"/>
              <a:gd name="T59" fmla="*/ 12 h 117"/>
              <a:gd name="T60" fmla="*/ 86 w 124"/>
              <a:gd name="T61" fmla="*/ 12 h 117"/>
              <a:gd name="T62" fmla="*/ 100 w 124"/>
              <a:gd name="T63" fmla="*/ 6 h 117"/>
              <a:gd name="T64" fmla="*/ 113 w 124"/>
              <a:gd name="T65" fmla="*/ 0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0" name="Freeform 256">
            <a:extLst>
              <a:ext uri="{FF2B5EF4-FFF2-40B4-BE49-F238E27FC236}">
                <a16:creationId xmlns:a16="http://schemas.microsoft.com/office/drawing/2014/main" id="{CC798B94-3584-4D42-8A3B-DE3C636490F2}"/>
              </a:ext>
            </a:extLst>
          </p:cNvPr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8757654" y="2729798"/>
            <a:ext cx="484317" cy="473075"/>
          </a:xfrm>
          <a:custGeom>
            <a:avLst/>
            <a:gdLst>
              <a:gd name="T0" fmla="*/ 928 w 1156"/>
              <a:gd name="T1" fmla="*/ 191 h 900"/>
              <a:gd name="T2" fmla="*/ 859 w 1156"/>
              <a:gd name="T3" fmla="*/ 162 h 900"/>
              <a:gd name="T4" fmla="*/ 773 w 1156"/>
              <a:gd name="T5" fmla="*/ 111 h 900"/>
              <a:gd name="T6" fmla="*/ 617 w 1156"/>
              <a:gd name="T7" fmla="*/ 104 h 900"/>
              <a:gd name="T8" fmla="*/ 551 w 1156"/>
              <a:gd name="T9" fmla="*/ 154 h 900"/>
              <a:gd name="T10" fmla="*/ 504 w 1156"/>
              <a:gd name="T11" fmla="*/ 179 h 900"/>
              <a:gd name="T12" fmla="*/ 426 w 1156"/>
              <a:gd name="T13" fmla="*/ 197 h 900"/>
              <a:gd name="T14" fmla="*/ 383 w 1156"/>
              <a:gd name="T15" fmla="*/ 199 h 900"/>
              <a:gd name="T16" fmla="*/ 355 w 1156"/>
              <a:gd name="T17" fmla="*/ 173 h 900"/>
              <a:gd name="T18" fmla="*/ 260 w 1156"/>
              <a:gd name="T19" fmla="*/ 136 h 900"/>
              <a:gd name="T20" fmla="*/ 228 w 1156"/>
              <a:gd name="T21" fmla="*/ 86 h 900"/>
              <a:gd name="T22" fmla="*/ 220 w 1156"/>
              <a:gd name="T23" fmla="*/ 23 h 900"/>
              <a:gd name="T24" fmla="*/ 188 w 1156"/>
              <a:gd name="T25" fmla="*/ 1 h 900"/>
              <a:gd name="T26" fmla="*/ 155 w 1156"/>
              <a:gd name="T27" fmla="*/ 21 h 900"/>
              <a:gd name="T28" fmla="*/ 136 w 1156"/>
              <a:gd name="T29" fmla="*/ 67 h 900"/>
              <a:gd name="T30" fmla="*/ 79 w 1156"/>
              <a:gd name="T31" fmla="*/ 54 h 900"/>
              <a:gd name="T32" fmla="*/ 4 w 1156"/>
              <a:gd name="T33" fmla="*/ 16 h 900"/>
              <a:gd name="T34" fmla="*/ 5 w 1156"/>
              <a:gd name="T35" fmla="*/ 72 h 900"/>
              <a:gd name="T36" fmla="*/ 45 w 1156"/>
              <a:gd name="T37" fmla="*/ 146 h 900"/>
              <a:gd name="T38" fmla="*/ 73 w 1156"/>
              <a:gd name="T39" fmla="*/ 205 h 900"/>
              <a:gd name="T40" fmla="*/ 135 w 1156"/>
              <a:gd name="T41" fmla="*/ 284 h 900"/>
              <a:gd name="T42" fmla="*/ 122 w 1156"/>
              <a:gd name="T43" fmla="*/ 316 h 900"/>
              <a:gd name="T44" fmla="*/ 133 w 1156"/>
              <a:gd name="T45" fmla="*/ 370 h 900"/>
              <a:gd name="T46" fmla="*/ 188 w 1156"/>
              <a:gd name="T47" fmla="*/ 428 h 900"/>
              <a:gd name="T48" fmla="*/ 259 w 1156"/>
              <a:gd name="T49" fmla="*/ 456 h 900"/>
              <a:gd name="T50" fmla="*/ 259 w 1156"/>
              <a:gd name="T51" fmla="*/ 524 h 900"/>
              <a:gd name="T52" fmla="*/ 335 w 1156"/>
              <a:gd name="T53" fmla="*/ 581 h 900"/>
              <a:gd name="T54" fmla="*/ 423 w 1156"/>
              <a:gd name="T55" fmla="*/ 664 h 900"/>
              <a:gd name="T56" fmla="*/ 471 w 1156"/>
              <a:gd name="T57" fmla="*/ 720 h 900"/>
              <a:gd name="T58" fmla="*/ 504 w 1156"/>
              <a:gd name="T59" fmla="*/ 733 h 900"/>
              <a:gd name="T60" fmla="*/ 542 w 1156"/>
              <a:gd name="T61" fmla="*/ 755 h 900"/>
              <a:gd name="T62" fmla="*/ 598 w 1156"/>
              <a:gd name="T63" fmla="*/ 787 h 900"/>
              <a:gd name="T64" fmla="*/ 685 w 1156"/>
              <a:gd name="T65" fmla="*/ 795 h 900"/>
              <a:gd name="T66" fmla="*/ 732 w 1156"/>
              <a:gd name="T67" fmla="*/ 780 h 900"/>
              <a:gd name="T68" fmla="*/ 779 w 1156"/>
              <a:gd name="T69" fmla="*/ 764 h 900"/>
              <a:gd name="T70" fmla="*/ 801 w 1156"/>
              <a:gd name="T71" fmla="*/ 796 h 900"/>
              <a:gd name="T72" fmla="*/ 813 w 1156"/>
              <a:gd name="T73" fmla="*/ 857 h 900"/>
              <a:gd name="T74" fmla="*/ 874 w 1156"/>
              <a:gd name="T75" fmla="*/ 874 h 900"/>
              <a:gd name="T76" fmla="*/ 1011 w 1156"/>
              <a:gd name="T77" fmla="*/ 892 h 900"/>
              <a:gd name="T78" fmla="*/ 1091 w 1156"/>
              <a:gd name="T79" fmla="*/ 879 h 900"/>
              <a:gd name="T80" fmla="*/ 1099 w 1156"/>
              <a:gd name="T81" fmla="*/ 831 h 900"/>
              <a:gd name="T82" fmla="*/ 1156 w 1156"/>
              <a:gd name="T83" fmla="*/ 770 h 900"/>
              <a:gd name="T84" fmla="*/ 1132 w 1156"/>
              <a:gd name="T85" fmla="*/ 750 h 900"/>
              <a:gd name="T86" fmla="*/ 1096 w 1156"/>
              <a:gd name="T87" fmla="*/ 708 h 900"/>
              <a:gd name="T88" fmla="*/ 1031 w 1156"/>
              <a:gd name="T89" fmla="*/ 643 h 900"/>
              <a:gd name="T90" fmla="*/ 1018 w 1156"/>
              <a:gd name="T91" fmla="*/ 603 h 900"/>
              <a:gd name="T92" fmla="*/ 1044 w 1156"/>
              <a:gd name="T93" fmla="*/ 559 h 900"/>
              <a:gd name="T94" fmla="*/ 1048 w 1156"/>
              <a:gd name="T95" fmla="*/ 526 h 900"/>
              <a:gd name="T96" fmla="*/ 1030 w 1156"/>
              <a:gd name="T97" fmla="*/ 512 h 900"/>
              <a:gd name="T98" fmla="*/ 983 w 1156"/>
              <a:gd name="T99" fmla="*/ 507 h 900"/>
              <a:gd name="T100" fmla="*/ 954 w 1156"/>
              <a:gd name="T101" fmla="*/ 453 h 900"/>
              <a:gd name="T102" fmla="*/ 937 w 1156"/>
              <a:gd name="T103" fmla="*/ 373 h 900"/>
              <a:gd name="T104" fmla="*/ 924 w 1156"/>
              <a:gd name="T105" fmla="*/ 357 h 900"/>
              <a:gd name="T106" fmla="*/ 940 w 1156"/>
              <a:gd name="T107" fmla="*/ 334 h 900"/>
              <a:gd name="T108" fmla="*/ 960 w 1156"/>
              <a:gd name="T109" fmla="*/ 293 h 9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1" name="Freeform 257">
            <a:extLst>
              <a:ext uri="{FF2B5EF4-FFF2-40B4-BE49-F238E27FC236}">
                <a16:creationId xmlns:a16="http://schemas.microsoft.com/office/drawing/2014/main" id="{2F9BEE15-C54E-46BF-A0D3-3F5915AD86F9}"/>
              </a:ext>
            </a:extLst>
          </p:cNvPr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8780572" y="3387022"/>
            <a:ext cx="238339" cy="228600"/>
          </a:xfrm>
          <a:custGeom>
            <a:avLst/>
            <a:gdLst>
              <a:gd name="T0" fmla="*/ 26 w 571"/>
              <a:gd name="T1" fmla="*/ 190 h 443"/>
              <a:gd name="T2" fmla="*/ 37 w 571"/>
              <a:gd name="T3" fmla="*/ 177 h 443"/>
              <a:gd name="T4" fmla="*/ 41 w 571"/>
              <a:gd name="T5" fmla="*/ 164 h 443"/>
              <a:gd name="T6" fmla="*/ 39 w 571"/>
              <a:gd name="T7" fmla="*/ 129 h 443"/>
              <a:gd name="T8" fmla="*/ 44 w 571"/>
              <a:gd name="T9" fmla="*/ 120 h 443"/>
              <a:gd name="T10" fmla="*/ 55 w 571"/>
              <a:gd name="T11" fmla="*/ 112 h 443"/>
              <a:gd name="T12" fmla="*/ 68 w 571"/>
              <a:gd name="T13" fmla="*/ 107 h 443"/>
              <a:gd name="T14" fmla="*/ 80 w 571"/>
              <a:gd name="T15" fmla="*/ 104 h 443"/>
              <a:gd name="T16" fmla="*/ 103 w 571"/>
              <a:gd name="T17" fmla="*/ 106 h 443"/>
              <a:gd name="T18" fmla="*/ 124 w 571"/>
              <a:gd name="T19" fmla="*/ 109 h 443"/>
              <a:gd name="T20" fmla="*/ 158 w 571"/>
              <a:gd name="T21" fmla="*/ 120 h 443"/>
              <a:gd name="T22" fmla="*/ 184 w 571"/>
              <a:gd name="T23" fmla="*/ 135 h 443"/>
              <a:gd name="T24" fmla="*/ 206 w 571"/>
              <a:gd name="T25" fmla="*/ 154 h 443"/>
              <a:gd name="T26" fmla="*/ 254 w 571"/>
              <a:gd name="T27" fmla="*/ 92 h 443"/>
              <a:gd name="T28" fmla="*/ 285 w 571"/>
              <a:gd name="T29" fmla="*/ 49 h 443"/>
              <a:gd name="T30" fmla="*/ 538 w 571"/>
              <a:gd name="T31" fmla="*/ 43 h 443"/>
              <a:gd name="T32" fmla="*/ 557 w 571"/>
              <a:gd name="T33" fmla="*/ 78 h 443"/>
              <a:gd name="T34" fmla="*/ 562 w 571"/>
              <a:gd name="T35" fmla="*/ 98 h 443"/>
              <a:gd name="T36" fmla="*/ 564 w 571"/>
              <a:gd name="T37" fmla="*/ 123 h 443"/>
              <a:gd name="T38" fmla="*/ 568 w 571"/>
              <a:gd name="T39" fmla="*/ 151 h 443"/>
              <a:gd name="T40" fmla="*/ 571 w 571"/>
              <a:gd name="T41" fmla="*/ 178 h 443"/>
              <a:gd name="T42" fmla="*/ 564 w 571"/>
              <a:gd name="T43" fmla="*/ 180 h 443"/>
              <a:gd name="T44" fmla="*/ 562 w 571"/>
              <a:gd name="T45" fmla="*/ 179 h 443"/>
              <a:gd name="T46" fmla="*/ 558 w 571"/>
              <a:gd name="T47" fmla="*/ 184 h 443"/>
              <a:gd name="T48" fmla="*/ 548 w 571"/>
              <a:gd name="T49" fmla="*/ 207 h 443"/>
              <a:gd name="T50" fmla="*/ 534 w 571"/>
              <a:gd name="T51" fmla="*/ 225 h 443"/>
              <a:gd name="T52" fmla="*/ 515 w 571"/>
              <a:gd name="T53" fmla="*/ 239 h 443"/>
              <a:gd name="T54" fmla="*/ 494 w 571"/>
              <a:gd name="T55" fmla="*/ 249 h 443"/>
              <a:gd name="T56" fmla="*/ 405 w 571"/>
              <a:gd name="T57" fmla="*/ 283 h 443"/>
              <a:gd name="T58" fmla="*/ 347 w 571"/>
              <a:gd name="T59" fmla="*/ 307 h 443"/>
              <a:gd name="T60" fmla="*/ 295 w 571"/>
              <a:gd name="T61" fmla="*/ 328 h 443"/>
              <a:gd name="T62" fmla="*/ 245 w 571"/>
              <a:gd name="T63" fmla="*/ 345 h 443"/>
              <a:gd name="T64" fmla="*/ 186 w 571"/>
              <a:gd name="T65" fmla="*/ 363 h 443"/>
              <a:gd name="T66" fmla="*/ 167 w 571"/>
              <a:gd name="T67" fmla="*/ 371 h 443"/>
              <a:gd name="T68" fmla="*/ 149 w 571"/>
              <a:gd name="T69" fmla="*/ 381 h 443"/>
              <a:gd name="T70" fmla="*/ 119 w 571"/>
              <a:gd name="T71" fmla="*/ 403 h 443"/>
              <a:gd name="T72" fmla="*/ 92 w 571"/>
              <a:gd name="T73" fmla="*/ 426 h 443"/>
              <a:gd name="T74" fmla="*/ 67 w 571"/>
              <a:gd name="T75" fmla="*/ 443 h 443"/>
              <a:gd name="T76" fmla="*/ 50 w 571"/>
              <a:gd name="T77" fmla="*/ 378 h 443"/>
              <a:gd name="T78" fmla="*/ 33 w 571"/>
              <a:gd name="T79" fmla="*/ 313 h 443"/>
              <a:gd name="T80" fmla="*/ 16 w 571"/>
              <a:gd name="T81" fmla="*/ 251 h 443"/>
              <a:gd name="T82" fmla="*/ 0 w 571"/>
              <a:gd name="T83" fmla="*/ 196 h 4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2" name="Freeform 258">
            <a:extLst>
              <a:ext uri="{FF2B5EF4-FFF2-40B4-BE49-F238E27FC236}">
                <a16:creationId xmlns:a16="http://schemas.microsoft.com/office/drawing/2014/main" id="{293AF7F3-5078-44B7-BE63-3AB6113C9A7E}"/>
              </a:ext>
            </a:extLst>
          </p:cNvPr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8968492" y="3161597"/>
            <a:ext cx="116114" cy="120650"/>
          </a:xfrm>
          <a:custGeom>
            <a:avLst/>
            <a:gdLst>
              <a:gd name="T0" fmla="*/ 0 w 286"/>
              <a:gd name="T1" fmla="*/ 111 h 228"/>
              <a:gd name="T2" fmla="*/ 4 w 286"/>
              <a:gd name="T3" fmla="*/ 109 h 228"/>
              <a:gd name="T4" fmla="*/ 7 w 286"/>
              <a:gd name="T5" fmla="*/ 109 h 228"/>
              <a:gd name="T6" fmla="*/ 10 w 286"/>
              <a:gd name="T7" fmla="*/ 110 h 228"/>
              <a:gd name="T8" fmla="*/ 11 w 286"/>
              <a:gd name="T9" fmla="*/ 111 h 228"/>
              <a:gd name="T10" fmla="*/ 12 w 286"/>
              <a:gd name="T11" fmla="*/ 117 h 228"/>
              <a:gd name="T12" fmla="*/ 13 w 286"/>
              <a:gd name="T13" fmla="*/ 123 h 228"/>
              <a:gd name="T14" fmla="*/ 14 w 286"/>
              <a:gd name="T15" fmla="*/ 128 h 228"/>
              <a:gd name="T16" fmla="*/ 16 w 286"/>
              <a:gd name="T17" fmla="*/ 131 h 228"/>
              <a:gd name="T18" fmla="*/ 19 w 286"/>
              <a:gd name="T19" fmla="*/ 134 h 228"/>
              <a:gd name="T20" fmla="*/ 24 w 286"/>
              <a:gd name="T21" fmla="*/ 136 h 228"/>
              <a:gd name="T22" fmla="*/ 29 w 286"/>
              <a:gd name="T23" fmla="*/ 137 h 228"/>
              <a:gd name="T24" fmla="*/ 37 w 286"/>
              <a:gd name="T25" fmla="*/ 138 h 228"/>
              <a:gd name="T26" fmla="*/ 48 w 286"/>
              <a:gd name="T27" fmla="*/ 138 h 228"/>
              <a:gd name="T28" fmla="*/ 60 w 286"/>
              <a:gd name="T29" fmla="*/ 136 h 228"/>
              <a:gd name="T30" fmla="*/ 98 w 286"/>
              <a:gd name="T31" fmla="*/ 130 h 228"/>
              <a:gd name="T32" fmla="*/ 129 w 286"/>
              <a:gd name="T33" fmla="*/ 122 h 228"/>
              <a:gd name="T34" fmla="*/ 143 w 286"/>
              <a:gd name="T35" fmla="*/ 118 h 228"/>
              <a:gd name="T36" fmla="*/ 156 w 286"/>
              <a:gd name="T37" fmla="*/ 114 h 228"/>
              <a:gd name="T38" fmla="*/ 167 w 286"/>
              <a:gd name="T39" fmla="*/ 109 h 228"/>
              <a:gd name="T40" fmla="*/ 178 w 286"/>
              <a:gd name="T41" fmla="*/ 103 h 228"/>
              <a:gd name="T42" fmla="*/ 188 w 286"/>
              <a:gd name="T43" fmla="*/ 96 h 228"/>
              <a:gd name="T44" fmla="*/ 198 w 286"/>
              <a:gd name="T45" fmla="*/ 87 h 228"/>
              <a:gd name="T46" fmla="*/ 208 w 286"/>
              <a:gd name="T47" fmla="*/ 78 h 228"/>
              <a:gd name="T48" fmla="*/ 219 w 286"/>
              <a:gd name="T49" fmla="*/ 65 h 228"/>
              <a:gd name="T50" fmla="*/ 229 w 286"/>
              <a:gd name="T51" fmla="*/ 52 h 228"/>
              <a:gd name="T52" fmla="*/ 241 w 286"/>
              <a:gd name="T53" fmla="*/ 37 h 228"/>
              <a:gd name="T54" fmla="*/ 253 w 286"/>
              <a:gd name="T55" fmla="*/ 20 h 228"/>
              <a:gd name="T56" fmla="*/ 266 w 286"/>
              <a:gd name="T57" fmla="*/ 0 h 228"/>
              <a:gd name="T58" fmla="*/ 270 w 286"/>
              <a:gd name="T59" fmla="*/ 7 h 228"/>
              <a:gd name="T60" fmla="*/ 274 w 286"/>
              <a:gd name="T61" fmla="*/ 13 h 228"/>
              <a:gd name="T62" fmla="*/ 276 w 286"/>
              <a:gd name="T63" fmla="*/ 20 h 228"/>
              <a:gd name="T64" fmla="*/ 279 w 286"/>
              <a:gd name="T65" fmla="*/ 27 h 228"/>
              <a:gd name="T66" fmla="*/ 282 w 286"/>
              <a:gd name="T67" fmla="*/ 42 h 228"/>
              <a:gd name="T68" fmla="*/ 286 w 286"/>
              <a:gd name="T69" fmla="*/ 62 h 228"/>
              <a:gd name="T70" fmla="*/ 246 w 286"/>
              <a:gd name="T71" fmla="*/ 198 h 228"/>
              <a:gd name="T72" fmla="*/ 226 w 286"/>
              <a:gd name="T73" fmla="*/ 228 h 228"/>
              <a:gd name="T74" fmla="*/ 53 w 286"/>
              <a:gd name="T75" fmla="*/ 210 h 228"/>
              <a:gd name="T76" fmla="*/ 0 w 286"/>
              <a:gd name="T77" fmla="*/ 111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253" name="Freeform 259">
            <a:extLst>
              <a:ext uri="{FF2B5EF4-FFF2-40B4-BE49-F238E27FC236}">
                <a16:creationId xmlns:a16="http://schemas.microsoft.com/office/drawing/2014/main" id="{1212BAB0-71E2-494D-AECC-57CCCF226C26}"/>
              </a:ext>
            </a:extLst>
          </p:cNvPr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8667514" y="2813935"/>
            <a:ext cx="213894" cy="263525"/>
          </a:xfrm>
          <a:custGeom>
            <a:avLst/>
            <a:gdLst>
              <a:gd name="T0" fmla="*/ 478 w 524"/>
              <a:gd name="T1" fmla="*/ 370 h 505"/>
              <a:gd name="T2" fmla="*/ 484 w 524"/>
              <a:gd name="T3" fmla="*/ 346 h 505"/>
              <a:gd name="T4" fmla="*/ 483 w 524"/>
              <a:gd name="T5" fmla="*/ 329 h 505"/>
              <a:gd name="T6" fmla="*/ 478 w 524"/>
              <a:gd name="T7" fmla="*/ 302 h 505"/>
              <a:gd name="T8" fmla="*/ 455 w 524"/>
              <a:gd name="T9" fmla="*/ 299 h 505"/>
              <a:gd name="T10" fmla="*/ 431 w 524"/>
              <a:gd name="T11" fmla="*/ 288 h 505"/>
              <a:gd name="T12" fmla="*/ 407 w 524"/>
              <a:gd name="T13" fmla="*/ 274 h 505"/>
              <a:gd name="T14" fmla="*/ 386 w 524"/>
              <a:gd name="T15" fmla="*/ 256 h 505"/>
              <a:gd name="T16" fmla="*/ 366 w 524"/>
              <a:gd name="T17" fmla="*/ 237 h 505"/>
              <a:gd name="T18" fmla="*/ 352 w 524"/>
              <a:gd name="T19" fmla="*/ 216 h 505"/>
              <a:gd name="T20" fmla="*/ 342 w 524"/>
              <a:gd name="T21" fmla="*/ 196 h 505"/>
              <a:gd name="T22" fmla="*/ 339 w 524"/>
              <a:gd name="T23" fmla="*/ 178 h 505"/>
              <a:gd name="T24" fmla="*/ 341 w 524"/>
              <a:gd name="T25" fmla="*/ 162 h 505"/>
              <a:gd name="T26" fmla="*/ 349 w 524"/>
              <a:gd name="T27" fmla="*/ 150 h 505"/>
              <a:gd name="T28" fmla="*/ 365 w 524"/>
              <a:gd name="T29" fmla="*/ 136 h 505"/>
              <a:gd name="T30" fmla="*/ 354 w 524"/>
              <a:gd name="T31" fmla="*/ 130 h 505"/>
              <a:gd name="T32" fmla="*/ 341 w 524"/>
              <a:gd name="T33" fmla="*/ 119 h 505"/>
              <a:gd name="T34" fmla="*/ 315 w 524"/>
              <a:gd name="T35" fmla="*/ 87 h 505"/>
              <a:gd name="T36" fmla="*/ 292 w 524"/>
              <a:gd name="T37" fmla="*/ 51 h 505"/>
              <a:gd name="T38" fmla="*/ 279 w 524"/>
              <a:gd name="T39" fmla="*/ 25 h 505"/>
              <a:gd name="T40" fmla="*/ 260 w 524"/>
              <a:gd name="T41" fmla="*/ 24 h 505"/>
              <a:gd name="T42" fmla="*/ 239 w 524"/>
              <a:gd name="T43" fmla="*/ 19 h 505"/>
              <a:gd name="T44" fmla="*/ 219 w 524"/>
              <a:gd name="T45" fmla="*/ 11 h 505"/>
              <a:gd name="T46" fmla="*/ 197 w 524"/>
              <a:gd name="T47" fmla="*/ 6 h 505"/>
              <a:gd name="T48" fmla="*/ 170 w 524"/>
              <a:gd name="T49" fmla="*/ 3 h 505"/>
              <a:gd name="T50" fmla="*/ 149 w 524"/>
              <a:gd name="T51" fmla="*/ 8 h 505"/>
              <a:gd name="T52" fmla="*/ 114 w 524"/>
              <a:gd name="T53" fmla="*/ 41 h 505"/>
              <a:gd name="T54" fmla="*/ 98 w 524"/>
              <a:gd name="T55" fmla="*/ 57 h 505"/>
              <a:gd name="T56" fmla="*/ 93 w 524"/>
              <a:gd name="T57" fmla="*/ 64 h 505"/>
              <a:gd name="T58" fmla="*/ 94 w 524"/>
              <a:gd name="T59" fmla="*/ 94 h 505"/>
              <a:gd name="T60" fmla="*/ 95 w 524"/>
              <a:gd name="T61" fmla="*/ 140 h 505"/>
              <a:gd name="T62" fmla="*/ 94 w 524"/>
              <a:gd name="T63" fmla="*/ 164 h 505"/>
              <a:gd name="T64" fmla="*/ 86 w 524"/>
              <a:gd name="T65" fmla="*/ 180 h 505"/>
              <a:gd name="T66" fmla="*/ 67 w 524"/>
              <a:gd name="T67" fmla="*/ 197 h 505"/>
              <a:gd name="T68" fmla="*/ 40 w 524"/>
              <a:gd name="T69" fmla="*/ 214 h 505"/>
              <a:gd name="T70" fmla="*/ 13 w 524"/>
              <a:gd name="T71" fmla="*/ 228 h 505"/>
              <a:gd name="T72" fmla="*/ 2 w 524"/>
              <a:gd name="T73" fmla="*/ 246 h 505"/>
              <a:gd name="T74" fmla="*/ 2 w 524"/>
              <a:gd name="T75" fmla="*/ 264 h 505"/>
              <a:gd name="T76" fmla="*/ 0 w 524"/>
              <a:gd name="T77" fmla="*/ 278 h 505"/>
              <a:gd name="T78" fmla="*/ 0 w 524"/>
              <a:gd name="T79" fmla="*/ 289 h 505"/>
              <a:gd name="T80" fmla="*/ 7 w 524"/>
              <a:gd name="T81" fmla="*/ 301 h 505"/>
              <a:gd name="T82" fmla="*/ 26 w 524"/>
              <a:gd name="T83" fmla="*/ 314 h 505"/>
              <a:gd name="T84" fmla="*/ 62 w 524"/>
              <a:gd name="T85" fmla="*/ 331 h 505"/>
              <a:gd name="T86" fmla="*/ 120 w 524"/>
              <a:gd name="T87" fmla="*/ 355 h 505"/>
              <a:gd name="T88" fmla="*/ 180 w 524"/>
              <a:gd name="T89" fmla="*/ 374 h 505"/>
              <a:gd name="T90" fmla="*/ 214 w 524"/>
              <a:gd name="T91" fmla="*/ 385 h 505"/>
              <a:gd name="T92" fmla="*/ 237 w 524"/>
              <a:gd name="T93" fmla="*/ 400 h 505"/>
              <a:gd name="T94" fmla="*/ 252 w 524"/>
              <a:gd name="T95" fmla="*/ 418 h 505"/>
              <a:gd name="T96" fmla="*/ 262 w 524"/>
              <a:gd name="T97" fmla="*/ 435 h 505"/>
              <a:gd name="T98" fmla="*/ 266 w 524"/>
              <a:gd name="T99" fmla="*/ 451 h 505"/>
              <a:gd name="T100" fmla="*/ 270 w 524"/>
              <a:gd name="T101" fmla="*/ 469 h 505"/>
              <a:gd name="T102" fmla="*/ 277 w 524"/>
              <a:gd name="T103" fmla="*/ 481 h 505"/>
              <a:gd name="T104" fmla="*/ 287 w 524"/>
              <a:gd name="T105" fmla="*/ 489 h 505"/>
              <a:gd name="T106" fmla="*/ 307 w 524"/>
              <a:gd name="T107" fmla="*/ 497 h 505"/>
              <a:gd name="T108" fmla="*/ 328 w 524"/>
              <a:gd name="T109" fmla="*/ 503 h 505"/>
              <a:gd name="T110" fmla="*/ 335 w 524"/>
              <a:gd name="T111" fmla="*/ 500 h 505"/>
              <a:gd name="T112" fmla="*/ 346 w 524"/>
              <a:gd name="T113" fmla="*/ 499 h 505"/>
              <a:gd name="T114" fmla="*/ 366 w 524"/>
              <a:gd name="T115" fmla="*/ 503 h 505"/>
              <a:gd name="T116" fmla="*/ 383 w 524"/>
              <a:gd name="T117" fmla="*/ 505 h 505"/>
              <a:gd name="T118" fmla="*/ 437 w 524"/>
              <a:gd name="T119" fmla="*/ 505 h 505"/>
              <a:gd name="T120" fmla="*/ 465 w 524"/>
              <a:gd name="T121" fmla="*/ 449 h 505"/>
              <a:gd name="T122" fmla="*/ 492 w 524"/>
              <a:gd name="T123" fmla="*/ 437 h 5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4" name="Freeform 260">
            <a:extLst>
              <a:ext uri="{FF2B5EF4-FFF2-40B4-BE49-F238E27FC236}">
                <a16:creationId xmlns:a16="http://schemas.microsoft.com/office/drawing/2014/main" id="{2A93883C-81A0-4092-BAAA-AB92EB8DA190}"/>
              </a:ext>
            </a:extLst>
          </p:cNvPr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9148774" y="2774247"/>
            <a:ext cx="319313" cy="290512"/>
          </a:xfrm>
          <a:custGeom>
            <a:avLst/>
            <a:gdLst>
              <a:gd name="T0" fmla="*/ 62 w 764"/>
              <a:gd name="T1" fmla="*/ 196 h 555"/>
              <a:gd name="T2" fmla="*/ 93 w 764"/>
              <a:gd name="T3" fmla="*/ 190 h 555"/>
              <a:gd name="T4" fmla="*/ 128 w 764"/>
              <a:gd name="T5" fmla="*/ 182 h 555"/>
              <a:gd name="T6" fmla="*/ 175 w 764"/>
              <a:gd name="T7" fmla="*/ 151 h 555"/>
              <a:gd name="T8" fmla="*/ 194 w 764"/>
              <a:gd name="T9" fmla="*/ 126 h 555"/>
              <a:gd name="T10" fmla="*/ 199 w 764"/>
              <a:gd name="T11" fmla="*/ 88 h 555"/>
              <a:gd name="T12" fmla="*/ 208 w 764"/>
              <a:gd name="T13" fmla="*/ 69 h 555"/>
              <a:gd name="T14" fmla="*/ 240 w 764"/>
              <a:gd name="T15" fmla="*/ 60 h 555"/>
              <a:gd name="T16" fmla="*/ 294 w 764"/>
              <a:gd name="T17" fmla="*/ 62 h 555"/>
              <a:gd name="T18" fmla="*/ 329 w 764"/>
              <a:gd name="T19" fmla="*/ 71 h 555"/>
              <a:gd name="T20" fmla="*/ 362 w 764"/>
              <a:gd name="T21" fmla="*/ 90 h 555"/>
              <a:gd name="T22" fmla="*/ 386 w 764"/>
              <a:gd name="T23" fmla="*/ 93 h 555"/>
              <a:gd name="T24" fmla="*/ 419 w 764"/>
              <a:gd name="T25" fmla="*/ 84 h 555"/>
              <a:gd name="T26" fmla="*/ 460 w 764"/>
              <a:gd name="T27" fmla="*/ 61 h 555"/>
              <a:gd name="T28" fmla="*/ 479 w 764"/>
              <a:gd name="T29" fmla="*/ 33 h 555"/>
              <a:gd name="T30" fmla="*/ 508 w 764"/>
              <a:gd name="T31" fmla="*/ 4 h 555"/>
              <a:gd name="T32" fmla="*/ 530 w 764"/>
              <a:gd name="T33" fmla="*/ 19 h 555"/>
              <a:gd name="T34" fmla="*/ 550 w 764"/>
              <a:gd name="T35" fmla="*/ 45 h 555"/>
              <a:gd name="T36" fmla="*/ 561 w 764"/>
              <a:gd name="T37" fmla="*/ 87 h 555"/>
              <a:gd name="T38" fmla="*/ 570 w 764"/>
              <a:gd name="T39" fmla="*/ 101 h 555"/>
              <a:gd name="T40" fmla="*/ 589 w 764"/>
              <a:gd name="T41" fmla="*/ 104 h 555"/>
              <a:gd name="T42" fmla="*/ 622 w 764"/>
              <a:gd name="T43" fmla="*/ 73 h 555"/>
              <a:gd name="T44" fmla="*/ 743 w 764"/>
              <a:gd name="T45" fmla="*/ 66 h 555"/>
              <a:gd name="T46" fmla="*/ 759 w 764"/>
              <a:gd name="T47" fmla="*/ 87 h 555"/>
              <a:gd name="T48" fmla="*/ 679 w 764"/>
              <a:gd name="T49" fmla="*/ 100 h 555"/>
              <a:gd name="T50" fmla="*/ 605 w 764"/>
              <a:gd name="T51" fmla="*/ 112 h 555"/>
              <a:gd name="T52" fmla="*/ 574 w 764"/>
              <a:gd name="T53" fmla="*/ 130 h 555"/>
              <a:gd name="T54" fmla="*/ 571 w 764"/>
              <a:gd name="T55" fmla="*/ 147 h 555"/>
              <a:gd name="T56" fmla="*/ 582 w 764"/>
              <a:gd name="T57" fmla="*/ 164 h 555"/>
              <a:gd name="T58" fmla="*/ 601 w 764"/>
              <a:gd name="T59" fmla="*/ 180 h 555"/>
              <a:gd name="T60" fmla="*/ 604 w 764"/>
              <a:gd name="T61" fmla="*/ 195 h 555"/>
              <a:gd name="T62" fmla="*/ 594 w 764"/>
              <a:gd name="T63" fmla="*/ 213 h 555"/>
              <a:gd name="T64" fmla="*/ 574 w 764"/>
              <a:gd name="T65" fmla="*/ 237 h 555"/>
              <a:gd name="T66" fmla="*/ 565 w 764"/>
              <a:gd name="T67" fmla="*/ 255 h 555"/>
              <a:gd name="T68" fmla="*/ 542 w 764"/>
              <a:gd name="T69" fmla="*/ 269 h 555"/>
              <a:gd name="T70" fmla="*/ 519 w 764"/>
              <a:gd name="T71" fmla="*/ 310 h 555"/>
              <a:gd name="T72" fmla="*/ 508 w 764"/>
              <a:gd name="T73" fmla="*/ 363 h 555"/>
              <a:gd name="T74" fmla="*/ 497 w 764"/>
              <a:gd name="T75" fmla="*/ 425 h 555"/>
              <a:gd name="T76" fmla="*/ 477 w 764"/>
              <a:gd name="T77" fmla="*/ 412 h 555"/>
              <a:gd name="T78" fmla="*/ 460 w 764"/>
              <a:gd name="T79" fmla="*/ 407 h 555"/>
              <a:gd name="T80" fmla="*/ 439 w 764"/>
              <a:gd name="T81" fmla="*/ 418 h 555"/>
              <a:gd name="T82" fmla="*/ 411 w 764"/>
              <a:gd name="T83" fmla="*/ 440 h 555"/>
              <a:gd name="T84" fmla="*/ 393 w 764"/>
              <a:gd name="T85" fmla="*/ 444 h 555"/>
              <a:gd name="T86" fmla="*/ 375 w 764"/>
              <a:gd name="T87" fmla="*/ 463 h 555"/>
              <a:gd name="T88" fmla="*/ 365 w 764"/>
              <a:gd name="T89" fmla="*/ 511 h 555"/>
              <a:gd name="T90" fmla="*/ 350 w 764"/>
              <a:gd name="T91" fmla="*/ 525 h 555"/>
              <a:gd name="T92" fmla="*/ 270 w 764"/>
              <a:gd name="T93" fmla="*/ 546 h 555"/>
              <a:gd name="T94" fmla="*/ 194 w 764"/>
              <a:gd name="T95" fmla="*/ 554 h 555"/>
              <a:gd name="T96" fmla="*/ 113 w 764"/>
              <a:gd name="T97" fmla="*/ 542 h 555"/>
              <a:gd name="T98" fmla="*/ 95 w 764"/>
              <a:gd name="T99" fmla="*/ 518 h 555"/>
              <a:gd name="T100" fmla="*/ 115 w 764"/>
              <a:gd name="T101" fmla="*/ 488 h 555"/>
              <a:gd name="T102" fmla="*/ 125 w 764"/>
              <a:gd name="T103" fmla="*/ 462 h 555"/>
              <a:gd name="T104" fmla="*/ 123 w 764"/>
              <a:gd name="T105" fmla="*/ 442 h 555"/>
              <a:gd name="T106" fmla="*/ 111 w 764"/>
              <a:gd name="T107" fmla="*/ 433 h 555"/>
              <a:gd name="T108" fmla="*/ 69 w 764"/>
              <a:gd name="T109" fmla="*/ 431 h 555"/>
              <a:gd name="T110" fmla="*/ 52 w 764"/>
              <a:gd name="T111" fmla="*/ 421 h 555"/>
              <a:gd name="T112" fmla="*/ 34 w 764"/>
              <a:gd name="T113" fmla="*/ 384 h 555"/>
              <a:gd name="T114" fmla="*/ 19 w 764"/>
              <a:gd name="T115" fmla="*/ 309 h 555"/>
              <a:gd name="T116" fmla="*/ 10 w 764"/>
              <a:gd name="T117" fmla="*/ 291 h 555"/>
              <a:gd name="T118" fmla="*/ 0 w 764"/>
              <a:gd name="T119" fmla="*/ 280 h 555"/>
              <a:gd name="T120" fmla="*/ 2 w 764"/>
              <a:gd name="T121" fmla="*/ 268 h 555"/>
              <a:gd name="T122" fmla="*/ 22 w 764"/>
              <a:gd name="T123" fmla="*/ 248 h 555"/>
              <a:gd name="T124" fmla="*/ 34 w 764"/>
              <a:gd name="T125" fmla="*/ 221 h 5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5" name="Freeform 261">
            <a:extLst>
              <a:ext uri="{FF2B5EF4-FFF2-40B4-BE49-F238E27FC236}">
                <a16:creationId xmlns:a16="http://schemas.microsoft.com/office/drawing/2014/main" id="{2791F45A-C00B-44DB-A230-56A986C29EA6}"/>
              </a:ext>
            </a:extLst>
          </p:cNvPr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9179331" y="2823460"/>
            <a:ext cx="351397" cy="423863"/>
          </a:xfrm>
          <a:custGeom>
            <a:avLst/>
            <a:gdLst>
              <a:gd name="T0" fmla="*/ 779 w 831"/>
              <a:gd name="T1" fmla="*/ 82 h 812"/>
              <a:gd name="T2" fmla="*/ 707 w 831"/>
              <a:gd name="T3" fmla="*/ 29 h 812"/>
              <a:gd name="T4" fmla="*/ 562 w 831"/>
              <a:gd name="T5" fmla="*/ 10 h 812"/>
              <a:gd name="T6" fmla="*/ 499 w 831"/>
              <a:gd name="T7" fmla="*/ 29 h 812"/>
              <a:gd name="T8" fmla="*/ 486 w 831"/>
              <a:gd name="T9" fmla="*/ 49 h 812"/>
              <a:gd name="T10" fmla="*/ 497 w 831"/>
              <a:gd name="T11" fmla="*/ 71 h 812"/>
              <a:gd name="T12" fmla="*/ 517 w 831"/>
              <a:gd name="T13" fmla="*/ 90 h 812"/>
              <a:gd name="T14" fmla="*/ 516 w 831"/>
              <a:gd name="T15" fmla="*/ 111 h 812"/>
              <a:gd name="T16" fmla="*/ 491 w 831"/>
              <a:gd name="T17" fmla="*/ 140 h 812"/>
              <a:gd name="T18" fmla="*/ 480 w 831"/>
              <a:gd name="T19" fmla="*/ 162 h 812"/>
              <a:gd name="T20" fmla="*/ 450 w 831"/>
              <a:gd name="T21" fmla="*/ 184 h 812"/>
              <a:gd name="T22" fmla="*/ 427 w 831"/>
              <a:gd name="T23" fmla="*/ 243 h 812"/>
              <a:gd name="T24" fmla="*/ 420 w 831"/>
              <a:gd name="T25" fmla="*/ 332 h 812"/>
              <a:gd name="T26" fmla="*/ 392 w 831"/>
              <a:gd name="T27" fmla="*/ 319 h 812"/>
              <a:gd name="T28" fmla="*/ 370 w 831"/>
              <a:gd name="T29" fmla="*/ 315 h 812"/>
              <a:gd name="T30" fmla="*/ 338 w 831"/>
              <a:gd name="T31" fmla="*/ 339 h 812"/>
              <a:gd name="T32" fmla="*/ 313 w 831"/>
              <a:gd name="T33" fmla="*/ 351 h 812"/>
              <a:gd name="T34" fmla="*/ 290 w 831"/>
              <a:gd name="T35" fmla="*/ 370 h 812"/>
              <a:gd name="T36" fmla="*/ 280 w 831"/>
              <a:gd name="T37" fmla="*/ 424 h 812"/>
              <a:gd name="T38" fmla="*/ 235 w 831"/>
              <a:gd name="T39" fmla="*/ 442 h 812"/>
              <a:gd name="T40" fmla="*/ 127 w 831"/>
              <a:gd name="T41" fmla="*/ 462 h 812"/>
              <a:gd name="T42" fmla="*/ 26 w 831"/>
              <a:gd name="T43" fmla="*/ 449 h 812"/>
              <a:gd name="T44" fmla="*/ 51 w 831"/>
              <a:gd name="T45" fmla="*/ 505 h 812"/>
              <a:gd name="T46" fmla="*/ 96 w 831"/>
              <a:gd name="T47" fmla="*/ 540 h 812"/>
              <a:gd name="T48" fmla="*/ 123 w 831"/>
              <a:gd name="T49" fmla="*/ 577 h 812"/>
              <a:gd name="T50" fmla="*/ 142 w 831"/>
              <a:gd name="T51" fmla="*/ 596 h 812"/>
              <a:gd name="T52" fmla="*/ 99 w 831"/>
              <a:gd name="T53" fmla="*/ 647 h 812"/>
              <a:gd name="T54" fmla="*/ 87 w 831"/>
              <a:gd name="T55" fmla="*/ 671 h 812"/>
              <a:gd name="T56" fmla="*/ 109 w 831"/>
              <a:gd name="T57" fmla="*/ 720 h 812"/>
              <a:gd name="T58" fmla="*/ 222 w 831"/>
              <a:gd name="T59" fmla="*/ 710 h 812"/>
              <a:gd name="T60" fmla="*/ 302 w 831"/>
              <a:gd name="T61" fmla="*/ 705 h 812"/>
              <a:gd name="T62" fmla="*/ 330 w 831"/>
              <a:gd name="T63" fmla="*/ 721 h 812"/>
              <a:gd name="T64" fmla="*/ 359 w 831"/>
              <a:gd name="T65" fmla="*/ 756 h 812"/>
              <a:gd name="T66" fmla="*/ 408 w 831"/>
              <a:gd name="T67" fmla="*/ 785 h 812"/>
              <a:gd name="T68" fmla="*/ 449 w 831"/>
              <a:gd name="T69" fmla="*/ 803 h 812"/>
              <a:gd name="T70" fmla="*/ 460 w 831"/>
              <a:gd name="T71" fmla="*/ 791 h 812"/>
              <a:gd name="T72" fmla="*/ 487 w 831"/>
              <a:gd name="T73" fmla="*/ 774 h 812"/>
              <a:gd name="T74" fmla="*/ 554 w 831"/>
              <a:gd name="T75" fmla="*/ 764 h 812"/>
              <a:gd name="T76" fmla="*/ 597 w 831"/>
              <a:gd name="T77" fmla="*/ 750 h 812"/>
              <a:gd name="T78" fmla="*/ 618 w 831"/>
              <a:gd name="T79" fmla="*/ 727 h 812"/>
              <a:gd name="T80" fmla="*/ 584 w 831"/>
              <a:gd name="T81" fmla="*/ 700 h 812"/>
              <a:gd name="T82" fmla="*/ 542 w 831"/>
              <a:gd name="T83" fmla="*/ 641 h 812"/>
              <a:gd name="T84" fmla="*/ 526 w 831"/>
              <a:gd name="T85" fmla="*/ 624 h 812"/>
              <a:gd name="T86" fmla="*/ 526 w 831"/>
              <a:gd name="T87" fmla="*/ 578 h 812"/>
              <a:gd name="T88" fmla="*/ 582 w 831"/>
              <a:gd name="T89" fmla="*/ 563 h 812"/>
              <a:gd name="T90" fmla="*/ 622 w 831"/>
              <a:gd name="T91" fmla="*/ 531 h 812"/>
              <a:gd name="T92" fmla="*/ 688 w 831"/>
              <a:gd name="T93" fmla="*/ 417 h 812"/>
              <a:gd name="T94" fmla="*/ 730 w 831"/>
              <a:gd name="T95" fmla="*/ 368 h 812"/>
              <a:gd name="T96" fmla="*/ 725 w 831"/>
              <a:gd name="T97" fmla="*/ 330 h 812"/>
              <a:gd name="T98" fmla="*/ 729 w 831"/>
              <a:gd name="T99" fmla="*/ 305 h 812"/>
              <a:gd name="T100" fmla="*/ 751 w 831"/>
              <a:gd name="T101" fmla="*/ 289 h 812"/>
              <a:gd name="T102" fmla="*/ 670 w 831"/>
              <a:gd name="T103" fmla="*/ 207 h 812"/>
              <a:gd name="T104" fmla="*/ 758 w 831"/>
              <a:gd name="T105" fmla="*/ 140 h 812"/>
              <a:gd name="T106" fmla="*/ 805 w 831"/>
              <a:gd name="T107" fmla="*/ 123 h 8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6" name="Freeform 262">
            <a:extLst>
              <a:ext uri="{FF2B5EF4-FFF2-40B4-BE49-F238E27FC236}">
                <a16:creationId xmlns:a16="http://schemas.microsoft.com/office/drawing/2014/main" id="{D978F87F-096B-4C61-A766-166D4C7A099C}"/>
              </a:ext>
            </a:extLst>
          </p:cNvPr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9940182" y="3091748"/>
            <a:ext cx="212366" cy="585787"/>
          </a:xfrm>
          <a:custGeom>
            <a:avLst/>
            <a:gdLst>
              <a:gd name="T0" fmla="*/ 438 w 505"/>
              <a:gd name="T1" fmla="*/ 1067 h 1121"/>
              <a:gd name="T2" fmla="*/ 443 w 505"/>
              <a:gd name="T3" fmla="*/ 1028 h 1121"/>
              <a:gd name="T4" fmla="*/ 399 w 505"/>
              <a:gd name="T5" fmla="*/ 1022 h 1121"/>
              <a:gd name="T6" fmla="*/ 405 w 505"/>
              <a:gd name="T7" fmla="*/ 957 h 1121"/>
              <a:gd name="T8" fmla="*/ 419 w 505"/>
              <a:gd name="T9" fmla="*/ 931 h 1121"/>
              <a:gd name="T10" fmla="*/ 413 w 505"/>
              <a:gd name="T11" fmla="*/ 899 h 1121"/>
              <a:gd name="T12" fmla="*/ 398 w 505"/>
              <a:gd name="T13" fmla="*/ 893 h 1121"/>
              <a:gd name="T14" fmla="*/ 382 w 505"/>
              <a:gd name="T15" fmla="*/ 838 h 1121"/>
              <a:gd name="T16" fmla="*/ 324 w 505"/>
              <a:gd name="T17" fmla="*/ 719 h 1121"/>
              <a:gd name="T18" fmla="*/ 296 w 505"/>
              <a:gd name="T19" fmla="*/ 703 h 1121"/>
              <a:gd name="T20" fmla="*/ 282 w 505"/>
              <a:gd name="T21" fmla="*/ 718 h 1121"/>
              <a:gd name="T22" fmla="*/ 226 w 505"/>
              <a:gd name="T23" fmla="*/ 742 h 1121"/>
              <a:gd name="T24" fmla="*/ 169 w 505"/>
              <a:gd name="T25" fmla="*/ 736 h 1121"/>
              <a:gd name="T26" fmla="*/ 133 w 505"/>
              <a:gd name="T27" fmla="*/ 567 h 1121"/>
              <a:gd name="T28" fmla="*/ 101 w 505"/>
              <a:gd name="T29" fmla="*/ 520 h 1121"/>
              <a:gd name="T30" fmla="*/ 51 w 505"/>
              <a:gd name="T31" fmla="*/ 502 h 1121"/>
              <a:gd name="T32" fmla="*/ 8 w 505"/>
              <a:gd name="T33" fmla="*/ 471 h 1121"/>
              <a:gd name="T34" fmla="*/ 23 w 505"/>
              <a:gd name="T35" fmla="*/ 445 h 1121"/>
              <a:gd name="T36" fmla="*/ 58 w 505"/>
              <a:gd name="T37" fmla="*/ 361 h 1121"/>
              <a:gd name="T38" fmla="*/ 67 w 505"/>
              <a:gd name="T39" fmla="*/ 277 h 1121"/>
              <a:gd name="T40" fmla="*/ 80 w 505"/>
              <a:gd name="T41" fmla="*/ 265 h 1121"/>
              <a:gd name="T42" fmla="*/ 113 w 505"/>
              <a:gd name="T43" fmla="*/ 258 h 1121"/>
              <a:gd name="T44" fmla="*/ 134 w 505"/>
              <a:gd name="T45" fmla="*/ 222 h 1121"/>
              <a:gd name="T46" fmla="*/ 140 w 505"/>
              <a:gd name="T47" fmla="*/ 117 h 1121"/>
              <a:gd name="T48" fmla="*/ 159 w 505"/>
              <a:gd name="T49" fmla="*/ 98 h 1121"/>
              <a:gd name="T50" fmla="*/ 213 w 505"/>
              <a:gd name="T51" fmla="*/ 74 h 1121"/>
              <a:gd name="T52" fmla="*/ 234 w 505"/>
              <a:gd name="T53" fmla="*/ 21 h 1121"/>
              <a:gd name="T54" fmla="*/ 277 w 505"/>
              <a:gd name="T55" fmla="*/ 31 h 1121"/>
              <a:gd name="T56" fmla="*/ 312 w 505"/>
              <a:gd name="T57" fmla="*/ 49 h 1121"/>
              <a:gd name="T58" fmla="*/ 337 w 505"/>
              <a:gd name="T59" fmla="*/ 122 h 1121"/>
              <a:gd name="T60" fmla="*/ 335 w 505"/>
              <a:gd name="T61" fmla="*/ 167 h 1121"/>
              <a:gd name="T62" fmla="*/ 300 w 505"/>
              <a:gd name="T63" fmla="*/ 216 h 1121"/>
              <a:gd name="T64" fmla="*/ 293 w 505"/>
              <a:gd name="T65" fmla="*/ 245 h 1121"/>
              <a:gd name="T66" fmla="*/ 309 w 505"/>
              <a:gd name="T67" fmla="*/ 261 h 1121"/>
              <a:gd name="T68" fmla="*/ 346 w 505"/>
              <a:gd name="T69" fmla="*/ 270 h 1121"/>
              <a:gd name="T70" fmla="*/ 371 w 505"/>
              <a:gd name="T71" fmla="*/ 291 h 1121"/>
              <a:gd name="T72" fmla="*/ 398 w 505"/>
              <a:gd name="T73" fmla="*/ 345 h 1121"/>
              <a:gd name="T74" fmla="*/ 430 w 505"/>
              <a:gd name="T75" fmla="*/ 400 h 1121"/>
              <a:gd name="T76" fmla="*/ 464 w 505"/>
              <a:gd name="T77" fmla="*/ 418 h 1121"/>
              <a:gd name="T78" fmla="*/ 505 w 505"/>
              <a:gd name="T79" fmla="*/ 418 h 1121"/>
              <a:gd name="T80" fmla="*/ 476 w 505"/>
              <a:gd name="T81" fmla="*/ 494 h 1121"/>
              <a:gd name="T82" fmla="*/ 427 w 505"/>
              <a:gd name="T83" fmla="*/ 510 h 1121"/>
              <a:gd name="T84" fmla="*/ 383 w 505"/>
              <a:gd name="T85" fmla="*/ 528 h 1121"/>
              <a:gd name="T86" fmla="*/ 360 w 505"/>
              <a:gd name="T87" fmla="*/ 572 h 1121"/>
              <a:gd name="T88" fmla="*/ 370 w 505"/>
              <a:gd name="T89" fmla="*/ 637 h 1121"/>
              <a:gd name="T90" fmla="*/ 402 w 505"/>
              <a:gd name="T91" fmla="*/ 683 h 1121"/>
              <a:gd name="T92" fmla="*/ 430 w 505"/>
              <a:gd name="T93" fmla="*/ 735 h 1121"/>
              <a:gd name="T94" fmla="*/ 428 w 505"/>
              <a:gd name="T95" fmla="*/ 776 h 1121"/>
              <a:gd name="T96" fmla="*/ 419 w 505"/>
              <a:gd name="T97" fmla="*/ 801 h 1121"/>
              <a:gd name="T98" fmla="*/ 435 w 505"/>
              <a:gd name="T99" fmla="*/ 851 h 1121"/>
              <a:gd name="T100" fmla="*/ 483 w 505"/>
              <a:gd name="T101" fmla="*/ 965 h 1121"/>
              <a:gd name="T102" fmla="*/ 458 w 505"/>
              <a:gd name="T103" fmla="*/ 1082 h 1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US"/>
          </a:p>
        </p:txBody>
      </p:sp>
      <p:sp>
        <p:nvSpPr>
          <p:cNvPr id="257" name="Freeform 263">
            <a:extLst>
              <a:ext uri="{FF2B5EF4-FFF2-40B4-BE49-F238E27FC236}">
                <a16:creationId xmlns:a16="http://schemas.microsoft.com/office/drawing/2014/main" id="{632F170A-12DD-4F68-A308-E1668E071D0D}"/>
              </a:ext>
            </a:extLst>
          </p:cNvPr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7364291" y="3601334"/>
            <a:ext cx="77919" cy="58738"/>
          </a:xfrm>
          <a:custGeom>
            <a:avLst/>
            <a:gdLst>
              <a:gd name="T0" fmla="*/ 180 w 180"/>
              <a:gd name="T1" fmla="*/ 7 h 112"/>
              <a:gd name="T2" fmla="*/ 171 w 180"/>
              <a:gd name="T3" fmla="*/ 24 h 112"/>
              <a:gd name="T4" fmla="*/ 163 w 180"/>
              <a:gd name="T5" fmla="*/ 39 h 112"/>
              <a:gd name="T6" fmla="*/ 152 w 180"/>
              <a:gd name="T7" fmla="*/ 53 h 112"/>
              <a:gd name="T8" fmla="*/ 141 w 180"/>
              <a:gd name="T9" fmla="*/ 66 h 112"/>
              <a:gd name="T10" fmla="*/ 129 w 180"/>
              <a:gd name="T11" fmla="*/ 80 h 112"/>
              <a:gd name="T12" fmla="*/ 115 w 180"/>
              <a:gd name="T13" fmla="*/ 92 h 112"/>
              <a:gd name="T14" fmla="*/ 101 w 180"/>
              <a:gd name="T15" fmla="*/ 102 h 112"/>
              <a:gd name="T16" fmla="*/ 87 w 180"/>
              <a:gd name="T17" fmla="*/ 112 h 112"/>
              <a:gd name="T18" fmla="*/ 82 w 180"/>
              <a:gd name="T19" fmla="*/ 107 h 112"/>
              <a:gd name="T20" fmla="*/ 79 w 180"/>
              <a:gd name="T21" fmla="*/ 101 h 112"/>
              <a:gd name="T22" fmla="*/ 76 w 180"/>
              <a:gd name="T23" fmla="*/ 95 h 112"/>
              <a:gd name="T24" fmla="*/ 74 w 180"/>
              <a:gd name="T25" fmla="*/ 88 h 112"/>
              <a:gd name="T26" fmla="*/ 70 w 180"/>
              <a:gd name="T27" fmla="*/ 81 h 112"/>
              <a:gd name="T28" fmla="*/ 68 w 180"/>
              <a:gd name="T29" fmla="*/ 74 h 112"/>
              <a:gd name="T30" fmla="*/ 65 w 180"/>
              <a:gd name="T31" fmla="*/ 69 h 112"/>
              <a:gd name="T32" fmla="*/ 60 w 180"/>
              <a:gd name="T33" fmla="*/ 63 h 112"/>
              <a:gd name="T34" fmla="*/ 45 w 180"/>
              <a:gd name="T35" fmla="*/ 48 h 112"/>
              <a:gd name="T36" fmla="*/ 36 w 180"/>
              <a:gd name="T37" fmla="*/ 38 h 112"/>
              <a:gd name="T38" fmla="*/ 30 w 180"/>
              <a:gd name="T39" fmla="*/ 33 h 112"/>
              <a:gd name="T40" fmla="*/ 25 w 180"/>
              <a:gd name="T41" fmla="*/ 31 h 112"/>
              <a:gd name="T42" fmla="*/ 18 w 180"/>
              <a:gd name="T43" fmla="*/ 30 h 112"/>
              <a:gd name="T44" fmla="*/ 0 w 180"/>
              <a:gd name="T45" fmla="*/ 26 h 112"/>
              <a:gd name="T46" fmla="*/ 26 w 180"/>
              <a:gd name="T47" fmla="*/ 14 h 112"/>
              <a:gd name="T48" fmla="*/ 41 w 180"/>
              <a:gd name="T49" fmla="*/ 9 h 112"/>
              <a:gd name="T50" fmla="*/ 56 w 180"/>
              <a:gd name="T51" fmla="*/ 5 h 112"/>
              <a:gd name="T52" fmla="*/ 74 w 180"/>
              <a:gd name="T53" fmla="*/ 3 h 112"/>
              <a:gd name="T54" fmla="*/ 93 w 180"/>
              <a:gd name="T55" fmla="*/ 1 h 112"/>
              <a:gd name="T56" fmla="*/ 114 w 180"/>
              <a:gd name="T57" fmla="*/ 0 h 112"/>
              <a:gd name="T58" fmla="*/ 135 w 180"/>
              <a:gd name="T59" fmla="*/ 1 h 112"/>
              <a:gd name="T60" fmla="*/ 157 w 180"/>
              <a:gd name="T61" fmla="*/ 3 h 112"/>
              <a:gd name="T62" fmla="*/ 180 w 180"/>
              <a:gd name="T63" fmla="*/ 7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8" name="Freeform 264">
            <a:extLst>
              <a:ext uri="{FF2B5EF4-FFF2-40B4-BE49-F238E27FC236}">
                <a16:creationId xmlns:a16="http://schemas.microsoft.com/office/drawing/2014/main" id="{D0416FDB-C079-468C-990F-D79A09156B27}"/>
              </a:ext>
            </a:extLst>
          </p:cNvPr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7445265" y="3683885"/>
            <a:ext cx="71807" cy="100013"/>
          </a:xfrm>
          <a:custGeom>
            <a:avLst/>
            <a:gdLst>
              <a:gd name="T0" fmla="*/ 0 w 173"/>
              <a:gd name="T1" fmla="*/ 68 h 192"/>
              <a:gd name="T2" fmla="*/ 27 w 173"/>
              <a:gd name="T3" fmla="*/ 42 h 192"/>
              <a:gd name="T4" fmla="*/ 51 w 173"/>
              <a:gd name="T5" fmla="*/ 21 h 192"/>
              <a:gd name="T6" fmla="*/ 56 w 173"/>
              <a:gd name="T7" fmla="*/ 16 h 192"/>
              <a:gd name="T8" fmla="*/ 63 w 173"/>
              <a:gd name="T9" fmla="*/ 12 h 192"/>
              <a:gd name="T10" fmla="*/ 70 w 173"/>
              <a:gd name="T11" fmla="*/ 8 h 192"/>
              <a:gd name="T12" fmla="*/ 76 w 173"/>
              <a:gd name="T13" fmla="*/ 6 h 192"/>
              <a:gd name="T14" fmla="*/ 83 w 173"/>
              <a:gd name="T15" fmla="*/ 3 h 192"/>
              <a:gd name="T16" fmla="*/ 90 w 173"/>
              <a:gd name="T17" fmla="*/ 2 h 192"/>
              <a:gd name="T18" fmla="*/ 98 w 173"/>
              <a:gd name="T19" fmla="*/ 1 h 192"/>
              <a:gd name="T20" fmla="*/ 107 w 173"/>
              <a:gd name="T21" fmla="*/ 0 h 192"/>
              <a:gd name="T22" fmla="*/ 116 w 173"/>
              <a:gd name="T23" fmla="*/ 1 h 192"/>
              <a:gd name="T24" fmla="*/ 124 w 173"/>
              <a:gd name="T25" fmla="*/ 2 h 192"/>
              <a:gd name="T26" fmla="*/ 132 w 173"/>
              <a:gd name="T27" fmla="*/ 5 h 192"/>
              <a:gd name="T28" fmla="*/ 139 w 173"/>
              <a:gd name="T29" fmla="*/ 8 h 192"/>
              <a:gd name="T30" fmla="*/ 145 w 173"/>
              <a:gd name="T31" fmla="*/ 13 h 192"/>
              <a:gd name="T32" fmla="*/ 151 w 173"/>
              <a:gd name="T33" fmla="*/ 19 h 192"/>
              <a:gd name="T34" fmla="*/ 155 w 173"/>
              <a:gd name="T35" fmla="*/ 24 h 192"/>
              <a:gd name="T36" fmla="*/ 160 w 173"/>
              <a:gd name="T37" fmla="*/ 30 h 192"/>
              <a:gd name="T38" fmla="*/ 163 w 173"/>
              <a:gd name="T39" fmla="*/ 37 h 192"/>
              <a:gd name="T40" fmla="*/ 166 w 173"/>
              <a:gd name="T41" fmla="*/ 43 h 192"/>
              <a:gd name="T42" fmla="*/ 168 w 173"/>
              <a:gd name="T43" fmla="*/ 50 h 192"/>
              <a:gd name="T44" fmla="*/ 169 w 173"/>
              <a:gd name="T45" fmla="*/ 57 h 192"/>
              <a:gd name="T46" fmla="*/ 172 w 173"/>
              <a:gd name="T47" fmla="*/ 72 h 192"/>
              <a:gd name="T48" fmla="*/ 173 w 173"/>
              <a:gd name="T49" fmla="*/ 87 h 192"/>
              <a:gd name="T50" fmla="*/ 157 w 173"/>
              <a:gd name="T51" fmla="*/ 114 h 192"/>
              <a:gd name="T52" fmla="*/ 146 w 173"/>
              <a:gd name="T53" fmla="*/ 137 h 192"/>
              <a:gd name="T54" fmla="*/ 139 w 173"/>
              <a:gd name="T55" fmla="*/ 148 h 192"/>
              <a:gd name="T56" fmla="*/ 130 w 173"/>
              <a:gd name="T57" fmla="*/ 160 h 192"/>
              <a:gd name="T58" fmla="*/ 117 w 173"/>
              <a:gd name="T59" fmla="*/ 174 h 192"/>
              <a:gd name="T60" fmla="*/ 99 w 173"/>
              <a:gd name="T61" fmla="*/ 192 h 192"/>
              <a:gd name="T62" fmla="*/ 86 w 173"/>
              <a:gd name="T63" fmla="*/ 183 h 192"/>
              <a:gd name="T64" fmla="*/ 74 w 173"/>
              <a:gd name="T65" fmla="*/ 176 h 192"/>
              <a:gd name="T66" fmla="*/ 63 w 173"/>
              <a:gd name="T67" fmla="*/ 169 h 192"/>
              <a:gd name="T68" fmla="*/ 54 w 173"/>
              <a:gd name="T69" fmla="*/ 163 h 192"/>
              <a:gd name="T70" fmla="*/ 46 w 173"/>
              <a:gd name="T71" fmla="*/ 156 h 192"/>
              <a:gd name="T72" fmla="*/ 40 w 173"/>
              <a:gd name="T73" fmla="*/ 150 h 192"/>
              <a:gd name="T74" fmla="*/ 34 w 173"/>
              <a:gd name="T75" fmla="*/ 144 h 192"/>
              <a:gd name="T76" fmla="*/ 30 w 173"/>
              <a:gd name="T77" fmla="*/ 137 h 192"/>
              <a:gd name="T78" fmla="*/ 22 w 173"/>
              <a:gd name="T79" fmla="*/ 123 h 192"/>
              <a:gd name="T80" fmla="*/ 16 w 173"/>
              <a:gd name="T81" fmla="*/ 107 h 192"/>
              <a:gd name="T82" fmla="*/ 9 w 173"/>
              <a:gd name="T83" fmla="*/ 90 h 192"/>
              <a:gd name="T84" fmla="*/ 0 w 173"/>
              <a:gd name="T85" fmla="*/ 68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59" name="Freeform 265">
            <a:extLst>
              <a:ext uri="{FF2B5EF4-FFF2-40B4-BE49-F238E27FC236}">
                <a16:creationId xmlns:a16="http://schemas.microsoft.com/office/drawing/2014/main" id="{52F93B74-1A69-4952-8F78-222852963B5E}"/>
              </a:ext>
            </a:extLst>
          </p:cNvPr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7486516" y="3734685"/>
            <a:ext cx="100836" cy="131763"/>
          </a:xfrm>
          <a:custGeom>
            <a:avLst/>
            <a:gdLst>
              <a:gd name="T0" fmla="*/ 74 w 233"/>
              <a:gd name="T1" fmla="*/ 0 h 252"/>
              <a:gd name="T2" fmla="*/ 83 w 233"/>
              <a:gd name="T3" fmla="*/ 2 h 252"/>
              <a:gd name="T4" fmla="*/ 89 w 233"/>
              <a:gd name="T5" fmla="*/ 3 h 252"/>
              <a:gd name="T6" fmla="*/ 95 w 233"/>
              <a:gd name="T7" fmla="*/ 3 h 252"/>
              <a:gd name="T8" fmla="*/ 99 w 233"/>
              <a:gd name="T9" fmla="*/ 2 h 252"/>
              <a:gd name="T10" fmla="*/ 106 w 233"/>
              <a:gd name="T11" fmla="*/ 1 h 252"/>
              <a:gd name="T12" fmla="*/ 113 w 233"/>
              <a:gd name="T13" fmla="*/ 0 h 252"/>
              <a:gd name="T14" fmla="*/ 125 w 233"/>
              <a:gd name="T15" fmla="*/ 17 h 252"/>
              <a:gd name="T16" fmla="*/ 140 w 233"/>
              <a:gd name="T17" fmla="*/ 37 h 252"/>
              <a:gd name="T18" fmla="*/ 144 w 233"/>
              <a:gd name="T19" fmla="*/ 42 h 252"/>
              <a:gd name="T20" fmla="*/ 148 w 233"/>
              <a:gd name="T21" fmla="*/ 46 h 252"/>
              <a:gd name="T22" fmla="*/ 153 w 233"/>
              <a:gd name="T23" fmla="*/ 49 h 252"/>
              <a:gd name="T24" fmla="*/ 157 w 233"/>
              <a:gd name="T25" fmla="*/ 52 h 252"/>
              <a:gd name="T26" fmla="*/ 163 w 233"/>
              <a:gd name="T27" fmla="*/ 54 h 252"/>
              <a:gd name="T28" fmla="*/ 168 w 233"/>
              <a:gd name="T29" fmla="*/ 56 h 252"/>
              <a:gd name="T30" fmla="*/ 174 w 233"/>
              <a:gd name="T31" fmla="*/ 56 h 252"/>
              <a:gd name="T32" fmla="*/ 180 w 233"/>
              <a:gd name="T33" fmla="*/ 56 h 252"/>
              <a:gd name="T34" fmla="*/ 180 w 233"/>
              <a:gd name="T35" fmla="*/ 80 h 252"/>
              <a:gd name="T36" fmla="*/ 193 w 233"/>
              <a:gd name="T37" fmla="*/ 103 h 252"/>
              <a:gd name="T38" fmla="*/ 212 w 233"/>
              <a:gd name="T39" fmla="*/ 128 h 252"/>
              <a:gd name="T40" fmla="*/ 215 w 233"/>
              <a:gd name="T41" fmla="*/ 135 h 252"/>
              <a:gd name="T42" fmla="*/ 220 w 233"/>
              <a:gd name="T43" fmla="*/ 142 h 252"/>
              <a:gd name="T44" fmla="*/ 223 w 233"/>
              <a:gd name="T45" fmla="*/ 151 h 252"/>
              <a:gd name="T46" fmla="*/ 226 w 233"/>
              <a:gd name="T47" fmla="*/ 160 h 252"/>
              <a:gd name="T48" fmla="*/ 230 w 233"/>
              <a:gd name="T49" fmla="*/ 170 h 252"/>
              <a:gd name="T50" fmla="*/ 232 w 233"/>
              <a:gd name="T51" fmla="*/ 180 h 252"/>
              <a:gd name="T52" fmla="*/ 233 w 233"/>
              <a:gd name="T53" fmla="*/ 191 h 252"/>
              <a:gd name="T54" fmla="*/ 233 w 233"/>
              <a:gd name="T55" fmla="*/ 204 h 252"/>
              <a:gd name="T56" fmla="*/ 232 w 233"/>
              <a:gd name="T57" fmla="*/ 216 h 252"/>
              <a:gd name="T58" fmla="*/ 230 w 233"/>
              <a:gd name="T59" fmla="*/ 228 h 252"/>
              <a:gd name="T60" fmla="*/ 227 w 233"/>
              <a:gd name="T61" fmla="*/ 240 h 252"/>
              <a:gd name="T62" fmla="*/ 226 w 233"/>
              <a:gd name="T63" fmla="*/ 252 h 252"/>
              <a:gd name="T64" fmla="*/ 222 w 233"/>
              <a:gd name="T65" fmla="*/ 252 h 252"/>
              <a:gd name="T66" fmla="*/ 215 w 233"/>
              <a:gd name="T67" fmla="*/ 250 h 252"/>
              <a:gd name="T68" fmla="*/ 208 w 233"/>
              <a:gd name="T69" fmla="*/ 246 h 252"/>
              <a:gd name="T70" fmla="*/ 198 w 233"/>
              <a:gd name="T71" fmla="*/ 241 h 252"/>
              <a:gd name="T72" fmla="*/ 176 w 233"/>
              <a:gd name="T73" fmla="*/ 226 h 252"/>
              <a:gd name="T74" fmla="*/ 151 w 233"/>
              <a:gd name="T75" fmla="*/ 208 h 252"/>
              <a:gd name="T76" fmla="*/ 125 w 233"/>
              <a:gd name="T77" fmla="*/ 186 h 252"/>
              <a:gd name="T78" fmla="*/ 100 w 233"/>
              <a:gd name="T79" fmla="*/ 165 h 252"/>
              <a:gd name="T80" fmla="*/ 78 w 233"/>
              <a:gd name="T81" fmla="*/ 145 h 252"/>
              <a:gd name="T82" fmla="*/ 61 w 233"/>
              <a:gd name="T83" fmla="*/ 129 h 252"/>
              <a:gd name="T84" fmla="*/ 55 w 233"/>
              <a:gd name="T85" fmla="*/ 125 h 252"/>
              <a:gd name="T86" fmla="*/ 48 w 233"/>
              <a:gd name="T87" fmla="*/ 120 h 252"/>
              <a:gd name="T88" fmla="*/ 41 w 233"/>
              <a:gd name="T89" fmla="*/ 116 h 252"/>
              <a:gd name="T90" fmla="*/ 33 w 233"/>
              <a:gd name="T91" fmla="*/ 112 h 252"/>
              <a:gd name="T92" fmla="*/ 17 w 233"/>
              <a:gd name="T93" fmla="*/ 104 h 252"/>
              <a:gd name="T94" fmla="*/ 0 w 233"/>
              <a:gd name="T95" fmla="*/ 99 h 252"/>
              <a:gd name="T96" fmla="*/ 40 w 233"/>
              <a:gd name="T97" fmla="*/ 63 h 252"/>
              <a:gd name="T98" fmla="*/ 59 w 233"/>
              <a:gd name="T99" fmla="*/ 43 h 252"/>
              <a:gd name="T100" fmla="*/ 65 w 233"/>
              <a:gd name="T101" fmla="*/ 33 h 252"/>
              <a:gd name="T102" fmla="*/ 69 w 233"/>
              <a:gd name="T103" fmla="*/ 25 h 252"/>
              <a:gd name="T104" fmla="*/ 72 w 233"/>
              <a:gd name="T105" fmla="*/ 14 h 252"/>
              <a:gd name="T106" fmla="*/ 74 w 233"/>
              <a:gd name="T107" fmla="*/ 0 h 2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60" name="Freeform 266">
            <a:extLst>
              <a:ext uri="{FF2B5EF4-FFF2-40B4-BE49-F238E27FC236}">
                <a16:creationId xmlns:a16="http://schemas.microsoft.com/office/drawing/2014/main" id="{E589E66A-34E0-4113-97C9-4B88BBBA6F4C}"/>
              </a:ext>
            </a:extLst>
          </p:cNvPr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7692771" y="3653722"/>
            <a:ext cx="100836" cy="201612"/>
          </a:xfrm>
          <a:custGeom>
            <a:avLst/>
            <a:gdLst>
              <a:gd name="T0" fmla="*/ 13 w 246"/>
              <a:gd name="T1" fmla="*/ 376 h 380"/>
              <a:gd name="T2" fmla="*/ 14 w 246"/>
              <a:gd name="T3" fmla="*/ 367 h 380"/>
              <a:gd name="T4" fmla="*/ 15 w 246"/>
              <a:gd name="T5" fmla="*/ 359 h 380"/>
              <a:gd name="T6" fmla="*/ 18 w 246"/>
              <a:gd name="T7" fmla="*/ 351 h 380"/>
              <a:gd name="T8" fmla="*/ 20 w 246"/>
              <a:gd name="T9" fmla="*/ 344 h 380"/>
              <a:gd name="T10" fmla="*/ 25 w 246"/>
              <a:gd name="T11" fmla="*/ 333 h 380"/>
              <a:gd name="T12" fmla="*/ 26 w 246"/>
              <a:gd name="T13" fmla="*/ 327 h 380"/>
              <a:gd name="T14" fmla="*/ 25 w 246"/>
              <a:gd name="T15" fmla="*/ 321 h 380"/>
              <a:gd name="T16" fmla="*/ 23 w 246"/>
              <a:gd name="T17" fmla="*/ 314 h 380"/>
              <a:gd name="T18" fmla="*/ 19 w 246"/>
              <a:gd name="T19" fmla="*/ 305 h 380"/>
              <a:gd name="T20" fmla="*/ 13 w 246"/>
              <a:gd name="T21" fmla="*/ 295 h 380"/>
              <a:gd name="T22" fmla="*/ 9 w 246"/>
              <a:gd name="T23" fmla="*/ 285 h 380"/>
              <a:gd name="T24" fmla="*/ 4 w 246"/>
              <a:gd name="T25" fmla="*/ 275 h 380"/>
              <a:gd name="T26" fmla="*/ 1 w 246"/>
              <a:gd name="T27" fmla="*/ 267 h 380"/>
              <a:gd name="T28" fmla="*/ 0 w 246"/>
              <a:gd name="T29" fmla="*/ 259 h 380"/>
              <a:gd name="T30" fmla="*/ 1 w 246"/>
              <a:gd name="T31" fmla="*/ 251 h 380"/>
              <a:gd name="T32" fmla="*/ 2 w 246"/>
              <a:gd name="T33" fmla="*/ 243 h 380"/>
              <a:gd name="T34" fmla="*/ 3 w 246"/>
              <a:gd name="T35" fmla="*/ 236 h 380"/>
              <a:gd name="T36" fmla="*/ 6 w 246"/>
              <a:gd name="T37" fmla="*/ 230 h 380"/>
              <a:gd name="T38" fmla="*/ 11 w 246"/>
              <a:gd name="T39" fmla="*/ 218 h 380"/>
              <a:gd name="T40" fmla="*/ 19 w 246"/>
              <a:gd name="T41" fmla="*/ 207 h 380"/>
              <a:gd name="T42" fmla="*/ 26 w 246"/>
              <a:gd name="T43" fmla="*/ 197 h 380"/>
              <a:gd name="T44" fmla="*/ 34 w 246"/>
              <a:gd name="T45" fmla="*/ 185 h 380"/>
              <a:gd name="T46" fmla="*/ 41 w 246"/>
              <a:gd name="T47" fmla="*/ 173 h 380"/>
              <a:gd name="T48" fmla="*/ 47 w 246"/>
              <a:gd name="T49" fmla="*/ 160 h 380"/>
              <a:gd name="T50" fmla="*/ 26 w 246"/>
              <a:gd name="T51" fmla="*/ 73 h 380"/>
              <a:gd name="T52" fmla="*/ 26 w 246"/>
              <a:gd name="T53" fmla="*/ 50 h 380"/>
              <a:gd name="T54" fmla="*/ 24 w 246"/>
              <a:gd name="T55" fmla="*/ 33 h 380"/>
              <a:gd name="T56" fmla="*/ 24 w 246"/>
              <a:gd name="T57" fmla="*/ 25 h 380"/>
              <a:gd name="T58" fmla="*/ 24 w 246"/>
              <a:gd name="T59" fmla="*/ 16 h 380"/>
              <a:gd name="T60" fmla="*/ 25 w 246"/>
              <a:gd name="T61" fmla="*/ 8 h 380"/>
              <a:gd name="T62" fmla="*/ 26 w 246"/>
              <a:gd name="T63" fmla="*/ 0 h 380"/>
              <a:gd name="T64" fmla="*/ 180 w 246"/>
              <a:gd name="T65" fmla="*/ 0 h 380"/>
              <a:gd name="T66" fmla="*/ 220 w 246"/>
              <a:gd name="T67" fmla="*/ 129 h 380"/>
              <a:gd name="T68" fmla="*/ 220 w 246"/>
              <a:gd name="T69" fmla="*/ 210 h 380"/>
              <a:gd name="T70" fmla="*/ 220 w 246"/>
              <a:gd name="T71" fmla="*/ 220 h 380"/>
              <a:gd name="T72" fmla="*/ 221 w 246"/>
              <a:gd name="T73" fmla="*/ 230 h 380"/>
              <a:gd name="T74" fmla="*/ 223 w 246"/>
              <a:gd name="T75" fmla="*/ 240 h 380"/>
              <a:gd name="T76" fmla="*/ 225 w 246"/>
              <a:gd name="T77" fmla="*/ 250 h 380"/>
              <a:gd name="T78" fmla="*/ 228 w 246"/>
              <a:gd name="T79" fmla="*/ 259 h 380"/>
              <a:gd name="T80" fmla="*/ 234 w 246"/>
              <a:gd name="T81" fmla="*/ 268 h 380"/>
              <a:gd name="T82" fmla="*/ 239 w 246"/>
              <a:gd name="T83" fmla="*/ 278 h 380"/>
              <a:gd name="T84" fmla="*/ 246 w 246"/>
              <a:gd name="T85" fmla="*/ 289 h 380"/>
              <a:gd name="T86" fmla="*/ 224 w 246"/>
              <a:gd name="T87" fmla="*/ 295 h 380"/>
              <a:gd name="T88" fmla="*/ 202 w 246"/>
              <a:gd name="T89" fmla="*/ 302 h 380"/>
              <a:gd name="T90" fmla="*/ 181 w 246"/>
              <a:gd name="T91" fmla="*/ 310 h 380"/>
              <a:gd name="T92" fmla="*/ 160 w 246"/>
              <a:gd name="T93" fmla="*/ 319 h 380"/>
              <a:gd name="T94" fmla="*/ 141 w 246"/>
              <a:gd name="T95" fmla="*/ 328 h 380"/>
              <a:gd name="T96" fmla="*/ 120 w 246"/>
              <a:gd name="T97" fmla="*/ 338 h 380"/>
              <a:gd name="T98" fmla="*/ 100 w 246"/>
              <a:gd name="T99" fmla="*/ 347 h 380"/>
              <a:gd name="T100" fmla="*/ 80 w 246"/>
              <a:gd name="T101" fmla="*/ 358 h 380"/>
              <a:gd name="T102" fmla="*/ 75 w 246"/>
              <a:gd name="T103" fmla="*/ 363 h 380"/>
              <a:gd name="T104" fmla="*/ 69 w 246"/>
              <a:gd name="T105" fmla="*/ 367 h 380"/>
              <a:gd name="T106" fmla="*/ 62 w 246"/>
              <a:gd name="T107" fmla="*/ 372 h 380"/>
              <a:gd name="T108" fmla="*/ 54 w 246"/>
              <a:gd name="T109" fmla="*/ 376 h 380"/>
              <a:gd name="T110" fmla="*/ 46 w 246"/>
              <a:gd name="T111" fmla="*/ 379 h 380"/>
              <a:gd name="T112" fmla="*/ 36 w 246"/>
              <a:gd name="T113" fmla="*/ 380 h 380"/>
              <a:gd name="T114" fmla="*/ 31 w 246"/>
              <a:gd name="T115" fmla="*/ 380 h 380"/>
              <a:gd name="T116" fmla="*/ 25 w 246"/>
              <a:gd name="T117" fmla="*/ 379 h 380"/>
              <a:gd name="T118" fmla="*/ 20 w 246"/>
              <a:gd name="T119" fmla="*/ 378 h 380"/>
              <a:gd name="T120" fmla="*/ 13 w 246"/>
              <a:gd name="T121" fmla="*/ 376 h 3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61" name="Freeform 267">
            <a:extLst>
              <a:ext uri="{FF2B5EF4-FFF2-40B4-BE49-F238E27FC236}">
                <a16:creationId xmlns:a16="http://schemas.microsoft.com/office/drawing/2014/main" id="{EE47CD34-CE9A-480E-963A-E7E8765FF69F}"/>
              </a:ext>
            </a:extLst>
          </p:cNvPr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7358180" y="3569584"/>
            <a:ext cx="84030" cy="58738"/>
          </a:xfrm>
          <a:custGeom>
            <a:avLst/>
            <a:gdLst>
              <a:gd name="T0" fmla="*/ 7 w 193"/>
              <a:gd name="T1" fmla="*/ 20 h 38"/>
              <a:gd name="T2" fmla="*/ 38 w 193"/>
              <a:gd name="T3" fmla="*/ 11 h 38"/>
              <a:gd name="T4" fmla="*/ 67 w 193"/>
              <a:gd name="T5" fmla="*/ 5 h 38"/>
              <a:gd name="T6" fmla="*/ 80 w 193"/>
              <a:gd name="T7" fmla="*/ 3 h 38"/>
              <a:gd name="T8" fmla="*/ 94 w 193"/>
              <a:gd name="T9" fmla="*/ 2 h 38"/>
              <a:gd name="T10" fmla="*/ 110 w 193"/>
              <a:gd name="T11" fmla="*/ 1 h 38"/>
              <a:gd name="T12" fmla="*/ 126 w 193"/>
              <a:gd name="T13" fmla="*/ 0 h 38"/>
              <a:gd name="T14" fmla="*/ 138 w 193"/>
              <a:gd name="T15" fmla="*/ 1 h 38"/>
              <a:gd name="T16" fmla="*/ 149 w 193"/>
              <a:gd name="T17" fmla="*/ 1 h 38"/>
              <a:gd name="T18" fmla="*/ 160 w 193"/>
              <a:gd name="T19" fmla="*/ 2 h 38"/>
              <a:gd name="T20" fmla="*/ 169 w 193"/>
              <a:gd name="T21" fmla="*/ 4 h 38"/>
              <a:gd name="T22" fmla="*/ 178 w 193"/>
              <a:gd name="T23" fmla="*/ 6 h 38"/>
              <a:gd name="T24" fmla="*/ 184 w 193"/>
              <a:gd name="T25" fmla="*/ 11 h 38"/>
              <a:gd name="T26" fmla="*/ 187 w 193"/>
              <a:gd name="T27" fmla="*/ 13 h 38"/>
              <a:gd name="T28" fmla="*/ 189 w 193"/>
              <a:gd name="T29" fmla="*/ 18 h 38"/>
              <a:gd name="T30" fmla="*/ 191 w 193"/>
              <a:gd name="T31" fmla="*/ 21 h 38"/>
              <a:gd name="T32" fmla="*/ 193 w 193"/>
              <a:gd name="T33" fmla="*/ 26 h 38"/>
              <a:gd name="T34" fmla="*/ 183 w 193"/>
              <a:gd name="T35" fmla="*/ 27 h 38"/>
              <a:gd name="T36" fmla="*/ 173 w 193"/>
              <a:gd name="T37" fmla="*/ 28 h 38"/>
              <a:gd name="T38" fmla="*/ 165 w 193"/>
              <a:gd name="T39" fmla="*/ 28 h 38"/>
              <a:gd name="T40" fmla="*/ 156 w 193"/>
              <a:gd name="T41" fmla="*/ 28 h 38"/>
              <a:gd name="T42" fmla="*/ 138 w 193"/>
              <a:gd name="T43" fmla="*/ 27 h 38"/>
              <a:gd name="T44" fmla="*/ 120 w 193"/>
              <a:gd name="T45" fmla="*/ 26 h 38"/>
              <a:gd name="T46" fmla="*/ 103 w 193"/>
              <a:gd name="T47" fmla="*/ 26 h 38"/>
              <a:gd name="T48" fmla="*/ 89 w 193"/>
              <a:gd name="T49" fmla="*/ 28 h 38"/>
              <a:gd name="T50" fmla="*/ 76 w 193"/>
              <a:gd name="T51" fmla="*/ 30 h 38"/>
              <a:gd name="T52" fmla="*/ 63 w 193"/>
              <a:gd name="T53" fmla="*/ 32 h 38"/>
              <a:gd name="T54" fmla="*/ 49 w 193"/>
              <a:gd name="T55" fmla="*/ 34 h 38"/>
              <a:gd name="T56" fmla="*/ 35 w 193"/>
              <a:gd name="T57" fmla="*/ 36 h 38"/>
              <a:gd name="T58" fmla="*/ 19 w 193"/>
              <a:gd name="T59" fmla="*/ 37 h 38"/>
              <a:gd name="T60" fmla="*/ 0 w 193"/>
              <a:gd name="T61" fmla="*/ 38 h 38"/>
              <a:gd name="T62" fmla="*/ 0 w 193"/>
              <a:gd name="T63" fmla="*/ 33 h 38"/>
              <a:gd name="T64" fmla="*/ 1 w 193"/>
              <a:gd name="T65" fmla="*/ 29 h 38"/>
              <a:gd name="T66" fmla="*/ 3 w 193"/>
              <a:gd name="T67" fmla="*/ 24 h 38"/>
              <a:gd name="T68" fmla="*/ 7 w 193"/>
              <a:gd name="T69" fmla="*/ 2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62" name="Freeform 268">
            <a:extLst>
              <a:ext uri="{FF2B5EF4-FFF2-40B4-BE49-F238E27FC236}">
                <a16:creationId xmlns:a16="http://schemas.microsoft.com/office/drawing/2014/main" id="{78049391-9298-4ADB-B9FB-8BFFCA054D77}"/>
              </a:ext>
            </a:extLst>
          </p:cNvPr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7767634" y="3647373"/>
            <a:ext cx="41251" cy="155575"/>
          </a:xfrm>
          <a:custGeom>
            <a:avLst/>
            <a:gdLst>
              <a:gd name="T0" fmla="*/ 53 w 99"/>
              <a:gd name="T1" fmla="*/ 12 h 301"/>
              <a:gd name="T2" fmla="*/ 59 w 99"/>
              <a:gd name="T3" fmla="*/ 12 h 301"/>
              <a:gd name="T4" fmla="*/ 59 w 99"/>
              <a:gd name="T5" fmla="*/ 19 h 301"/>
              <a:gd name="T6" fmla="*/ 62 w 99"/>
              <a:gd name="T7" fmla="*/ 26 h 301"/>
              <a:gd name="T8" fmla="*/ 63 w 99"/>
              <a:gd name="T9" fmla="*/ 33 h 301"/>
              <a:gd name="T10" fmla="*/ 66 w 99"/>
              <a:gd name="T11" fmla="*/ 42 h 301"/>
              <a:gd name="T12" fmla="*/ 72 w 99"/>
              <a:gd name="T13" fmla="*/ 58 h 301"/>
              <a:gd name="T14" fmla="*/ 79 w 99"/>
              <a:gd name="T15" fmla="*/ 75 h 301"/>
              <a:gd name="T16" fmla="*/ 87 w 99"/>
              <a:gd name="T17" fmla="*/ 93 h 301"/>
              <a:gd name="T18" fmla="*/ 93 w 99"/>
              <a:gd name="T19" fmla="*/ 111 h 301"/>
              <a:gd name="T20" fmla="*/ 96 w 99"/>
              <a:gd name="T21" fmla="*/ 120 h 301"/>
              <a:gd name="T22" fmla="*/ 98 w 99"/>
              <a:gd name="T23" fmla="*/ 129 h 301"/>
              <a:gd name="T24" fmla="*/ 99 w 99"/>
              <a:gd name="T25" fmla="*/ 138 h 301"/>
              <a:gd name="T26" fmla="*/ 99 w 99"/>
              <a:gd name="T27" fmla="*/ 148 h 301"/>
              <a:gd name="T28" fmla="*/ 99 w 99"/>
              <a:gd name="T29" fmla="*/ 289 h 301"/>
              <a:gd name="T30" fmla="*/ 89 w 99"/>
              <a:gd name="T31" fmla="*/ 290 h 301"/>
              <a:gd name="T32" fmla="*/ 80 w 99"/>
              <a:gd name="T33" fmla="*/ 293 h 301"/>
              <a:gd name="T34" fmla="*/ 73 w 99"/>
              <a:gd name="T35" fmla="*/ 297 h 301"/>
              <a:gd name="T36" fmla="*/ 66 w 99"/>
              <a:gd name="T37" fmla="*/ 301 h 301"/>
              <a:gd name="T38" fmla="*/ 59 w 99"/>
              <a:gd name="T39" fmla="*/ 290 h 301"/>
              <a:gd name="T40" fmla="*/ 54 w 99"/>
              <a:gd name="T41" fmla="*/ 280 h 301"/>
              <a:gd name="T42" fmla="*/ 48 w 99"/>
              <a:gd name="T43" fmla="*/ 271 h 301"/>
              <a:gd name="T44" fmla="*/ 45 w 99"/>
              <a:gd name="T45" fmla="*/ 262 h 301"/>
              <a:gd name="T46" fmla="*/ 43 w 99"/>
              <a:gd name="T47" fmla="*/ 252 h 301"/>
              <a:gd name="T48" fmla="*/ 41 w 99"/>
              <a:gd name="T49" fmla="*/ 242 h 301"/>
              <a:gd name="T50" fmla="*/ 40 w 99"/>
              <a:gd name="T51" fmla="*/ 232 h 301"/>
              <a:gd name="T52" fmla="*/ 40 w 99"/>
              <a:gd name="T53" fmla="*/ 222 h 301"/>
              <a:gd name="T54" fmla="*/ 40 w 99"/>
              <a:gd name="T55" fmla="*/ 141 h 301"/>
              <a:gd name="T56" fmla="*/ 0 w 99"/>
              <a:gd name="T57" fmla="*/ 6 h 301"/>
              <a:gd name="T58" fmla="*/ 5 w 99"/>
              <a:gd name="T59" fmla="*/ 2 h 301"/>
              <a:gd name="T60" fmla="*/ 10 w 99"/>
              <a:gd name="T61" fmla="*/ 0 h 301"/>
              <a:gd name="T62" fmla="*/ 14 w 99"/>
              <a:gd name="T63" fmla="*/ 0 h 301"/>
              <a:gd name="T64" fmla="*/ 20 w 99"/>
              <a:gd name="T65" fmla="*/ 0 h 301"/>
              <a:gd name="T66" fmla="*/ 26 w 99"/>
              <a:gd name="T67" fmla="*/ 0 h 301"/>
              <a:gd name="T68" fmla="*/ 32 w 99"/>
              <a:gd name="T69" fmla="*/ 2 h 301"/>
              <a:gd name="T70" fmla="*/ 37 w 99"/>
              <a:gd name="T71" fmla="*/ 4 h 301"/>
              <a:gd name="T72" fmla="*/ 41 w 99"/>
              <a:gd name="T73" fmla="*/ 6 h 301"/>
              <a:gd name="T74" fmla="*/ 47 w 99"/>
              <a:gd name="T75" fmla="*/ 10 h 301"/>
              <a:gd name="T76" fmla="*/ 53 w 99"/>
              <a:gd name="T77" fmla="*/ 12 h 30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63" name="Freeform 269">
            <a:extLst>
              <a:ext uri="{FF2B5EF4-FFF2-40B4-BE49-F238E27FC236}">
                <a16:creationId xmlns:a16="http://schemas.microsoft.com/office/drawing/2014/main" id="{5D244A2A-F0FC-4BA9-9DC7-6765496717BE}"/>
              </a:ext>
            </a:extLst>
          </p:cNvPr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7792078" y="3609272"/>
            <a:ext cx="73335" cy="188912"/>
          </a:xfrm>
          <a:custGeom>
            <a:avLst/>
            <a:gdLst>
              <a:gd name="T0" fmla="*/ 0 w 173"/>
              <a:gd name="T1" fmla="*/ 80 h 357"/>
              <a:gd name="T2" fmla="*/ 9 w 173"/>
              <a:gd name="T3" fmla="*/ 72 h 357"/>
              <a:gd name="T4" fmla="*/ 17 w 173"/>
              <a:gd name="T5" fmla="*/ 65 h 357"/>
              <a:gd name="T6" fmla="*/ 25 w 173"/>
              <a:gd name="T7" fmla="*/ 60 h 357"/>
              <a:gd name="T8" fmla="*/ 33 w 173"/>
              <a:gd name="T9" fmla="*/ 56 h 357"/>
              <a:gd name="T10" fmla="*/ 40 w 173"/>
              <a:gd name="T11" fmla="*/ 50 h 357"/>
              <a:gd name="T12" fmla="*/ 67 w 173"/>
              <a:gd name="T13" fmla="*/ 50 h 357"/>
              <a:gd name="T14" fmla="*/ 94 w 173"/>
              <a:gd name="T15" fmla="*/ 0 h 357"/>
              <a:gd name="T16" fmla="*/ 101 w 173"/>
              <a:gd name="T17" fmla="*/ 3 h 357"/>
              <a:gd name="T18" fmla="*/ 108 w 173"/>
              <a:gd name="T19" fmla="*/ 7 h 357"/>
              <a:gd name="T20" fmla="*/ 116 w 173"/>
              <a:gd name="T21" fmla="*/ 12 h 357"/>
              <a:gd name="T22" fmla="*/ 123 w 173"/>
              <a:gd name="T23" fmla="*/ 18 h 357"/>
              <a:gd name="T24" fmla="*/ 131 w 173"/>
              <a:gd name="T25" fmla="*/ 22 h 357"/>
              <a:gd name="T26" fmla="*/ 139 w 173"/>
              <a:gd name="T27" fmla="*/ 27 h 357"/>
              <a:gd name="T28" fmla="*/ 145 w 173"/>
              <a:gd name="T29" fmla="*/ 29 h 357"/>
              <a:gd name="T30" fmla="*/ 153 w 173"/>
              <a:gd name="T31" fmla="*/ 30 h 357"/>
              <a:gd name="T32" fmla="*/ 163 w 173"/>
              <a:gd name="T33" fmla="*/ 39 h 357"/>
              <a:gd name="T34" fmla="*/ 173 w 173"/>
              <a:gd name="T35" fmla="*/ 50 h 357"/>
              <a:gd name="T36" fmla="*/ 173 w 173"/>
              <a:gd name="T37" fmla="*/ 61 h 357"/>
              <a:gd name="T38" fmla="*/ 173 w 173"/>
              <a:gd name="T39" fmla="*/ 69 h 357"/>
              <a:gd name="T40" fmla="*/ 173 w 173"/>
              <a:gd name="T41" fmla="*/ 80 h 357"/>
              <a:gd name="T42" fmla="*/ 173 w 173"/>
              <a:gd name="T43" fmla="*/ 98 h 357"/>
              <a:gd name="T44" fmla="*/ 173 w 173"/>
              <a:gd name="T45" fmla="*/ 109 h 357"/>
              <a:gd name="T46" fmla="*/ 171 w 173"/>
              <a:gd name="T47" fmla="*/ 118 h 357"/>
              <a:gd name="T48" fmla="*/ 167 w 173"/>
              <a:gd name="T49" fmla="*/ 127 h 357"/>
              <a:gd name="T50" fmla="*/ 163 w 173"/>
              <a:gd name="T51" fmla="*/ 135 h 357"/>
              <a:gd name="T52" fmla="*/ 152 w 173"/>
              <a:gd name="T53" fmla="*/ 151 h 357"/>
              <a:gd name="T54" fmla="*/ 140 w 173"/>
              <a:gd name="T55" fmla="*/ 167 h 357"/>
              <a:gd name="T56" fmla="*/ 128 w 173"/>
              <a:gd name="T57" fmla="*/ 183 h 357"/>
              <a:gd name="T58" fmla="*/ 117 w 173"/>
              <a:gd name="T59" fmla="*/ 200 h 357"/>
              <a:gd name="T60" fmla="*/ 112 w 173"/>
              <a:gd name="T61" fmla="*/ 209 h 357"/>
              <a:gd name="T62" fmla="*/ 109 w 173"/>
              <a:gd name="T63" fmla="*/ 219 h 357"/>
              <a:gd name="T64" fmla="*/ 108 w 173"/>
              <a:gd name="T65" fmla="*/ 229 h 357"/>
              <a:gd name="T66" fmla="*/ 107 w 173"/>
              <a:gd name="T67" fmla="*/ 240 h 357"/>
              <a:gd name="T68" fmla="*/ 108 w 173"/>
              <a:gd name="T69" fmla="*/ 273 h 357"/>
              <a:gd name="T70" fmla="*/ 109 w 173"/>
              <a:gd name="T71" fmla="*/ 293 h 357"/>
              <a:gd name="T72" fmla="*/ 110 w 173"/>
              <a:gd name="T73" fmla="*/ 302 h 357"/>
              <a:gd name="T74" fmla="*/ 109 w 173"/>
              <a:gd name="T75" fmla="*/ 313 h 357"/>
              <a:gd name="T76" fmla="*/ 109 w 173"/>
              <a:gd name="T77" fmla="*/ 327 h 357"/>
              <a:gd name="T78" fmla="*/ 107 w 173"/>
              <a:gd name="T79" fmla="*/ 345 h 357"/>
              <a:gd name="T80" fmla="*/ 97 w 173"/>
              <a:gd name="T81" fmla="*/ 346 h 357"/>
              <a:gd name="T82" fmla="*/ 88 w 173"/>
              <a:gd name="T83" fmla="*/ 347 h 357"/>
              <a:gd name="T84" fmla="*/ 79 w 173"/>
              <a:gd name="T85" fmla="*/ 349 h 357"/>
              <a:gd name="T86" fmla="*/ 71 w 173"/>
              <a:gd name="T87" fmla="*/ 351 h 357"/>
              <a:gd name="T88" fmla="*/ 63 w 173"/>
              <a:gd name="T89" fmla="*/ 353 h 357"/>
              <a:gd name="T90" fmla="*/ 55 w 173"/>
              <a:gd name="T91" fmla="*/ 355 h 357"/>
              <a:gd name="T92" fmla="*/ 48 w 173"/>
              <a:gd name="T93" fmla="*/ 357 h 357"/>
              <a:gd name="T94" fmla="*/ 40 w 173"/>
              <a:gd name="T95" fmla="*/ 357 h 357"/>
              <a:gd name="T96" fmla="*/ 40 w 173"/>
              <a:gd name="T97" fmla="*/ 216 h 357"/>
              <a:gd name="T98" fmla="*/ 40 w 173"/>
              <a:gd name="T99" fmla="*/ 206 h 357"/>
              <a:gd name="T100" fmla="*/ 39 w 173"/>
              <a:gd name="T101" fmla="*/ 197 h 357"/>
              <a:gd name="T102" fmla="*/ 37 w 173"/>
              <a:gd name="T103" fmla="*/ 188 h 357"/>
              <a:gd name="T104" fmla="*/ 34 w 173"/>
              <a:gd name="T105" fmla="*/ 179 h 357"/>
              <a:gd name="T106" fmla="*/ 28 w 173"/>
              <a:gd name="T107" fmla="*/ 161 h 357"/>
              <a:gd name="T108" fmla="*/ 20 w 173"/>
              <a:gd name="T109" fmla="*/ 143 h 357"/>
              <a:gd name="T110" fmla="*/ 13 w 173"/>
              <a:gd name="T111" fmla="*/ 126 h 357"/>
              <a:gd name="T112" fmla="*/ 7 w 173"/>
              <a:gd name="T113" fmla="*/ 110 h 357"/>
              <a:gd name="T114" fmla="*/ 4 w 173"/>
              <a:gd name="T115" fmla="*/ 101 h 357"/>
              <a:gd name="T116" fmla="*/ 3 w 173"/>
              <a:gd name="T117" fmla="*/ 94 h 357"/>
              <a:gd name="T118" fmla="*/ 0 w 173"/>
              <a:gd name="T119" fmla="*/ 87 h 357"/>
              <a:gd name="T120" fmla="*/ 0 w 173"/>
              <a:gd name="T121" fmla="*/ 80 h 35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64" name="Freeform 270">
            <a:extLst>
              <a:ext uri="{FF2B5EF4-FFF2-40B4-BE49-F238E27FC236}">
                <a16:creationId xmlns:a16="http://schemas.microsoft.com/office/drawing/2014/main" id="{1BB96C8B-F5AA-4AE3-B040-28C611409410}"/>
              </a:ext>
            </a:extLst>
          </p:cNvPr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8493344" y="4814185"/>
            <a:ext cx="24445" cy="60325"/>
          </a:xfrm>
          <a:custGeom>
            <a:avLst/>
            <a:gdLst>
              <a:gd name="T0" fmla="*/ 10 w 50"/>
              <a:gd name="T1" fmla="*/ 0 h 74"/>
              <a:gd name="T2" fmla="*/ 6 w 50"/>
              <a:gd name="T3" fmla="*/ 14 h 74"/>
              <a:gd name="T4" fmla="*/ 2 w 50"/>
              <a:gd name="T5" fmla="*/ 26 h 74"/>
              <a:gd name="T6" fmla="*/ 0 w 50"/>
              <a:gd name="T7" fmla="*/ 36 h 74"/>
              <a:gd name="T8" fmla="*/ 0 w 50"/>
              <a:gd name="T9" fmla="*/ 43 h 74"/>
              <a:gd name="T10" fmla="*/ 0 w 50"/>
              <a:gd name="T11" fmla="*/ 50 h 74"/>
              <a:gd name="T12" fmla="*/ 2 w 50"/>
              <a:gd name="T13" fmla="*/ 56 h 74"/>
              <a:gd name="T14" fmla="*/ 6 w 50"/>
              <a:gd name="T15" fmla="*/ 61 h 74"/>
              <a:gd name="T16" fmla="*/ 10 w 50"/>
              <a:gd name="T17" fmla="*/ 68 h 74"/>
              <a:gd name="T18" fmla="*/ 50 w 50"/>
              <a:gd name="T19" fmla="*/ 74 h 74"/>
              <a:gd name="T20" fmla="*/ 50 w 50"/>
              <a:gd name="T21" fmla="*/ 51 h 74"/>
              <a:gd name="T22" fmla="*/ 50 w 50"/>
              <a:gd name="T23" fmla="*/ 34 h 74"/>
              <a:gd name="T24" fmla="*/ 50 w 50"/>
              <a:gd name="T25" fmla="*/ 19 h 74"/>
              <a:gd name="T26" fmla="*/ 50 w 50"/>
              <a:gd name="T27" fmla="*/ 0 h 74"/>
              <a:gd name="T28" fmla="*/ 38 w 50"/>
              <a:gd name="T29" fmla="*/ 0 h 74"/>
              <a:gd name="T30" fmla="*/ 25 w 50"/>
              <a:gd name="T31" fmla="*/ 0 h 74"/>
              <a:gd name="T32" fmla="*/ 14 w 50"/>
              <a:gd name="T33" fmla="*/ 0 h 74"/>
              <a:gd name="T34" fmla="*/ 10 w 50"/>
              <a:gd name="T35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65" name="Freeform 271">
            <a:extLst>
              <a:ext uri="{FF2B5EF4-FFF2-40B4-BE49-F238E27FC236}">
                <a16:creationId xmlns:a16="http://schemas.microsoft.com/office/drawing/2014/main" id="{E9584815-E1F5-4653-889F-EB7033A3A4EA}"/>
              </a:ext>
            </a:extLst>
          </p:cNvPr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8392508" y="4911022"/>
            <a:ext cx="59584" cy="57150"/>
          </a:xfrm>
          <a:custGeom>
            <a:avLst/>
            <a:gdLst>
              <a:gd name="T0" fmla="*/ 3 w 135"/>
              <a:gd name="T1" fmla="*/ 55 h 98"/>
              <a:gd name="T2" fmla="*/ 11 w 135"/>
              <a:gd name="T3" fmla="*/ 54 h 98"/>
              <a:gd name="T4" fmla="*/ 18 w 135"/>
              <a:gd name="T5" fmla="*/ 53 h 98"/>
              <a:gd name="T6" fmla="*/ 24 w 135"/>
              <a:gd name="T7" fmla="*/ 50 h 98"/>
              <a:gd name="T8" fmla="*/ 31 w 135"/>
              <a:gd name="T9" fmla="*/ 47 h 98"/>
              <a:gd name="T10" fmla="*/ 42 w 135"/>
              <a:gd name="T11" fmla="*/ 38 h 98"/>
              <a:gd name="T12" fmla="*/ 52 w 135"/>
              <a:gd name="T13" fmla="*/ 28 h 98"/>
              <a:gd name="T14" fmla="*/ 61 w 135"/>
              <a:gd name="T15" fmla="*/ 18 h 98"/>
              <a:gd name="T16" fmla="*/ 71 w 135"/>
              <a:gd name="T17" fmla="*/ 8 h 98"/>
              <a:gd name="T18" fmla="*/ 76 w 135"/>
              <a:gd name="T19" fmla="*/ 5 h 98"/>
              <a:gd name="T20" fmla="*/ 82 w 135"/>
              <a:gd name="T21" fmla="*/ 2 h 98"/>
              <a:gd name="T22" fmla="*/ 88 w 135"/>
              <a:gd name="T23" fmla="*/ 0 h 98"/>
              <a:gd name="T24" fmla="*/ 96 w 135"/>
              <a:gd name="T25" fmla="*/ 0 h 98"/>
              <a:gd name="T26" fmla="*/ 102 w 135"/>
              <a:gd name="T27" fmla="*/ 0 h 98"/>
              <a:gd name="T28" fmla="*/ 110 w 135"/>
              <a:gd name="T29" fmla="*/ 3 h 98"/>
              <a:gd name="T30" fmla="*/ 117 w 135"/>
              <a:gd name="T31" fmla="*/ 6 h 98"/>
              <a:gd name="T32" fmla="*/ 123 w 135"/>
              <a:gd name="T33" fmla="*/ 11 h 98"/>
              <a:gd name="T34" fmla="*/ 128 w 135"/>
              <a:gd name="T35" fmla="*/ 16 h 98"/>
              <a:gd name="T36" fmla="*/ 132 w 135"/>
              <a:gd name="T37" fmla="*/ 24 h 98"/>
              <a:gd name="T38" fmla="*/ 134 w 135"/>
              <a:gd name="T39" fmla="*/ 30 h 98"/>
              <a:gd name="T40" fmla="*/ 135 w 135"/>
              <a:gd name="T41" fmla="*/ 37 h 98"/>
              <a:gd name="T42" fmla="*/ 134 w 135"/>
              <a:gd name="T43" fmla="*/ 40 h 98"/>
              <a:gd name="T44" fmla="*/ 132 w 135"/>
              <a:gd name="T45" fmla="*/ 43 h 98"/>
              <a:gd name="T46" fmla="*/ 129 w 135"/>
              <a:gd name="T47" fmla="*/ 47 h 98"/>
              <a:gd name="T48" fmla="*/ 124 w 135"/>
              <a:gd name="T49" fmla="*/ 51 h 98"/>
              <a:gd name="T50" fmla="*/ 113 w 135"/>
              <a:gd name="T51" fmla="*/ 61 h 98"/>
              <a:gd name="T52" fmla="*/ 100 w 135"/>
              <a:gd name="T53" fmla="*/ 72 h 98"/>
              <a:gd name="T54" fmla="*/ 87 w 135"/>
              <a:gd name="T55" fmla="*/ 82 h 98"/>
              <a:gd name="T56" fmla="*/ 74 w 135"/>
              <a:gd name="T57" fmla="*/ 91 h 98"/>
              <a:gd name="T58" fmla="*/ 63 w 135"/>
              <a:gd name="T59" fmla="*/ 96 h 98"/>
              <a:gd name="T60" fmla="*/ 55 w 135"/>
              <a:gd name="T61" fmla="*/ 98 h 98"/>
              <a:gd name="T62" fmla="*/ 51 w 135"/>
              <a:gd name="T63" fmla="*/ 97 h 98"/>
              <a:gd name="T64" fmla="*/ 43 w 135"/>
              <a:gd name="T65" fmla="*/ 92 h 98"/>
              <a:gd name="T66" fmla="*/ 32 w 135"/>
              <a:gd name="T67" fmla="*/ 85 h 98"/>
              <a:gd name="T68" fmla="*/ 21 w 135"/>
              <a:gd name="T69" fmla="*/ 77 h 98"/>
              <a:gd name="T70" fmla="*/ 11 w 135"/>
              <a:gd name="T71" fmla="*/ 68 h 98"/>
              <a:gd name="T72" fmla="*/ 5 w 135"/>
              <a:gd name="T73" fmla="*/ 62 h 98"/>
              <a:gd name="T74" fmla="*/ 1 w 135"/>
              <a:gd name="T75" fmla="*/ 59 h 98"/>
              <a:gd name="T76" fmla="*/ 0 w 135"/>
              <a:gd name="T77" fmla="*/ 57 h 98"/>
              <a:gd name="T78" fmla="*/ 0 w 135"/>
              <a:gd name="T79" fmla="*/ 56 h 98"/>
              <a:gd name="T80" fmla="*/ 3 w 135"/>
              <a:gd name="T81" fmla="*/ 5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66" name="Freeform 272">
            <a:extLst>
              <a:ext uri="{FF2B5EF4-FFF2-40B4-BE49-F238E27FC236}">
                <a16:creationId xmlns:a16="http://schemas.microsoft.com/office/drawing/2014/main" id="{7C4D6097-FB35-4501-9E73-DA998151401C}"/>
              </a:ext>
            </a:extLst>
          </p:cNvPr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10526860" y="2625022"/>
            <a:ext cx="116114" cy="171450"/>
          </a:xfrm>
          <a:custGeom>
            <a:avLst/>
            <a:gdLst>
              <a:gd name="T0" fmla="*/ 240 w 266"/>
              <a:gd name="T1" fmla="*/ 9 h 326"/>
              <a:gd name="T2" fmla="*/ 240 w 266"/>
              <a:gd name="T3" fmla="*/ 28 h 326"/>
              <a:gd name="T4" fmla="*/ 249 w 266"/>
              <a:gd name="T5" fmla="*/ 42 h 326"/>
              <a:gd name="T6" fmla="*/ 245 w 266"/>
              <a:gd name="T7" fmla="*/ 55 h 326"/>
              <a:gd name="T8" fmla="*/ 225 w 266"/>
              <a:gd name="T9" fmla="*/ 50 h 326"/>
              <a:gd name="T10" fmla="*/ 210 w 266"/>
              <a:gd name="T11" fmla="*/ 51 h 326"/>
              <a:gd name="T12" fmla="*/ 195 w 266"/>
              <a:gd name="T13" fmla="*/ 65 h 326"/>
              <a:gd name="T14" fmla="*/ 193 w 266"/>
              <a:gd name="T15" fmla="*/ 78 h 326"/>
              <a:gd name="T16" fmla="*/ 198 w 266"/>
              <a:gd name="T17" fmla="*/ 89 h 326"/>
              <a:gd name="T18" fmla="*/ 215 w 266"/>
              <a:gd name="T19" fmla="*/ 110 h 326"/>
              <a:gd name="T20" fmla="*/ 224 w 266"/>
              <a:gd name="T21" fmla="*/ 122 h 326"/>
              <a:gd name="T22" fmla="*/ 225 w 266"/>
              <a:gd name="T23" fmla="*/ 133 h 326"/>
              <a:gd name="T24" fmla="*/ 222 w 266"/>
              <a:gd name="T25" fmla="*/ 143 h 326"/>
              <a:gd name="T26" fmla="*/ 207 w 266"/>
              <a:gd name="T27" fmla="*/ 154 h 326"/>
              <a:gd name="T28" fmla="*/ 200 w 266"/>
              <a:gd name="T29" fmla="*/ 160 h 326"/>
              <a:gd name="T30" fmla="*/ 181 w 266"/>
              <a:gd name="T31" fmla="*/ 166 h 326"/>
              <a:gd name="T32" fmla="*/ 164 w 266"/>
              <a:gd name="T33" fmla="*/ 178 h 326"/>
              <a:gd name="T34" fmla="*/ 160 w 266"/>
              <a:gd name="T35" fmla="*/ 191 h 326"/>
              <a:gd name="T36" fmla="*/ 173 w 266"/>
              <a:gd name="T37" fmla="*/ 207 h 326"/>
              <a:gd name="T38" fmla="*/ 189 w 266"/>
              <a:gd name="T39" fmla="*/ 215 h 326"/>
              <a:gd name="T40" fmla="*/ 214 w 266"/>
              <a:gd name="T41" fmla="*/ 227 h 326"/>
              <a:gd name="T42" fmla="*/ 245 w 266"/>
              <a:gd name="T43" fmla="*/ 259 h 326"/>
              <a:gd name="T44" fmla="*/ 251 w 266"/>
              <a:gd name="T45" fmla="*/ 285 h 326"/>
              <a:gd name="T46" fmla="*/ 220 w 266"/>
              <a:gd name="T47" fmla="*/ 291 h 326"/>
              <a:gd name="T48" fmla="*/ 207 w 266"/>
              <a:gd name="T49" fmla="*/ 298 h 326"/>
              <a:gd name="T50" fmla="*/ 198 w 266"/>
              <a:gd name="T51" fmla="*/ 312 h 326"/>
              <a:gd name="T52" fmla="*/ 189 w 266"/>
              <a:gd name="T53" fmla="*/ 326 h 326"/>
              <a:gd name="T54" fmla="*/ 170 w 266"/>
              <a:gd name="T55" fmla="*/ 321 h 326"/>
              <a:gd name="T56" fmla="*/ 167 w 266"/>
              <a:gd name="T57" fmla="*/ 316 h 326"/>
              <a:gd name="T58" fmla="*/ 154 w 266"/>
              <a:gd name="T59" fmla="*/ 310 h 326"/>
              <a:gd name="T60" fmla="*/ 139 w 266"/>
              <a:gd name="T61" fmla="*/ 301 h 326"/>
              <a:gd name="T62" fmla="*/ 126 w 266"/>
              <a:gd name="T63" fmla="*/ 295 h 326"/>
              <a:gd name="T64" fmla="*/ 98 w 266"/>
              <a:gd name="T65" fmla="*/ 290 h 326"/>
              <a:gd name="T66" fmla="*/ 63 w 266"/>
              <a:gd name="T67" fmla="*/ 277 h 326"/>
              <a:gd name="T68" fmla="*/ 54 w 266"/>
              <a:gd name="T69" fmla="*/ 268 h 326"/>
              <a:gd name="T70" fmla="*/ 55 w 266"/>
              <a:gd name="T71" fmla="*/ 256 h 326"/>
              <a:gd name="T72" fmla="*/ 70 w 266"/>
              <a:gd name="T73" fmla="*/ 244 h 326"/>
              <a:gd name="T74" fmla="*/ 59 w 266"/>
              <a:gd name="T75" fmla="*/ 221 h 326"/>
              <a:gd name="T76" fmla="*/ 34 w 266"/>
              <a:gd name="T77" fmla="*/ 194 h 326"/>
              <a:gd name="T78" fmla="*/ 13 w 266"/>
              <a:gd name="T79" fmla="*/ 182 h 326"/>
              <a:gd name="T80" fmla="*/ 4 w 266"/>
              <a:gd name="T81" fmla="*/ 171 h 326"/>
              <a:gd name="T82" fmla="*/ 19 w 266"/>
              <a:gd name="T83" fmla="*/ 152 h 326"/>
              <a:gd name="T84" fmla="*/ 54 w 266"/>
              <a:gd name="T85" fmla="*/ 124 h 326"/>
              <a:gd name="T86" fmla="*/ 73 w 266"/>
              <a:gd name="T87" fmla="*/ 105 h 326"/>
              <a:gd name="T88" fmla="*/ 88 w 266"/>
              <a:gd name="T89" fmla="*/ 92 h 326"/>
              <a:gd name="T90" fmla="*/ 110 w 266"/>
              <a:gd name="T91" fmla="*/ 88 h 326"/>
              <a:gd name="T92" fmla="*/ 144 w 266"/>
              <a:gd name="T93" fmla="*/ 70 h 326"/>
              <a:gd name="T94" fmla="*/ 168 w 266"/>
              <a:gd name="T95" fmla="*/ 46 h 326"/>
              <a:gd name="T96" fmla="*/ 191 w 266"/>
              <a:gd name="T97" fmla="*/ 21 h 326"/>
              <a:gd name="T98" fmla="*/ 220 w 266"/>
              <a:gd name="T99" fmla="*/ 4 h 326"/>
              <a:gd name="T100" fmla="*/ 238 w 266"/>
              <a:gd name="T101" fmla="*/ 0 h 3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67" name="Freeform 273">
            <a:extLst>
              <a:ext uri="{FF2B5EF4-FFF2-40B4-BE49-F238E27FC236}">
                <a16:creationId xmlns:a16="http://schemas.microsoft.com/office/drawing/2014/main" id="{E337799E-7037-4849-BB40-33CE3CCBCCEF}"/>
              </a:ext>
            </a:extLst>
          </p:cNvPr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9633092" y="3039360"/>
            <a:ext cx="198615" cy="123825"/>
          </a:xfrm>
          <a:custGeom>
            <a:avLst/>
            <a:gdLst>
              <a:gd name="T0" fmla="*/ 86 w 471"/>
              <a:gd name="T1" fmla="*/ 0 h 237"/>
              <a:gd name="T2" fmla="*/ 92 w 471"/>
              <a:gd name="T3" fmla="*/ 7 h 237"/>
              <a:gd name="T4" fmla="*/ 102 w 471"/>
              <a:gd name="T5" fmla="*/ 13 h 237"/>
              <a:gd name="T6" fmla="*/ 125 w 471"/>
              <a:gd name="T7" fmla="*/ 23 h 237"/>
              <a:gd name="T8" fmla="*/ 159 w 471"/>
              <a:gd name="T9" fmla="*/ 37 h 237"/>
              <a:gd name="T10" fmla="*/ 223 w 471"/>
              <a:gd name="T11" fmla="*/ 77 h 237"/>
              <a:gd name="T12" fmla="*/ 253 w 471"/>
              <a:gd name="T13" fmla="*/ 97 h 237"/>
              <a:gd name="T14" fmla="*/ 283 w 471"/>
              <a:gd name="T15" fmla="*/ 113 h 237"/>
              <a:gd name="T16" fmla="*/ 316 w 471"/>
              <a:gd name="T17" fmla="*/ 127 h 237"/>
              <a:gd name="T18" fmla="*/ 355 w 471"/>
              <a:gd name="T19" fmla="*/ 139 h 237"/>
              <a:gd name="T20" fmla="*/ 399 w 471"/>
              <a:gd name="T21" fmla="*/ 146 h 237"/>
              <a:gd name="T22" fmla="*/ 451 w 471"/>
              <a:gd name="T23" fmla="*/ 148 h 237"/>
              <a:gd name="T24" fmla="*/ 452 w 471"/>
              <a:gd name="T25" fmla="*/ 187 h 237"/>
              <a:gd name="T26" fmla="*/ 459 w 471"/>
              <a:gd name="T27" fmla="*/ 211 h 237"/>
              <a:gd name="T28" fmla="*/ 467 w 471"/>
              <a:gd name="T29" fmla="*/ 227 h 237"/>
              <a:gd name="T30" fmla="*/ 467 w 471"/>
              <a:gd name="T31" fmla="*/ 236 h 237"/>
              <a:gd name="T32" fmla="*/ 451 w 471"/>
              <a:gd name="T33" fmla="*/ 236 h 237"/>
              <a:gd name="T34" fmla="*/ 416 w 471"/>
              <a:gd name="T35" fmla="*/ 231 h 237"/>
              <a:gd name="T36" fmla="*/ 362 w 471"/>
              <a:gd name="T37" fmla="*/ 219 h 237"/>
              <a:gd name="T38" fmla="*/ 315 w 471"/>
              <a:gd name="T39" fmla="*/ 207 h 237"/>
              <a:gd name="T40" fmla="*/ 294 w 471"/>
              <a:gd name="T41" fmla="*/ 203 h 237"/>
              <a:gd name="T42" fmla="*/ 287 w 471"/>
              <a:gd name="T43" fmla="*/ 199 h 237"/>
              <a:gd name="T44" fmla="*/ 277 w 471"/>
              <a:gd name="T45" fmla="*/ 190 h 237"/>
              <a:gd name="T46" fmla="*/ 267 w 471"/>
              <a:gd name="T47" fmla="*/ 178 h 237"/>
              <a:gd name="T48" fmla="*/ 255 w 471"/>
              <a:gd name="T49" fmla="*/ 166 h 237"/>
              <a:gd name="T50" fmla="*/ 240 w 471"/>
              <a:gd name="T51" fmla="*/ 159 h 237"/>
              <a:gd name="T52" fmla="*/ 227 w 471"/>
              <a:gd name="T53" fmla="*/ 159 h 237"/>
              <a:gd name="T54" fmla="*/ 205 w 471"/>
              <a:gd name="T55" fmla="*/ 163 h 237"/>
              <a:gd name="T56" fmla="*/ 183 w 471"/>
              <a:gd name="T57" fmla="*/ 167 h 237"/>
              <a:gd name="T58" fmla="*/ 169 w 471"/>
              <a:gd name="T59" fmla="*/ 168 h 237"/>
              <a:gd name="T60" fmla="*/ 158 w 471"/>
              <a:gd name="T61" fmla="*/ 164 h 237"/>
              <a:gd name="T62" fmla="*/ 148 w 471"/>
              <a:gd name="T63" fmla="*/ 155 h 237"/>
              <a:gd name="T64" fmla="*/ 139 w 471"/>
              <a:gd name="T65" fmla="*/ 148 h 237"/>
              <a:gd name="T66" fmla="*/ 122 w 471"/>
              <a:gd name="T67" fmla="*/ 145 h 237"/>
              <a:gd name="T68" fmla="*/ 92 w 471"/>
              <a:gd name="T69" fmla="*/ 135 h 237"/>
              <a:gd name="T70" fmla="*/ 48 w 471"/>
              <a:gd name="T71" fmla="*/ 117 h 237"/>
              <a:gd name="T72" fmla="*/ 12 w 471"/>
              <a:gd name="T73" fmla="*/ 96 h 237"/>
              <a:gd name="T74" fmla="*/ 7 w 471"/>
              <a:gd name="T75" fmla="*/ 0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68" name="Freeform 274">
            <a:extLst>
              <a:ext uri="{FF2B5EF4-FFF2-40B4-BE49-F238E27FC236}">
                <a16:creationId xmlns:a16="http://schemas.microsoft.com/office/drawing/2014/main" id="{69FCBAAD-819B-42F8-B4D2-E63B2770A525}"/>
              </a:ext>
            </a:extLst>
          </p:cNvPr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9840874" y="3094923"/>
            <a:ext cx="70279" cy="65087"/>
          </a:xfrm>
          <a:custGeom>
            <a:avLst/>
            <a:gdLst>
              <a:gd name="T0" fmla="*/ 167 w 167"/>
              <a:gd name="T1" fmla="*/ 43 h 123"/>
              <a:gd name="T2" fmla="*/ 164 w 167"/>
              <a:gd name="T3" fmla="*/ 54 h 123"/>
              <a:gd name="T4" fmla="*/ 161 w 167"/>
              <a:gd name="T5" fmla="*/ 66 h 123"/>
              <a:gd name="T6" fmla="*/ 155 w 167"/>
              <a:gd name="T7" fmla="*/ 79 h 123"/>
              <a:gd name="T8" fmla="*/ 150 w 167"/>
              <a:gd name="T9" fmla="*/ 93 h 123"/>
              <a:gd name="T10" fmla="*/ 146 w 167"/>
              <a:gd name="T11" fmla="*/ 99 h 123"/>
              <a:gd name="T12" fmla="*/ 142 w 167"/>
              <a:gd name="T13" fmla="*/ 105 h 123"/>
              <a:gd name="T14" fmla="*/ 138 w 167"/>
              <a:gd name="T15" fmla="*/ 110 h 123"/>
              <a:gd name="T16" fmla="*/ 132 w 167"/>
              <a:gd name="T17" fmla="*/ 114 h 123"/>
              <a:gd name="T18" fmla="*/ 127 w 167"/>
              <a:gd name="T19" fmla="*/ 118 h 123"/>
              <a:gd name="T20" fmla="*/ 121 w 167"/>
              <a:gd name="T21" fmla="*/ 121 h 123"/>
              <a:gd name="T22" fmla="*/ 115 w 167"/>
              <a:gd name="T23" fmla="*/ 122 h 123"/>
              <a:gd name="T24" fmla="*/ 107 w 167"/>
              <a:gd name="T25" fmla="*/ 123 h 123"/>
              <a:gd name="T26" fmla="*/ 100 w 167"/>
              <a:gd name="T27" fmla="*/ 122 h 123"/>
              <a:gd name="T28" fmla="*/ 92 w 167"/>
              <a:gd name="T29" fmla="*/ 119 h 123"/>
              <a:gd name="T30" fmla="*/ 87 w 167"/>
              <a:gd name="T31" fmla="*/ 116 h 123"/>
              <a:gd name="T32" fmla="*/ 84 w 167"/>
              <a:gd name="T33" fmla="*/ 113 h 123"/>
              <a:gd name="T34" fmla="*/ 82 w 167"/>
              <a:gd name="T35" fmla="*/ 109 h 123"/>
              <a:gd name="T36" fmla="*/ 81 w 167"/>
              <a:gd name="T37" fmla="*/ 105 h 123"/>
              <a:gd name="T38" fmla="*/ 71 w 167"/>
              <a:gd name="T39" fmla="*/ 104 h 123"/>
              <a:gd name="T40" fmla="*/ 61 w 167"/>
              <a:gd name="T41" fmla="*/ 103 h 123"/>
              <a:gd name="T42" fmla="*/ 51 w 167"/>
              <a:gd name="T43" fmla="*/ 101 h 123"/>
              <a:gd name="T44" fmla="*/ 41 w 167"/>
              <a:gd name="T45" fmla="*/ 98 h 123"/>
              <a:gd name="T46" fmla="*/ 21 w 167"/>
              <a:gd name="T47" fmla="*/ 92 h 123"/>
              <a:gd name="T48" fmla="*/ 0 w 167"/>
              <a:gd name="T49" fmla="*/ 86 h 123"/>
              <a:gd name="T50" fmla="*/ 2 w 167"/>
              <a:gd name="T51" fmla="*/ 77 h 123"/>
              <a:gd name="T52" fmla="*/ 5 w 167"/>
              <a:gd name="T53" fmla="*/ 67 h 123"/>
              <a:gd name="T54" fmla="*/ 9 w 167"/>
              <a:gd name="T55" fmla="*/ 56 h 123"/>
              <a:gd name="T56" fmla="*/ 15 w 167"/>
              <a:gd name="T57" fmla="*/ 43 h 123"/>
              <a:gd name="T58" fmla="*/ 20 w 167"/>
              <a:gd name="T59" fmla="*/ 43 h 123"/>
              <a:gd name="T60" fmla="*/ 26 w 167"/>
              <a:gd name="T61" fmla="*/ 42 h 123"/>
              <a:gd name="T62" fmla="*/ 30 w 167"/>
              <a:gd name="T63" fmla="*/ 41 h 123"/>
              <a:gd name="T64" fmla="*/ 33 w 167"/>
              <a:gd name="T65" fmla="*/ 38 h 123"/>
              <a:gd name="T66" fmla="*/ 40 w 167"/>
              <a:gd name="T67" fmla="*/ 33 h 123"/>
              <a:gd name="T68" fmla="*/ 45 w 167"/>
              <a:gd name="T69" fmla="*/ 26 h 123"/>
              <a:gd name="T70" fmla="*/ 52 w 167"/>
              <a:gd name="T71" fmla="*/ 12 h 123"/>
              <a:gd name="T72" fmla="*/ 61 w 167"/>
              <a:gd name="T73" fmla="*/ 0 h 123"/>
              <a:gd name="T74" fmla="*/ 64 w 167"/>
              <a:gd name="T75" fmla="*/ 4 h 123"/>
              <a:gd name="T76" fmla="*/ 67 w 167"/>
              <a:gd name="T77" fmla="*/ 7 h 123"/>
              <a:gd name="T78" fmla="*/ 73 w 167"/>
              <a:gd name="T79" fmla="*/ 11 h 123"/>
              <a:gd name="T80" fmla="*/ 78 w 167"/>
              <a:gd name="T81" fmla="*/ 14 h 123"/>
              <a:gd name="T82" fmla="*/ 92 w 167"/>
              <a:gd name="T83" fmla="*/ 21 h 123"/>
              <a:gd name="T84" fmla="*/ 107 w 167"/>
              <a:gd name="T85" fmla="*/ 28 h 123"/>
              <a:gd name="T86" fmla="*/ 122 w 167"/>
              <a:gd name="T87" fmla="*/ 35 h 123"/>
              <a:gd name="T88" fmla="*/ 139 w 167"/>
              <a:gd name="T89" fmla="*/ 39 h 123"/>
              <a:gd name="T90" fmla="*/ 153 w 167"/>
              <a:gd name="T91" fmla="*/ 42 h 123"/>
              <a:gd name="T92" fmla="*/ 167 w 167"/>
              <a:gd name="T93" fmla="*/ 43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69" name="Freeform 275">
            <a:extLst>
              <a:ext uri="{FF2B5EF4-FFF2-40B4-BE49-F238E27FC236}">
                <a16:creationId xmlns:a16="http://schemas.microsoft.com/office/drawing/2014/main" id="{AFC75F78-DBF9-47E6-BBE1-C67EB0B401AB}"/>
              </a:ext>
            </a:extLst>
          </p:cNvPr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9831706" y="3166359"/>
            <a:ext cx="128336" cy="166688"/>
          </a:xfrm>
          <a:custGeom>
            <a:avLst/>
            <a:gdLst>
              <a:gd name="T0" fmla="*/ 259 w 306"/>
              <a:gd name="T1" fmla="*/ 160 h 321"/>
              <a:gd name="T2" fmla="*/ 252 w 306"/>
              <a:gd name="T3" fmla="*/ 173 h 321"/>
              <a:gd name="T4" fmla="*/ 243 w 306"/>
              <a:gd name="T5" fmla="*/ 182 h 321"/>
              <a:gd name="T6" fmla="*/ 233 w 306"/>
              <a:gd name="T7" fmla="*/ 186 h 321"/>
              <a:gd name="T8" fmla="*/ 223 w 306"/>
              <a:gd name="T9" fmla="*/ 184 h 321"/>
              <a:gd name="T10" fmla="*/ 214 w 306"/>
              <a:gd name="T11" fmla="*/ 178 h 321"/>
              <a:gd name="T12" fmla="*/ 209 w 306"/>
              <a:gd name="T13" fmla="*/ 169 h 321"/>
              <a:gd name="T14" fmla="*/ 206 w 306"/>
              <a:gd name="T15" fmla="*/ 160 h 321"/>
              <a:gd name="T16" fmla="*/ 209 w 306"/>
              <a:gd name="T17" fmla="*/ 148 h 321"/>
              <a:gd name="T18" fmla="*/ 213 w 306"/>
              <a:gd name="T19" fmla="*/ 136 h 321"/>
              <a:gd name="T20" fmla="*/ 230 w 306"/>
              <a:gd name="T21" fmla="*/ 114 h 321"/>
              <a:gd name="T22" fmla="*/ 246 w 306"/>
              <a:gd name="T23" fmla="*/ 93 h 321"/>
              <a:gd name="T24" fmla="*/ 250 w 306"/>
              <a:gd name="T25" fmla="*/ 82 h 321"/>
              <a:gd name="T26" fmla="*/ 253 w 306"/>
              <a:gd name="T27" fmla="*/ 69 h 321"/>
              <a:gd name="T28" fmla="*/ 129 w 306"/>
              <a:gd name="T29" fmla="*/ 68 h 321"/>
              <a:gd name="T30" fmla="*/ 119 w 306"/>
              <a:gd name="T31" fmla="*/ 59 h 321"/>
              <a:gd name="T32" fmla="*/ 112 w 306"/>
              <a:gd name="T33" fmla="*/ 45 h 321"/>
              <a:gd name="T34" fmla="*/ 108 w 306"/>
              <a:gd name="T35" fmla="*/ 28 h 321"/>
              <a:gd name="T36" fmla="*/ 101 w 306"/>
              <a:gd name="T37" fmla="*/ 19 h 321"/>
              <a:gd name="T38" fmla="*/ 90 w 306"/>
              <a:gd name="T39" fmla="*/ 17 h 321"/>
              <a:gd name="T40" fmla="*/ 80 w 306"/>
              <a:gd name="T41" fmla="*/ 12 h 321"/>
              <a:gd name="T42" fmla="*/ 75 w 306"/>
              <a:gd name="T43" fmla="*/ 4 h 321"/>
              <a:gd name="T44" fmla="*/ 65 w 306"/>
              <a:gd name="T45" fmla="*/ 0 h 321"/>
              <a:gd name="T46" fmla="*/ 49 w 306"/>
              <a:gd name="T47" fmla="*/ 0 h 321"/>
              <a:gd name="T48" fmla="*/ 34 w 306"/>
              <a:gd name="T49" fmla="*/ 1 h 321"/>
              <a:gd name="T50" fmla="*/ 22 w 306"/>
              <a:gd name="T51" fmla="*/ 5 h 321"/>
              <a:gd name="T52" fmla="*/ 10 w 306"/>
              <a:gd name="T53" fmla="*/ 14 h 321"/>
              <a:gd name="T54" fmla="*/ 1 w 306"/>
              <a:gd name="T55" fmla="*/ 25 h 321"/>
              <a:gd name="T56" fmla="*/ 2 w 306"/>
              <a:gd name="T57" fmla="*/ 35 h 321"/>
              <a:gd name="T58" fmla="*/ 15 w 306"/>
              <a:gd name="T59" fmla="*/ 46 h 321"/>
              <a:gd name="T60" fmla="*/ 35 w 306"/>
              <a:gd name="T61" fmla="*/ 58 h 321"/>
              <a:gd name="T62" fmla="*/ 54 w 306"/>
              <a:gd name="T63" fmla="*/ 67 h 321"/>
              <a:gd name="T64" fmla="*/ 47 w 306"/>
              <a:gd name="T65" fmla="*/ 79 h 321"/>
              <a:gd name="T66" fmla="*/ 25 w 306"/>
              <a:gd name="T67" fmla="*/ 97 h 321"/>
              <a:gd name="T68" fmla="*/ 17 w 306"/>
              <a:gd name="T69" fmla="*/ 107 h 321"/>
              <a:gd name="T70" fmla="*/ 14 w 306"/>
              <a:gd name="T71" fmla="*/ 114 h 321"/>
              <a:gd name="T72" fmla="*/ 14 w 306"/>
              <a:gd name="T73" fmla="*/ 122 h 321"/>
              <a:gd name="T74" fmla="*/ 18 w 306"/>
              <a:gd name="T75" fmla="*/ 129 h 321"/>
              <a:gd name="T76" fmla="*/ 28 w 306"/>
              <a:gd name="T77" fmla="*/ 141 h 321"/>
              <a:gd name="T78" fmla="*/ 47 w 306"/>
              <a:gd name="T79" fmla="*/ 156 h 321"/>
              <a:gd name="T80" fmla="*/ 64 w 306"/>
              <a:gd name="T81" fmla="*/ 164 h 321"/>
              <a:gd name="T82" fmla="*/ 75 w 306"/>
              <a:gd name="T83" fmla="*/ 166 h 321"/>
              <a:gd name="T84" fmla="*/ 107 w 306"/>
              <a:gd name="T85" fmla="*/ 271 h 321"/>
              <a:gd name="T86" fmla="*/ 108 w 306"/>
              <a:gd name="T87" fmla="*/ 263 h 321"/>
              <a:gd name="T88" fmla="*/ 112 w 306"/>
              <a:gd name="T89" fmla="*/ 256 h 321"/>
              <a:gd name="T90" fmla="*/ 127 w 306"/>
              <a:gd name="T91" fmla="*/ 246 h 321"/>
              <a:gd name="T92" fmla="*/ 148 w 306"/>
              <a:gd name="T93" fmla="*/ 240 h 321"/>
              <a:gd name="T94" fmla="*/ 174 w 306"/>
              <a:gd name="T95" fmla="*/ 235 h 321"/>
              <a:gd name="T96" fmla="*/ 174 w 306"/>
              <a:gd name="T97" fmla="*/ 210 h 321"/>
              <a:gd name="T98" fmla="*/ 183 w 306"/>
              <a:gd name="T99" fmla="*/ 212 h 321"/>
              <a:gd name="T100" fmla="*/ 193 w 306"/>
              <a:gd name="T101" fmla="*/ 212 h 321"/>
              <a:gd name="T102" fmla="*/ 213 w 306"/>
              <a:gd name="T103" fmla="*/ 210 h 321"/>
              <a:gd name="T104" fmla="*/ 232 w 306"/>
              <a:gd name="T105" fmla="*/ 261 h 321"/>
              <a:gd name="T106" fmla="*/ 259 w 306"/>
              <a:gd name="T107" fmla="*/ 321 h 321"/>
              <a:gd name="T108" fmla="*/ 272 w 306"/>
              <a:gd name="T109" fmla="*/ 311 h 321"/>
              <a:gd name="T110" fmla="*/ 282 w 306"/>
              <a:gd name="T111" fmla="*/ 302 h 321"/>
              <a:gd name="T112" fmla="*/ 295 w 306"/>
              <a:gd name="T113" fmla="*/ 280 h 321"/>
              <a:gd name="T114" fmla="*/ 306 w 306"/>
              <a:gd name="T115" fmla="*/ 235 h 3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70" name="Freeform 276">
            <a:extLst>
              <a:ext uri="{FF2B5EF4-FFF2-40B4-BE49-F238E27FC236}">
                <a16:creationId xmlns:a16="http://schemas.microsoft.com/office/drawing/2014/main" id="{280CF04F-D36D-4939-86E2-A0E12066F562}"/>
              </a:ext>
            </a:extLst>
          </p:cNvPr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10137269" y="3282248"/>
            <a:ext cx="194032" cy="269875"/>
          </a:xfrm>
          <a:custGeom>
            <a:avLst/>
            <a:gdLst>
              <a:gd name="T0" fmla="*/ 94 w 471"/>
              <a:gd name="T1" fmla="*/ 12 h 518"/>
              <a:gd name="T2" fmla="*/ 67 w 471"/>
              <a:gd name="T3" fmla="*/ 32 h 518"/>
              <a:gd name="T4" fmla="*/ 40 w 471"/>
              <a:gd name="T5" fmla="*/ 49 h 518"/>
              <a:gd name="T6" fmla="*/ 27 w 471"/>
              <a:gd name="T7" fmla="*/ 82 h 518"/>
              <a:gd name="T8" fmla="*/ 8 w 471"/>
              <a:gd name="T9" fmla="*/ 118 h 518"/>
              <a:gd name="T10" fmla="*/ 7 w 471"/>
              <a:gd name="T11" fmla="*/ 136 h 518"/>
              <a:gd name="T12" fmla="*/ 30 w 471"/>
              <a:gd name="T13" fmla="*/ 153 h 518"/>
              <a:gd name="T14" fmla="*/ 50 w 471"/>
              <a:gd name="T15" fmla="*/ 168 h 518"/>
              <a:gd name="T16" fmla="*/ 62 w 471"/>
              <a:gd name="T17" fmla="*/ 172 h 518"/>
              <a:gd name="T18" fmla="*/ 75 w 471"/>
              <a:gd name="T19" fmla="*/ 211 h 518"/>
              <a:gd name="T20" fmla="*/ 84 w 471"/>
              <a:gd name="T21" fmla="*/ 272 h 518"/>
              <a:gd name="T22" fmla="*/ 94 w 471"/>
              <a:gd name="T23" fmla="*/ 299 h 518"/>
              <a:gd name="T24" fmla="*/ 104 w 471"/>
              <a:gd name="T25" fmla="*/ 302 h 518"/>
              <a:gd name="T26" fmla="*/ 112 w 471"/>
              <a:gd name="T27" fmla="*/ 297 h 518"/>
              <a:gd name="T28" fmla="*/ 128 w 471"/>
              <a:gd name="T29" fmla="*/ 268 h 518"/>
              <a:gd name="T30" fmla="*/ 145 w 471"/>
              <a:gd name="T31" fmla="*/ 262 h 518"/>
              <a:gd name="T32" fmla="*/ 160 w 471"/>
              <a:gd name="T33" fmla="*/ 272 h 518"/>
              <a:gd name="T34" fmla="*/ 173 w 471"/>
              <a:gd name="T35" fmla="*/ 277 h 518"/>
              <a:gd name="T36" fmla="*/ 183 w 471"/>
              <a:gd name="T37" fmla="*/ 274 h 518"/>
              <a:gd name="T38" fmla="*/ 192 w 471"/>
              <a:gd name="T39" fmla="*/ 259 h 518"/>
              <a:gd name="T40" fmla="*/ 203 w 471"/>
              <a:gd name="T41" fmla="*/ 244 h 518"/>
              <a:gd name="T42" fmla="*/ 212 w 471"/>
              <a:gd name="T43" fmla="*/ 241 h 518"/>
              <a:gd name="T44" fmla="*/ 241 w 471"/>
              <a:gd name="T45" fmla="*/ 247 h 518"/>
              <a:gd name="T46" fmla="*/ 259 w 471"/>
              <a:gd name="T47" fmla="*/ 271 h 518"/>
              <a:gd name="T48" fmla="*/ 308 w 471"/>
              <a:gd name="T49" fmla="*/ 336 h 518"/>
              <a:gd name="T50" fmla="*/ 341 w 471"/>
              <a:gd name="T51" fmla="*/ 382 h 518"/>
              <a:gd name="T52" fmla="*/ 358 w 471"/>
              <a:gd name="T53" fmla="*/ 419 h 518"/>
              <a:gd name="T54" fmla="*/ 366 w 471"/>
              <a:gd name="T55" fmla="*/ 457 h 518"/>
              <a:gd name="T56" fmla="*/ 359 w 471"/>
              <a:gd name="T57" fmla="*/ 470 h 518"/>
              <a:gd name="T58" fmla="*/ 339 w 471"/>
              <a:gd name="T59" fmla="*/ 487 h 518"/>
              <a:gd name="T60" fmla="*/ 363 w 471"/>
              <a:gd name="T61" fmla="*/ 496 h 518"/>
              <a:gd name="T62" fmla="*/ 392 w 471"/>
              <a:gd name="T63" fmla="*/ 518 h 518"/>
              <a:gd name="T64" fmla="*/ 401 w 471"/>
              <a:gd name="T65" fmla="*/ 499 h 518"/>
              <a:gd name="T66" fmla="*/ 413 w 471"/>
              <a:gd name="T67" fmla="*/ 489 h 518"/>
              <a:gd name="T68" fmla="*/ 444 w 471"/>
              <a:gd name="T69" fmla="*/ 483 h 518"/>
              <a:gd name="T70" fmla="*/ 468 w 471"/>
              <a:gd name="T71" fmla="*/ 438 h 518"/>
              <a:gd name="T72" fmla="*/ 449 w 471"/>
              <a:gd name="T73" fmla="*/ 387 h 518"/>
              <a:gd name="T74" fmla="*/ 421 w 471"/>
              <a:gd name="T75" fmla="*/ 347 h 518"/>
              <a:gd name="T76" fmla="*/ 345 w 471"/>
              <a:gd name="T77" fmla="*/ 277 h 518"/>
              <a:gd name="T78" fmla="*/ 279 w 471"/>
              <a:gd name="T79" fmla="*/ 218 h 518"/>
              <a:gd name="T80" fmla="*/ 224 w 471"/>
              <a:gd name="T81" fmla="*/ 162 h 518"/>
              <a:gd name="T82" fmla="*/ 179 w 471"/>
              <a:gd name="T83" fmla="*/ 105 h 518"/>
              <a:gd name="T84" fmla="*/ 127 w 471"/>
              <a:gd name="T85" fmla="*/ 40 h 518"/>
              <a:gd name="T86" fmla="*/ 115 w 471"/>
              <a:gd name="T87" fmla="*/ 14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71" name="Freeform 277">
            <a:extLst>
              <a:ext uri="{FF2B5EF4-FFF2-40B4-BE49-F238E27FC236}">
                <a16:creationId xmlns:a16="http://schemas.microsoft.com/office/drawing/2014/main" id="{57B3003E-5072-49E1-9DD3-5FEC926213AE}"/>
              </a:ext>
            </a:extLst>
          </p:cNvPr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10216715" y="3533073"/>
            <a:ext cx="128336" cy="130175"/>
          </a:xfrm>
          <a:custGeom>
            <a:avLst/>
            <a:gdLst>
              <a:gd name="T0" fmla="*/ 152 w 293"/>
              <a:gd name="T1" fmla="*/ 19 h 246"/>
              <a:gd name="T2" fmla="*/ 179 w 293"/>
              <a:gd name="T3" fmla="*/ 30 h 246"/>
              <a:gd name="T4" fmla="*/ 196 w 293"/>
              <a:gd name="T5" fmla="*/ 30 h 246"/>
              <a:gd name="T6" fmla="*/ 202 w 293"/>
              <a:gd name="T7" fmla="*/ 18 h 246"/>
              <a:gd name="T8" fmla="*/ 210 w 293"/>
              <a:gd name="T9" fmla="*/ 10 h 246"/>
              <a:gd name="T10" fmla="*/ 219 w 293"/>
              <a:gd name="T11" fmla="*/ 6 h 246"/>
              <a:gd name="T12" fmla="*/ 245 w 293"/>
              <a:gd name="T13" fmla="*/ 2 h 246"/>
              <a:gd name="T14" fmla="*/ 293 w 293"/>
              <a:gd name="T15" fmla="*/ 80 h 246"/>
              <a:gd name="T16" fmla="*/ 266 w 293"/>
              <a:gd name="T17" fmla="*/ 107 h 246"/>
              <a:gd name="T18" fmla="*/ 237 w 293"/>
              <a:gd name="T19" fmla="*/ 141 h 246"/>
              <a:gd name="T20" fmla="*/ 225 w 293"/>
              <a:gd name="T21" fmla="*/ 159 h 246"/>
              <a:gd name="T22" fmla="*/ 215 w 293"/>
              <a:gd name="T23" fmla="*/ 178 h 246"/>
              <a:gd name="T24" fmla="*/ 209 w 293"/>
              <a:gd name="T25" fmla="*/ 197 h 246"/>
              <a:gd name="T26" fmla="*/ 206 w 293"/>
              <a:gd name="T27" fmla="*/ 216 h 246"/>
              <a:gd name="T28" fmla="*/ 196 w 293"/>
              <a:gd name="T29" fmla="*/ 217 h 246"/>
              <a:gd name="T30" fmla="*/ 186 w 293"/>
              <a:gd name="T31" fmla="*/ 220 h 246"/>
              <a:gd name="T32" fmla="*/ 170 w 293"/>
              <a:gd name="T33" fmla="*/ 229 h 246"/>
              <a:gd name="T34" fmla="*/ 154 w 293"/>
              <a:gd name="T35" fmla="*/ 239 h 246"/>
              <a:gd name="T36" fmla="*/ 133 w 293"/>
              <a:gd name="T37" fmla="*/ 246 h 246"/>
              <a:gd name="T38" fmla="*/ 102 w 293"/>
              <a:gd name="T39" fmla="*/ 240 h 246"/>
              <a:gd name="T40" fmla="*/ 71 w 293"/>
              <a:gd name="T41" fmla="*/ 232 h 246"/>
              <a:gd name="T42" fmla="*/ 59 w 293"/>
              <a:gd name="T43" fmla="*/ 226 h 246"/>
              <a:gd name="T44" fmla="*/ 49 w 293"/>
              <a:gd name="T45" fmla="*/ 220 h 246"/>
              <a:gd name="T46" fmla="*/ 43 w 293"/>
              <a:gd name="T47" fmla="*/ 212 h 246"/>
              <a:gd name="T48" fmla="*/ 41 w 293"/>
              <a:gd name="T49" fmla="*/ 204 h 246"/>
              <a:gd name="T50" fmla="*/ 47 w 293"/>
              <a:gd name="T51" fmla="*/ 178 h 246"/>
              <a:gd name="T52" fmla="*/ 45 w 293"/>
              <a:gd name="T53" fmla="*/ 162 h 246"/>
              <a:gd name="T54" fmla="*/ 40 w 293"/>
              <a:gd name="T55" fmla="*/ 147 h 246"/>
              <a:gd name="T56" fmla="*/ 24 w 293"/>
              <a:gd name="T57" fmla="*/ 119 h 246"/>
              <a:gd name="T58" fmla="*/ 8 w 293"/>
              <a:gd name="T59" fmla="*/ 91 h 246"/>
              <a:gd name="T60" fmla="*/ 2 w 293"/>
              <a:gd name="T61" fmla="*/ 74 h 246"/>
              <a:gd name="T62" fmla="*/ 0 w 293"/>
              <a:gd name="T63" fmla="*/ 55 h 246"/>
              <a:gd name="T64" fmla="*/ 2 w 293"/>
              <a:gd name="T65" fmla="*/ 45 h 246"/>
              <a:gd name="T66" fmla="*/ 8 w 293"/>
              <a:gd name="T67" fmla="*/ 36 h 246"/>
              <a:gd name="T68" fmla="*/ 17 w 293"/>
              <a:gd name="T69" fmla="*/ 29 h 246"/>
              <a:gd name="T70" fmla="*/ 26 w 293"/>
              <a:gd name="T71" fmla="*/ 22 h 246"/>
              <a:gd name="T72" fmla="*/ 48 w 293"/>
              <a:gd name="T73" fmla="*/ 14 h 246"/>
              <a:gd name="T74" fmla="*/ 67 w 293"/>
              <a:gd name="T75" fmla="*/ 12 h 246"/>
              <a:gd name="T76" fmla="*/ 96 w 293"/>
              <a:gd name="T77" fmla="*/ 12 h 246"/>
              <a:gd name="T78" fmla="*/ 133 w 293"/>
              <a:gd name="T79" fmla="*/ 12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72" name="Freeform 278">
            <a:extLst>
              <a:ext uri="{FF2B5EF4-FFF2-40B4-BE49-F238E27FC236}">
                <a16:creationId xmlns:a16="http://schemas.microsoft.com/office/drawing/2014/main" id="{89C68905-D977-4525-906F-D5B48350BDF3}"/>
              </a:ext>
            </a:extLst>
          </p:cNvPr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10603252" y="2769485"/>
            <a:ext cx="82502" cy="130175"/>
          </a:xfrm>
          <a:custGeom>
            <a:avLst/>
            <a:gdLst>
              <a:gd name="T0" fmla="*/ 18 w 200"/>
              <a:gd name="T1" fmla="*/ 41 h 246"/>
              <a:gd name="T2" fmla="*/ 28 w 200"/>
              <a:gd name="T3" fmla="*/ 26 h 246"/>
              <a:gd name="T4" fmla="*/ 38 w 200"/>
              <a:gd name="T5" fmla="*/ 16 h 246"/>
              <a:gd name="T6" fmla="*/ 50 w 200"/>
              <a:gd name="T7" fmla="*/ 9 h 246"/>
              <a:gd name="T8" fmla="*/ 73 w 200"/>
              <a:gd name="T9" fmla="*/ 1 h 246"/>
              <a:gd name="T10" fmla="*/ 88 w 200"/>
              <a:gd name="T11" fmla="*/ 12 h 246"/>
              <a:gd name="T12" fmla="*/ 108 w 200"/>
              <a:gd name="T13" fmla="*/ 34 h 246"/>
              <a:gd name="T14" fmla="*/ 125 w 200"/>
              <a:gd name="T15" fmla="*/ 50 h 246"/>
              <a:gd name="T16" fmla="*/ 139 w 200"/>
              <a:gd name="T17" fmla="*/ 58 h 246"/>
              <a:gd name="T18" fmla="*/ 152 w 200"/>
              <a:gd name="T19" fmla="*/ 64 h 246"/>
              <a:gd name="T20" fmla="*/ 166 w 200"/>
              <a:gd name="T21" fmla="*/ 67 h 246"/>
              <a:gd name="T22" fmla="*/ 184 w 200"/>
              <a:gd name="T23" fmla="*/ 96 h 246"/>
              <a:gd name="T24" fmla="*/ 195 w 200"/>
              <a:gd name="T25" fmla="*/ 137 h 246"/>
              <a:gd name="T26" fmla="*/ 199 w 200"/>
              <a:gd name="T27" fmla="*/ 165 h 246"/>
              <a:gd name="T28" fmla="*/ 200 w 200"/>
              <a:gd name="T29" fmla="*/ 185 h 246"/>
              <a:gd name="T30" fmla="*/ 198 w 200"/>
              <a:gd name="T31" fmla="*/ 197 h 246"/>
              <a:gd name="T32" fmla="*/ 195 w 200"/>
              <a:gd name="T33" fmla="*/ 207 h 246"/>
              <a:gd name="T34" fmla="*/ 189 w 200"/>
              <a:gd name="T35" fmla="*/ 214 h 246"/>
              <a:gd name="T36" fmla="*/ 179 w 200"/>
              <a:gd name="T37" fmla="*/ 220 h 246"/>
              <a:gd name="T38" fmla="*/ 164 w 200"/>
              <a:gd name="T39" fmla="*/ 224 h 246"/>
              <a:gd name="T40" fmla="*/ 140 w 200"/>
              <a:gd name="T41" fmla="*/ 224 h 246"/>
              <a:gd name="T42" fmla="*/ 118 w 200"/>
              <a:gd name="T43" fmla="*/ 229 h 246"/>
              <a:gd name="T44" fmla="*/ 111 w 200"/>
              <a:gd name="T45" fmla="*/ 235 h 246"/>
              <a:gd name="T46" fmla="*/ 108 w 200"/>
              <a:gd name="T47" fmla="*/ 242 h 246"/>
              <a:gd name="T48" fmla="*/ 98 w 200"/>
              <a:gd name="T49" fmla="*/ 245 h 246"/>
              <a:gd name="T50" fmla="*/ 85 w 200"/>
              <a:gd name="T51" fmla="*/ 240 h 246"/>
              <a:gd name="T52" fmla="*/ 77 w 200"/>
              <a:gd name="T53" fmla="*/ 230 h 246"/>
              <a:gd name="T54" fmla="*/ 73 w 200"/>
              <a:gd name="T55" fmla="*/ 216 h 246"/>
              <a:gd name="T56" fmla="*/ 72 w 200"/>
              <a:gd name="T57" fmla="*/ 192 h 246"/>
              <a:gd name="T58" fmla="*/ 71 w 200"/>
              <a:gd name="T59" fmla="*/ 168 h 246"/>
              <a:gd name="T60" fmla="*/ 69 w 200"/>
              <a:gd name="T61" fmla="*/ 154 h 246"/>
              <a:gd name="T62" fmla="*/ 64 w 200"/>
              <a:gd name="T63" fmla="*/ 142 h 246"/>
              <a:gd name="T64" fmla="*/ 56 w 200"/>
              <a:gd name="T65" fmla="*/ 134 h 246"/>
              <a:gd name="T66" fmla="*/ 40 w 200"/>
              <a:gd name="T67" fmla="*/ 125 h 246"/>
              <a:gd name="T68" fmla="*/ 18 w 200"/>
              <a:gd name="T69" fmla="*/ 115 h 246"/>
              <a:gd name="T70" fmla="*/ 6 w 200"/>
              <a:gd name="T71" fmla="*/ 106 h 246"/>
              <a:gd name="T72" fmla="*/ 1 w 200"/>
              <a:gd name="T73" fmla="*/ 98 h 246"/>
              <a:gd name="T74" fmla="*/ 1 w 200"/>
              <a:gd name="T75" fmla="*/ 87 h 246"/>
              <a:gd name="T76" fmla="*/ 5 w 200"/>
              <a:gd name="T77" fmla="*/ 78 h 246"/>
              <a:gd name="T78" fmla="*/ 10 w 200"/>
              <a:gd name="T79" fmla="*/ 68 h 246"/>
              <a:gd name="T80" fmla="*/ 13 w 200"/>
              <a:gd name="T81" fmla="*/ 56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73" name="Freeform 279">
            <a:extLst>
              <a:ext uri="{FF2B5EF4-FFF2-40B4-BE49-F238E27FC236}">
                <a16:creationId xmlns:a16="http://schemas.microsoft.com/office/drawing/2014/main" id="{04179E1A-BFD0-483F-85EE-64553D5581DA}"/>
              </a:ext>
            </a:extLst>
          </p:cNvPr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11150208" y="4066472"/>
            <a:ext cx="223060" cy="254000"/>
          </a:xfrm>
          <a:custGeom>
            <a:avLst/>
            <a:gdLst>
              <a:gd name="T0" fmla="*/ 91 w 538"/>
              <a:gd name="T1" fmla="*/ 21 h 487"/>
              <a:gd name="T2" fmla="*/ 160 w 538"/>
              <a:gd name="T3" fmla="*/ 47 h 487"/>
              <a:gd name="T4" fmla="*/ 202 w 538"/>
              <a:gd name="T5" fmla="*/ 70 h 487"/>
              <a:gd name="T6" fmla="*/ 253 w 538"/>
              <a:gd name="T7" fmla="*/ 110 h 487"/>
              <a:gd name="T8" fmla="*/ 300 w 538"/>
              <a:gd name="T9" fmla="*/ 136 h 487"/>
              <a:gd name="T10" fmla="*/ 299 w 538"/>
              <a:gd name="T11" fmla="*/ 161 h 487"/>
              <a:gd name="T12" fmla="*/ 347 w 538"/>
              <a:gd name="T13" fmla="*/ 205 h 487"/>
              <a:gd name="T14" fmla="*/ 393 w 538"/>
              <a:gd name="T15" fmla="*/ 248 h 487"/>
              <a:gd name="T16" fmla="*/ 379 w 538"/>
              <a:gd name="T17" fmla="*/ 250 h 487"/>
              <a:gd name="T18" fmla="*/ 372 w 538"/>
              <a:gd name="T19" fmla="*/ 256 h 487"/>
              <a:gd name="T20" fmla="*/ 372 w 538"/>
              <a:gd name="T21" fmla="*/ 278 h 487"/>
              <a:gd name="T22" fmla="*/ 377 w 538"/>
              <a:gd name="T23" fmla="*/ 301 h 487"/>
              <a:gd name="T24" fmla="*/ 389 w 538"/>
              <a:gd name="T25" fmla="*/ 325 h 487"/>
              <a:gd name="T26" fmla="*/ 407 w 538"/>
              <a:gd name="T27" fmla="*/ 348 h 487"/>
              <a:gd name="T28" fmla="*/ 428 w 538"/>
              <a:gd name="T29" fmla="*/ 366 h 487"/>
              <a:gd name="T30" fmla="*/ 451 w 538"/>
              <a:gd name="T31" fmla="*/ 376 h 487"/>
              <a:gd name="T32" fmla="*/ 461 w 538"/>
              <a:gd name="T33" fmla="*/ 390 h 487"/>
              <a:gd name="T34" fmla="*/ 472 w 538"/>
              <a:gd name="T35" fmla="*/ 406 h 487"/>
              <a:gd name="T36" fmla="*/ 489 w 538"/>
              <a:gd name="T37" fmla="*/ 417 h 487"/>
              <a:gd name="T38" fmla="*/ 513 w 538"/>
              <a:gd name="T39" fmla="*/ 432 h 487"/>
              <a:gd name="T40" fmla="*/ 518 w 538"/>
              <a:gd name="T41" fmla="*/ 444 h 487"/>
              <a:gd name="T42" fmla="*/ 525 w 538"/>
              <a:gd name="T43" fmla="*/ 450 h 487"/>
              <a:gd name="T44" fmla="*/ 538 w 538"/>
              <a:gd name="T45" fmla="*/ 456 h 487"/>
              <a:gd name="T46" fmla="*/ 534 w 538"/>
              <a:gd name="T47" fmla="*/ 472 h 487"/>
              <a:gd name="T48" fmla="*/ 519 w 538"/>
              <a:gd name="T49" fmla="*/ 484 h 487"/>
              <a:gd name="T50" fmla="*/ 490 w 538"/>
              <a:gd name="T51" fmla="*/ 487 h 487"/>
              <a:gd name="T52" fmla="*/ 448 w 538"/>
              <a:gd name="T53" fmla="*/ 480 h 487"/>
              <a:gd name="T54" fmla="*/ 414 w 538"/>
              <a:gd name="T55" fmla="*/ 466 h 487"/>
              <a:gd name="T56" fmla="*/ 386 w 538"/>
              <a:gd name="T57" fmla="*/ 446 h 487"/>
              <a:gd name="T58" fmla="*/ 355 w 538"/>
              <a:gd name="T59" fmla="*/ 415 h 487"/>
              <a:gd name="T60" fmla="*/ 312 w 538"/>
              <a:gd name="T61" fmla="*/ 365 h 487"/>
              <a:gd name="T62" fmla="*/ 274 w 538"/>
              <a:gd name="T63" fmla="*/ 330 h 487"/>
              <a:gd name="T64" fmla="*/ 246 w 538"/>
              <a:gd name="T65" fmla="*/ 316 h 487"/>
              <a:gd name="T66" fmla="*/ 212 w 538"/>
              <a:gd name="T67" fmla="*/ 309 h 487"/>
              <a:gd name="T68" fmla="*/ 180 w 538"/>
              <a:gd name="T69" fmla="*/ 310 h 487"/>
              <a:gd name="T70" fmla="*/ 153 w 538"/>
              <a:gd name="T71" fmla="*/ 317 h 487"/>
              <a:gd name="T72" fmla="*/ 113 w 538"/>
              <a:gd name="T73" fmla="*/ 345 h 487"/>
              <a:gd name="T74" fmla="*/ 136 w 538"/>
              <a:gd name="T75" fmla="*/ 361 h 487"/>
              <a:gd name="T76" fmla="*/ 140 w 538"/>
              <a:gd name="T77" fmla="*/ 370 h 487"/>
              <a:gd name="T78" fmla="*/ 124 w 538"/>
              <a:gd name="T79" fmla="*/ 401 h 487"/>
              <a:gd name="T80" fmla="*/ 113 w 538"/>
              <a:gd name="T81" fmla="*/ 414 h 487"/>
              <a:gd name="T82" fmla="*/ 47 w 538"/>
              <a:gd name="T83" fmla="*/ 403 h 487"/>
              <a:gd name="T84" fmla="*/ 20 w 538"/>
              <a:gd name="T85" fmla="*/ 259 h 487"/>
              <a:gd name="T86" fmla="*/ 20 w 538"/>
              <a:gd name="T87" fmla="*/ 0 h 48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74" name="Freeform 280">
            <a:extLst>
              <a:ext uri="{FF2B5EF4-FFF2-40B4-BE49-F238E27FC236}">
                <a16:creationId xmlns:a16="http://schemas.microsoft.com/office/drawing/2014/main" id="{B50F5995-4368-41AA-858C-FE0BF8D412D8}"/>
              </a:ext>
            </a:extLst>
          </p:cNvPr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11335073" y="4050598"/>
            <a:ext cx="102363" cy="128587"/>
          </a:xfrm>
          <a:custGeom>
            <a:avLst/>
            <a:gdLst>
              <a:gd name="T0" fmla="*/ 136 w 253"/>
              <a:gd name="T1" fmla="*/ 1 h 246"/>
              <a:gd name="T2" fmla="*/ 157 w 253"/>
              <a:gd name="T3" fmla="*/ 8 h 246"/>
              <a:gd name="T4" fmla="*/ 179 w 253"/>
              <a:gd name="T5" fmla="*/ 21 h 246"/>
              <a:gd name="T6" fmla="*/ 199 w 253"/>
              <a:gd name="T7" fmla="*/ 37 h 246"/>
              <a:gd name="T8" fmla="*/ 218 w 253"/>
              <a:gd name="T9" fmla="*/ 57 h 246"/>
              <a:gd name="T10" fmla="*/ 234 w 253"/>
              <a:gd name="T11" fmla="*/ 76 h 246"/>
              <a:gd name="T12" fmla="*/ 245 w 253"/>
              <a:gd name="T13" fmla="*/ 94 h 246"/>
              <a:gd name="T14" fmla="*/ 252 w 253"/>
              <a:gd name="T15" fmla="*/ 111 h 246"/>
              <a:gd name="T16" fmla="*/ 252 w 253"/>
              <a:gd name="T17" fmla="*/ 128 h 246"/>
              <a:gd name="T18" fmla="*/ 243 w 253"/>
              <a:gd name="T19" fmla="*/ 151 h 246"/>
              <a:gd name="T20" fmla="*/ 229 w 253"/>
              <a:gd name="T21" fmla="*/ 174 h 246"/>
              <a:gd name="T22" fmla="*/ 209 w 253"/>
              <a:gd name="T23" fmla="*/ 195 h 246"/>
              <a:gd name="T24" fmla="*/ 184 w 253"/>
              <a:gd name="T25" fmla="*/ 214 h 246"/>
              <a:gd name="T26" fmla="*/ 157 w 253"/>
              <a:gd name="T27" fmla="*/ 229 h 246"/>
              <a:gd name="T28" fmla="*/ 129 w 253"/>
              <a:gd name="T29" fmla="*/ 240 h 246"/>
              <a:gd name="T30" fmla="*/ 100 w 253"/>
              <a:gd name="T31" fmla="*/ 245 h 246"/>
              <a:gd name="T32" fmla="*/ 74 w 253"/>
              <a:gd name="T33" fmla="*/ 245 h 246"/>
              <a:gd name="T34" fmla="*/ 53 w 253"/>
              <a:gd name="T35" fmla="*/ 240 h 246"/>
              <a:gd name="T36" fmla="*/ 33 w 253"/>
              <a:gd name="T37" fmla="*/ 234 h 246"/>
              <a:gd name="T38" fmla="*/ 11 w 253"/>
              <a:gd name="T39" fmla="*/ 229 h 246"/>
              <a:gd name="T40" fmla="*/ 3 w 253"/>
              <a:gd name="T41" fmla="*/ 219 h 246"/>
              <a:gd name="T42" fmla="*/ 10 w 253"/>
              <a:gd name="T43" fmla="*/ 205 h 246"/>
              <a:gd name="T44" fmla="*/ 22 w 253"/>
              <a:gd name="T45" fmla="*/ 196 h 246"/>
              <a:gd name="T46" fmla="*/ 37 w 253"/>
              <a:gd name="T47" fmla="*/ 191 h 246"/>
              <a:gd name="T48" fmla="*/ 50 w 253"/>
              <a:gd name="T49" fmla="*/ 197 h 246"/>
              <a:gd name="T50" fmla="*/ 60 w 253"/>
              <a:gd name="T51" fmla="*/ 207 h 246"/>
              <a:gd name="T52" fmla="*/ 68 w 253"/>
              <a:gd name="T53" fmla="*/ 201 h 246"/>
              <a:gd name="T54" fmla="*/ 75 w 253"/>
              <a:gd name="T55" fmla="*/ 190 h 246"/>
              <a:gd name="T56" fmla="*/ 84 w 253"/>
              <a:gd name="T57" fmla="*/ 180 h 246"/>
              <a:gd name="T58" fmla="*/ 91 w 253"/>
              <a:gd name="T59" fmla="*/ 181 h 246"/>
              <a:gd name="T60" fmla="*/ 98 w 253"/>
              <a:gd name="T61" fmla="*/ 179 h 246"/>
              <a:gd name="T62" fmla="*/ 106 w 253"/>
              <a:gd name="T63" fmla="*/ 178 h 246"/>
              <a:gd name="T64" fmla="*/ 120 w 253"/>
              <a:gd name="T65" fmla="*/ 174 h 246"/>
              <a:gd name="T66" fmla="*/ 149 w 253"/>
              <a:gd name="T67" fmla="*/ 164 h 246"/>
              <a:gd name="T68" fmla="*/ 179 w 253"/>
              <a:gd name="T69" fmla="*/ 147 h 246"/>
              <a:gd name="T70" fmla="*/ 197 w 253"/>
              <a:gd name="T71" fmla="*/ 135 h 246"/>
              <a:gd name="T72" fmla="*/ 210 w 253"/>
              <a:gd name="T73" fmla="*/ 123 h 246"/>
              <a:gd name="T74" fmla="*/ 218 w 253"/>
              <a:gd name="T75" fmla="*/ 111 h 246"/>
              <a:gd name="T76" fmla="*/ 219 w 253"/>
              <a:gd name="T77" fmla="*/ 98 h 246"/>
              <a:gd name="T78" fmla="*/ 214 w 253"/>
              <a:gd name="T79" fmla="*/ 88 h 246"/>
              <a:gd name="T80" fmla="*/ 210 w 253"/>
              <a:gd name="T81" fmla="*/ 80 h 246"/>
              <a:gd name="T82" fmla="*/ 207 w 253"/>
              <a:gd name="T83" fmla="*/ 72 h 246"/>
              <a:gd name="T84" fmla="*/ 201 w 253"/>
              <a:gd name="T85" fmla="*/ 67 h 246"/>
              <a:gd name="T86" fmla="*/ 191 w 253"/>
              <a:gd name="T87" fmla="*/ 65 h 246"/>
              <a:gd name="T88" fmla="*/ 184 w 253"/>
              <a:gd name="T89" fmla="*/ 61 h 246"/>
              <a:gd name="T90" fmla="*/ 180 w 253"/>
              <a:gd name="T91" fmla="*/ 54 h 246"/>
              <a:gd name="T92" fmla="*/ 140 w 253"/>
              <a:gd name="T93" fmla="*/ 49 h 246"/>
              <a:gd name="T94" fmla="*/ 136 w 253"/>
              <a:gd name="T95" fmla="*/ 44 h 246"/>
              <a:gd name="T96" fmla="*/ 136 w 253"/>
              <a:gd name="T97" fmla="*/ 36 h 246"/>
              <a:gd name="T98" fmla="*/ 140 w 253"/>
              <a:gd name="T99" fmla="*/ 18 h 246"/>
              <a:gd name="T100" fmla="*/ 110 w 253"/>
              <a:gd name="T101" fmla="*/ 11 h 246"/>
              <a:gd name="T102" fmla="*/ 97 w 253"/>
              <a:gd name="T103" fmla="*/ 12 h 246"/>
              <a:gd name="T104" fmla="*/ 86 w 253"/>
              <a:gd name="T105" fmla="*/ 18 h 246"/>
              <a:gd name="T106" fmla="*/ 104 w 253"/>
              <a:gd name="T107" fmla="*/ 5 h 246"/>
              <a:gd name="T108" fmla="*/ 113 w 253"/>
              <a:gd name="T109" fmla="*/ 1 h 246"/>
              <a:gd name="T110" fmla="*/ 127 w 253"/>
              <a:gd name="T111" fmla="*/ 0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75" name="Freeform 281">
            <a:extLst>
              <a:ext uri="{FF2B5EF4-FFF2-40B4-BE49-F238E27FC236}">
                <a16:creationId xmlns:a16="http://schemas.microsoft.com/office/drawing/2014/main" id="{29B22177-BACD-4920-8B88-E70C88F0B9CC}"/>
              </a:ext>
            </a:extLst>
          </p:cNvPr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9675870" y="3683885"/>
            <a:ext cx="61112" cy="119063"/>
          </a:xfrm>
          <a:custGeom>
            <a:avLst/>
            <a:gdLst>
              <a:gd name="T0" fmla="*/ 41 w 141"/>
              <a:gd name="T1" fmla="*/ 228 h 228"/>
              <a:gd name="T2" fmla="*/ 36 w 141"/>
              <a:gd name="T3" fmla="*/ 220 h 228"/>
              <a:gd name="T4" fmla="*/ 29 w 141"/>
              <a:gd name="T5" fmla="*/ 208 h 228"/>
              <a:gd name="T6" fmla="*/ 22 w 141"/>
              <a:gd name="T7" fmla="*/ 194 h 228"/>
              <a:gd name="T8" fmla="*/ 16 w 141"/>
              <a:gd name="T9" fmla="*/ 178 h 228"/>
              <a:gd name="T10" fmla="*/ 10 w 141"/>
              <a:gd name="T11" fmla="*/ 163 h 228"/>
              <a:gd name="T12" fmla="*/ 5 w 141"/>
              <a:gd name="T13" fmla="*/ 148 h 228"/>
              <a:gd name="T14" fmla="*/ 2 w 141"/>
              <a:gd name="T15" fmla="*/ 135 h 228"/>
              <a:gd name="T16" fmla="*/ 0 w 141"/>
              <a:gd name="T17" fmla="*/ 123 h 228"/>
              <a:gd name="T18" fmla="*/ 2 w 141"/>
              <a:gd name="T19" fmla="*/ 104 h 228"/>
              <a:gd name="T20" fmla="*/ 4 w 141"/>
              <a:gd name="T21" fmla="*/ 87 h 228"/>
              <a:gd name="T22" fmla="*/ 6 w 141"/>
              <a:gd name="T23" fmla="*/ 70 h 228"/>
              <a:gd name="T24" fmla="*/ 9 w 141"/>
              <a:gd name="T25" fmla="*/ 55 h 228"/>
              <a:gd name="T26" fmla="*/ 18 w 141"/>
              <a:gd name="T27" fmla="*/ 28 h 228"/>
              <a:gd name="T28" fmla="*/ 28 w 141"/>
              <a:gd name="T29" fmla="*/ 0 h 228"/>
              <a:gd name="T30" fmla="*/ 45 w 141"/>
              <a:gd name="T31" fmla="*/ 16 h 228"/>
              <a:gd name="T32" fmla="*/ 62 w 141"/>
              <a:gd name="T33" fmla="*/ 28 h 228"/>
              <a:gd name="T34" fmla="*/ 76 w 141"/>
              <a:gd name="T35" fmla="*/ 37 h 228"/>
              <a:gd name="T36" fmla="*/ 89 w 141"/>
              <a:gd name="T37" fmla="*/ 48 h 228"/>
              <a:gd name="T38" fmla="*/ 95 w 141"/>
              <a:gd name="T39" fmla="*/ 55 h 228"/>
              <a:gd name="T40" fmla="*/ 101 w 141"/>
              <a:gd name="T41" fmla="*/ 63 h 228"/>
              <a:gd name="T42" fmla="*/ 107 w 141"/>
              <a:gd name="T43" fmla="*/ 74 h 228"/>
              <a:gd name="T44" fmla="*/ 114 w 141"/>
              <a:gd name="T45" fmla="*/ 86 h 228"/>
              <a:gd name="T46" fmla="*/ 120 w 141"/>
              <a:gd name="T47" fmla="*/ 100 h 228"/>
              <a:gd name="T48" fmla="*/ 127 w 141"/>
              <a:gd name="T49" fmla="*/ 117 h 228"/>
              <a:gd name="T50" fmla="*/ 133 w 141"/>
              <a:gd name="T51" fmla="*/ 138 h 228"/>
              <a:gd name="T52" fmla="*/ 141 w 141"/>
              <a:gd name="T53" fmla="*/ 161 h 228"/>
              <a:gd name="T54" fmla="*/ 140 w 141"/>
              <a:gd name="T55" fmla="*/ 169 h 228"/>
              <a:gd name="T56" fmla="*/ 138 w 141"/>
              <a:gd name="T57" fmla="*/ 177 h 228"/>
              <a:gd name="T58" fmla="*/ 135 w 141"/>
              <a:gd name="T59" fmla="*/ 186 h 228"/>
              <a:gd name="T60" fmla="*/ 131 w 141"/>
              <a:gd name="T61" fmla="*/ 192 h 228"/>
              <a:gd name="T62" fmla="*/ 127 w 141"/>
              <a:gd name="T63" fmla="*/ 199 h 228"/>
              <a:gd name="T64" fmla="*/ 121 w 141"/>
              <a:gd name="T65" fmla="*/ 204 h 228"/>
              <a:gd name="T66" fmla="*/ 115 w 141"/>
              <a:gd name="T67" fmla="*/ 209 h 228"/>
              <a:gd name="T68" fmla="*/ 108 w 141"/>
              <a:gd name="T69" fmla="*/ 213 h 228"/>
              <a:gd name="T70" fmla="*/ 100 w 141"/>
              <a:gd name="T71" fmla="*/ 217 h 228"/>
              <a:gd name="T72" fmla="*/ 93 w 141"/>
              <a:gd name="T73" fmla="*/ 220 h 228"/>
              <a:gd name="T74" fmla="*/ 85 w 141"/>
              <a:gd name="T75" fmla="*/ 223 h 228"/>
              <a:gd name="T76" fmla="*/ 76 w 141"/>
              <a:gd name="T77" fmla="*/ 225 h 228"/>
              <a:gd name="T78" fmla="*/ 59 w 141"/>
              <a:gd name="T79" fmla="*/ 227 h 228"/>
              <a:gd name="T80" fmla="*/ 41 w 141"/>
              <a:gd name="T81" fmla="*/ 228 h 2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276" name="Group 282">
            <a:extLst>
              <a:ext uri="{FF2B5EF4-FFF2-40B4-BE49-F238E27FC236}">
                <a16:creationId xmlns:a16="http://schemas.microsoft.com/office/drawing/2014/main" id="{73E63A51-E4AE-4CDE-B69D-AB8411F3253A}"/>
              </a:ext>
            </a:extLst>
          </p:cNvPr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10580334" y="3394959"/>
            <a:ext cx="224588" cy="439738"/>
            <a:chOff x="5062" y="2295"/>
            <a:chExt cx="177" cy="279"/>
          </a:xfrm>
        </p:grpSpPr>
        <p:sp>
          <p:nvSpPr>
            <p:cNvPr id="277" name="Freeform 283">
              <a:extLst>
                <a:ext uri="{FF2B5EF4-FFF2-40B4-BE49-F238E27FC236}">
                  <a16:creationId xmlns:a16="http://schemas.microsoft.com/office/drawing/2014/main" id="{070BAD00-A96D-4DE6-8CA8-AB76EC163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39 w 60"/>
                <a:gd name="T1" fmla="*/ 110 h 110"/>
                <a:gd name="T2" fmla="*/ 42 w 60"/>
                <a:gd name="T3" fmla="*/ 109 h 110"/>
                <a:gd name="T4" fmla="*/ 46 w 60"/>
                <a:gd name="T5" fmla="*/ 106 h 110"/>
                <a:gd name="T6" fmla="*/ 49 w 60"/>
                <a:gd name="T7" fmla="*/ 101 h 110"/>
                <a:gd name="T8" fmla="*/ 52 w 60"/>
                <a:gd name="T9" fmla="*/ 96 h 110"/>
                <a:gd name="T10" fmla="*/ 54 w 60"/>
                <a:gd name="T11" fmla="*/ 90 h 110"/>
                <a:gd name="T12" fmla="*/ 57 w 60"/>
                <a:gd name="T13" fmla="*/ 84 h 110"/>
                <a:gd name="T14" fmla="*/ 59 w 60"/>
                <a:gd name="T15" fmla="*/ 78 h 110"/>
                <a:gd name="T16" fmla="*/ 60 w 60"/>
                <a:gd name="T17" fmla="*/ 73 h 110"/>
                <a:gd name="T18" fmla="*/ 59 w 60"/>
                <a:gd name="T19" fmla="*/ 60 h 110"/>
                <a:gd name="T20" fmla="*/ 58 w 60"/>
                <a:gd name="T21" fmla="*/ 48 h 110"/>
                <a:gd name="T22" fmla="*/ 57 w 60"/>
                <a:gd name="T23" fmla="*/ 38 h 110"/>
                <a:gd name="T24" fmla="*/ 54 w 60"/>
                <a:gd name="T25" fmla="*/ 29 h 110"/>
                <a:gd name="T26" fmla="*/ 51 w 60"/>
                <a:gd name="T27" fmla="*/ 21 h 110"/>
                <a:gd name="T28" fmla="*/ 48 w 60"/>
                <a:gd name="T29" fmla="*/ 13 h 110"/>
                <a:gd name="T30" fmla="*/ 45 w 60"/>
                <a:gd name="T31" fmla="*/ 6 h 110"/>
                <a:gd name="T32" fmla="*/ 39 w 60"/>
                <a:gd name="T33" fmla="*/ 0 h 110"/>
                <a:gd name="T34" fmla="*/ 35 w 60"/>
                <a:gd name="T35" fmla="*/ 3 h 110"/>
                <a:gd name="T36" fmla="*/ 30 w 60"/>
                <a:gd name="T37" fmla="*/ 8 h 110"/>
                <a:gd name="T38" fmla="*/ 27 w 60"/>
                <a:gd name="T39" fmla="*/ 13 h 110"/>
                <a:gd name="T40" fmla="*/ 24 w 60"/>
                <a:gd name="T41" fmla="*/ 18 h 110"/>
                <a:gd name="T42" fmla="*/ 18 w 60"/>
                <a:gd name="T43" fmla="*/ 29 h 110"/>
                <a:gd name="T44" fmla="*/ 15 w 60"/>
                <a:gd name="T45" fmla="*/ 40 h 110"/>
                <a:gd name="T46" fmla="*/ 10 w 60"/>
                <a:gd name="T47" fmla="*/ 51 h 110"/>
                <a:gd name="T48" fmla="*/ 7 w 60"/>
                <a:gd name="T49" fmla="*/ 62 h 110"/>
                <a:gd name="T50" fmla="*/ 6 w 60"/>
                <a:gd name="T51" fmla="*/ 66 h 110"/>
                <a:gd name="T52" fmla="*/ 4 w 60"/>
                <a:gd name="T53" fmla="*/ 69 h 110"/>
                <a:gd name="T54" fmla="*/ 2 w 60"/>
                <a:gd name="T55" fmla="*/ 72 h 110"/>
                <a:gd name="T56" fmla="*/ 0 w 60"/>
                <a:gd name="T57" fmla="*/ 73 h 110"/>
                <a:gd name="T58" fmla="*/ 1 w 60"/>
                <a:gd name="T59" fmla="*/ 78 h 110"/>
                <a:gd name="T60" fmla="*/ 3 w 60"/>
                <a:gd name="T61" fmla="*/ 84 h 110"/>
                <a:gd name="T62" fmla="*/ 7 w 60"/>
                <a:gd name="T63" fmla="*/ 90 h 110"/>
                <a:gd name="T64" fmla="*/ 12 w 60"/>
                <a:gd name="T65" fmla="*/ 96 h 110"/>
                <a:gd name="T66" fmla="*/ 18 w 60"/>
                <a:gd name="T67" fmla="*/ 101 h 110"/>
                <a:gd name="T68" fmla="*/ 25 w 60"/>
                <a:gd name="T69" fmla="*/ 106 h 110"/>
                <a:gd name="T70" fmla="*/ 32 w 60"/>
                <a:gd name="T71" fmla="*/ 109 h 110"/>
                <a:gd name="T72" fmla="*/ 39 w 60"/>
                <a:gd name="T73" fmla="*/ 11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8" name="Freeform 284">
              <a:extLst>
                <a:ext uri="{FF2B5EF4-FFF2-40B4-BE49-F238E27FC236}">
                  <a16:creationId xmlns:a16="http://schemas.microsoft.com/office/drawing/2014/main" id="{C2063B19-9003-4D25-8C7B-59207283C5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13 h 75"/>
                <a:gd name="T2" fmla="*/ 8 w 72"/>
                <a:gd name="T3" fmla="*/ 18 h 75"/>
                <a:gd name="T4" fmla="*/ 15 w 72"/>
                <a:gd name="T5" fmla="*/ 25 h 75"/>
                <a:gd name="T6" fmla="*/ 23 w 72"/>
                <a:gd name="T7" fmla="*/ 32 h 75"/>
                <a:gd name="T8" fmla="*/ 31 w 72"/>
                <a:gd name="T9" fmla="*/ 40 h 75"/>
                <a:gd name="T10" fmla="*/ 37 w 72"/>
                <a:gd name="T11" fmla="*/ 48 h 75"/>
                <a:gd name="T12" fmla="*/ 42 w 72"/>
                <a:gd name="T13" fmla="*/ 57 h 75"/>
                <a:gd name="T14" fmla="*/ 45 w 72"/>
                <a:gd name="T15" fmla="*/ 65 h 75"/>
                <a:gd name="T16" fmla="*/ 46 w 72"/>
                <a:gd name="T17" fmla="*/ 75 h 75"/>
                <a:gd name="T18" fmla="*/ 72 w 72"/>
                <a:gd name="T19" fmla="*/ 75 h 75"/>
                <a:gd name="T20" fmla="*/ 65 w 72"/>
                <a:gd name="T21" fmla="*/ 50 h 75"/>
                <a:gd name="T22" fmla="*/ 60 w 72"/>
                <a:gd name="T23" fmla="*/ 34 h 75"/>
                <a:gd name="T24" fmla="*/ 60 w 72"/>
                <a:gd name="T25" fmla="*/ 27 h 75"/>
                <a:gd name="T26" fmla="*/ 63 w 72"/>
                <a:gd name="T27" fmla="*/ 19 h 75"/>
                <a:gd name="T28" fmla="*/ 67 w 72"/>
                <a:gd name="T29" fmla="*/ 11 h 75"/>
                <a:gd name="T30" fmla="*/ 72 w 72"/>
                <a:gd name="T31" fmla="*/ 1 h 75"/>
                <a:gd name="T32" fmla="*/ 52 w 72"/>
                <a:gd name="T33" fmla="*/ 0 h 75"/>
                <a:gd name="T34" fmla="*/ 32 w 72"/>
                <a:gd name="T35" fmla="*/ 0 h 75"/>
                <a:gd name="T36" fmla="*/ 22 w 72"/>
                <a:gd name="T37" fmla="*/ 1 h 75"/>
                <a:gd name="T38" fmla="*/ 13 w 72"/>
                <a:gd name="T39" fmla="*/ 3 h 75"/>
                <a:gd name="T40" fmla="*/ 9 w 72"/>
                <a:gd name="T41" fmla="*/ 5 h 75"/>
                <a:gd name="T42" fmla="*/ 6 w 72"/>
                <a:gd name="T43" fmla="*/ 7 h 75"/>
                <a:gd name="T44" fmla="*/ 2 w 72"/>
                <a:gd name="T45" fmla="*/ 10 h 75"/>
                <a:gd name="T46" fmla="*/ 0 w 72"/>
                <a:gd name="T47" fmla="*/ 13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79" name="Freeform 285">
              <a:extLst>
                <a:ext uri="{FF2B5EF4-FFF2-40B4-BE49-F238E27FC236}">
                  <a16:creationId xmlns:a16="http://schemas.microsoft.com/office/drawing/2014/main" id="{3BABBE88-4010-4121-A7F0-F8F9F902F82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15 w 15"/>
                <a:gd name="T1" fmla="*/ 49 h 49"/>
                <a:gd name="T2" fmla="*/ 15 w 15"/>
                <a:gd name="T3" fmla="*/ 33 h 49"/>
                <a:gd name="T4" fmla="*/ 15 w 15"/>
                <a:gd name="T5" fmla="*/ 19 h 49"/>
                <a:gd name="T6" fmla="*/ 14 w 15"/>
                <a:gd name="T7" fmla="*/ 13 h 49"/>
                <a:gd name="T8" fmla="*/ 13 w 15"/>
                <a:gd name="T9" fmla="*/ 7 h 49"/>
                <a:gd name="T10" fmla="*/ 11 w 15"/>
                <a:gd name="T11" fmla="*/ 3 h 49"/>
                <a:gd name="T12" fmla="*/ 9 w 15"/>
                <a:gd name="T13" fmla="*/ 0 h 49"/>
                <a:gd name="T14" fmla="*/ 4 w 15"/>
                <a:gd name="T15" fmla="*/ 7 h 49"/>
                <a:gd name="T16" fmla="*/ 2 w 15"/>
                <a:gd name="T17" fmla="*/ 15 h 49"/>
                <a:gd name="T18" fmla="*/ 0 w 15"/>
                <a:gd name="T19" fmla="*/ 23 h 49"/>
                <a:gd name="T20" fmla="*/ 0 w 15"/>
                <a:gd name="T21" fmla="*/ 30 h 49"/>
                <a:gd name="T22" fmla="*/ 1 w 15"/>
                <a:gd name="T23" fmla="*/ 36 h 49"/>
                <a:gd name="T24" fmla="*/ 4 w 15"/>
                <a:gd name="T25" fmla="*/ 42 h 49"/>
                <a:gd name="T26" fmla="*/ 7 w 15"/>
                <a:gd name="T27" fmla="*/ 44 h 49"/>
                <a:gd name="T28" fmla="*/ 9 w 15"/>
                <a:gd name="T29" fmla="*/ 46 h 49"/>
                <a:gd name="T30" fmla="*/ 12 w 15"/>
                <a:gd name="T31" fmla="*/ 48 h 49"/>
                <a:gd name="T32" fmla="*/ 15 w 15"/>
                <a:gd name="T33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0" name="Freeform 286">
              <a:extLst>
                <a:ext uri="{FF2B5EF4-FFF2-40B4-BE49-F238E27FC236}">
                  <a16:creationId xmlns:a16="http://schemas.microsoft.com/office/drawing/2014/main" id="{BAE9C452-6DD3-4757-941B-E94BF81F14F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20 w 47"/>
                <a:gd name="T1" fmla="*/ 6 h 40"/>
                <a:gd name="T2" fmla="*/ 0 w 47"/>
                <a:gd name="T3" fmla="*/ 37 h 40"/>
                <a:gd name="T4" fmla="*/ 6 w 47"/>
                <a:gd name="T5" fmla="*/ 39 h 40"/>
                <a:gd name="T6" fmla="*/ 12 w 47"/>
                <a:gd name="T7" fmla="*/ 40 h 40"/>
                <a:gd name="T8" fmla="*/ 19 w 47"/>
                <a:gd name="T9" fmla="*/ 39 h 40"/>
                <a:gd name="T10" fmla="*/ 26 w 47"/>
                <a:gd name="T11" fmla="*/ 38 h 40"/>
                <a:gd name="T12" fmla="*/ 32 w 47"/>
                <a:gd name="T13" fmla="*/ 36 h 40"/>
                <a:gd name="T14" fmla="*/ 39 w 47"/>
                <a:gd name="T15" fmla="*/ 33 h 40"/>
                <a:gd name="T16" fmla="*/ 43 w 47"/>
                <a:gd name="T17" fmla="*/ 30 h 40"/>
                <a:gd name="T18" fmla="*/ 47 w 47"/>
                <a:gd name="T19" fmla="*/ 25 h 40"/>
                <a:gd name="T20" fmla="*/ 47 w 47"/>
                <a:gd name="T21" fmla="*/ 0 h 40"/>
                <a:gd name="T22" fmla="*/ 41 w 47"/>
                <a:gd name="T23" fmla="*/ 0 h 40"/>
                <a:gd name="T24" fmla="*/ 33 w 47"/>
                <a:gd name="T25" fmla="*/ 1 h 40"/>
                <a:gd name="T26" fmla="*/ 26 w 47"/>
                <a:gd name="T27" fmla="*/ 3 h 40"/>
                <a:gd name="T28" fmla="*/ 20 w 47"/>
                <a:gd name="T29" fmla="*/ 6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1" name="Freeform 287">
              <a:extLst>
                <a:ext uri="{FF2B5EF4-FFF2-40B4-BE49-F238E27FC236}">
                  <a16:creationId xmlns:a16="http://schemas.microsoft.com/office/drawing/2014/main" id="{B6281DD4-B6F9-4882-B7BF-318D96D18A7A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3 w 39"/>
                <a:gd name="T3" fmla="*/ 8 h 31"/>
                <a:gd name="T4" fmla="*/ 6 w 39"/>
                <a:gd name="T5" fmla="*/ 13 h 31"/>
                <a:gd name="T6" fmla="*/ 12 w 39"/>
                <a:gd name="T7" fmla="*/ 19 h 31"/>
                <a:gd name="T8" fmla="*/ 17 w 39"/>
                <a:gd name="T9" fmla="*/ 23 h 31"/>
                <a:gd name="T10" fmla="*/ 23 w 39"/>
                <a:gd name="T11" fmla="*/ 26 h 31"/>
                <a:gd name="T12" fmla="*/ 28 w 39"/>
                <a:gd name="T13" fmla="*/ 29 h 31"/>
                <a:gd name="T14" fmla="*/ 34 w 39"/>
                <a:gd name="T15" fmla="*/ 31 h 31"/>
                <a:gd name="T16" fmla="*/ 39 w 39"/>
                <a:gd name="T17" fmla="*/ 31 h 31"/>
                <a:gd name="T18" fmla="*/ 33 w 39"/>
                <a:gd name="T19" fmla="*/ 22 h 31"/>
                <a:gd name="T20" fmla="*/ 25 w 39"/>
                <a:gd name="T21" fmla="*/ 14 h 31"/>
                <a:gd name="T22" fmla="*/ 16 w 39"/>
                <a:gd name="T23" fmla="*/ 7 h 31"/>
                <a:gd name="T24" fmla="*/ 6 w 39"/>
                <a:gd name="T25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2" name="Freeform 288">
              <a:extLst>
                <a:ext uri="{FF2B5EF4-FFF2-40B4-BE49-F238E27FC236}">
                  <a16:creationId xmlns:a16="http://schemas.microsoft.com/office/drawing/2014/main" id="{D23318E7-6DC7-4DFB-8720-CD73B07040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34 w 34"/>
                <a:gd name="T3" fmla="*/ 19 h 19"/>
                <a:gd name="T4" fmla="*/ 34 w 34"/>
                <a:gd name="T5" fmla="*/ 0 h 19"/>
                <a:gd name="T6" fmla="*/ 24 w 34"/>
                <a:gd name="T7" fmla="*/ 0 h 19"/>
                <a:gd name="T8" fmla="*/ 14 w 34"/>
                <a:gd name="T9" fmla="*/ 0 h 19"/>
                <a:gd name="T10" fmla="*/ 7 w 34"/>
                <a:gd name="T11" fmla="*/ 0 h 19"/>
                <a:gd name="T12" fmla="*/ 0 w 34"/>
                <a:gd name="T13" fmla="*/ 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3" name="Freeform 289">
              <a:extLst>
                <a:ext uri="{FF2B5EF4-FFF2-40B4-BE49-F238E27FC236}">
                  <a16:creationId xmlns:a16="http://schemas.microsoft.com/office/drawing/2014/main" id="{BC85561A-9736-440C-AFFD-97D1EE43B92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19 w 19"/>
                <a:gd name="T3" fmla="*/ 12 h 12"/>
                <a:gd name="T4" fmla="*/ 13 w 19"/>
                <a:gd name="T5" fmla="*/ 6 h 12"/>
                <a:gd name="T6" fmla="*/ 6 w 19"/>
                <a:gd name="T7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4" name="Freeform 290">
              <a:extLst>
                <a:ext uri="{FF2B5EF4-FFF2-40B4-BE49-F238E27FC236}">
                  <a16:creationId xmlns:a16="http://schemas.microsoft.com/office/drawing/2014/main" id="{F4808043-DF36-480A-9D43-B2B679F0C215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113 w 126"/>
                <a:gd name="T1" fmla="*/ 0 h 166"/>
                <a:gd name="T2" fmla="*/ 117 w 126"/>
                <a:gd name="T3" fmla="*/ 5 h 166"/>
                <a:gd name="T4" fmla="*/ 121 w 126"/>
                <a:gd name="T5" fmla="*/ 10 h 166"/>
                <a:gd name="T6" fmla="*/ 124 w 126"/>
                <a:gd name="T7" fmla="*/ 13 h 166"/>
                <a:gd name="T8" fmla="*/ 125 w 126"/>
                <a:gd name="T9" fmla="*/ 17 h 166"/>
                <a:gd name="T10" fmla="*/ 126 w 126"/>
                <a:gd name="T11" fmla="*/ 20 h 166"/>
                <a:gd name="T12" fmla="*/ 126 w 126"/>
                <a:gd name="T13" fmla="*/ 25 h 166"/>
                <a:gd name="T14" fmla="*/ 123 w 126"/>
                <a:gd name="T15" fmla="*/ 32 h 166"/>
                <a:gd name="T16" fmla="*/ 118 w 126"/>
                <a:gd name="T17" fmla="*/ 41 h 166"/>
                <a:gd name="T18" fmla="*/ 113 w 126"/>
                <a:gd name="T19" fmla="*/ 50 h 166"/>
                <a:gd name="T20" fmla="*/ 106 w 126"/>
                <a:gd name="T21" fmla="*/ 61 h 166"/>
                <a:gd name="T22" fmla="*/ 91 w 126"/>
                <a:gd name="T23" fmla="*/ 83 h 166"/>
                <a:gd name="T24" fmla="*/ 72 w 126"/>
                <a:gd name="T25" fmla="*/ 104 h 166"/>
                <a:gd name="T26" fmla="*/ 53 w 126"/>
                <a:gd name="T27" fmla="*/ 126 h 166"/>
                <a:gd name="T28" fmla="*/ 34 w 126"/>
                <a:gd name="T29" fmla="*/ 144 h 166"/>
                <a:gd name="T30" fmla="*/ 25 w 126"/>
                <a:gd name="T31" fmla="*/ 152 h 166"/>
                <a:gd name="T32" fmla="*/ 16 w 126"/>
                <a:gd name="T33" fmla="*/ 158 h 166"/>
                <a:gd name="T34" fmla="*/ 7 w 126"/>
                <a:gd name="T35" fmla="*/ 163 h 166"/>
                <a:gd name="T36" fmla="*/ 0 w 126"/>
                <a:gd name="T37" fmla="*/ 166 h 166"/>
                <a:gd name="T38" fmla="*/ 0 w 126"/>
                <a:gd name="T39" fmla="*/ 160 h 166"/>
                <a:gd name="T40" fmla="*/ 0 w 126"/>
                <a:gd name="T41" fmla="*/ 153 h 166"/>
                <a:gd name="T42" fmla="*/ 0 w 126"/>
                <a:gd name="T43" fmla="*/ 145 h 166"/>
                <a:gd name="T44" fmla="*/ 0 w 126"/>
                <a:gd name="T45" fmla="*/ 136 h 166"/>
                <a:gd name="T46" fmla="*/ 3 w 126"/>
                <a:gd name="T47" fmla="*/ 131 h 166"/>
                <a:gd name="T48" fmla="*/ 6 w 126"/>
                <a:gd name="T49" fmla="*/ 128 h 166"/>
                <a:gd name="T50" fmla="*/ 12 w 126"/>
                <a:gd name="T51" fmla="*/ 124 h 166"/>
                <a:gd name="T52" fmla="*/ 16 w 126"/>
                <a:gd name="T53" fmla="*/ 121 h 166"/>
                <a:gd name="T54" fmla="*/ 26 w 126"/>
                <a:gd name="T55" fmla="*/ 116 h 166"/>
                <a:gd name="T56" fmla="*/ 33 w 126"/>
                <a:gd name="T57" fmla="*/ 110 h 166"/>
                <a:gd name="T58" fmla="*/ 40 w 126"/>
                <a:gd name="T59" fmla="*/ 104 h 166"/>
                <a:gd name="T60" fmla="*/ 48 w 126"/>
                <a:gd name="T61" fmla="*/ 96 h 166"/>
                <a:gd name="T62" fmla="*/ 53 w 126"/>
                <a:gd name="T63" fmla="*/ 89 h 166"/>
                <a:gd name="T64" fmla="*/ 58 w 126"/>
                <a:gd name="T65" fmla="*/ 82 h 166"/>
                <a:gd name="T66" fmla="*/ 67 w 126"/>
                <a:gd name="T67" fmla="*/ 66 h 166"/>
                <a:gd name="T68" fmla="*/ 72 w 126"/>
                <a:gd name="T69" fmla="*/ 50 h 166"/>
                <a:gd name="T70" fmla="*/ 79 w 126"/>
                <a:gd name="T71" fmla="*/ 36 h 166"/>
                <a:gd name="T72" fmla="*/ 87 w 126"/>
                <a:gd name="T73" fmla="*/ 23 h 166"/>
                <a:gd name="T74" fmla="*/ 92 w 126"/>
                <a:gd name="T75" fmla="*/ 16 h 166"/>
                <a:gd name="T76" fmla="*/ 97 w 126"/>
                <a:gd name="T77" fmla="*/ 11 h 166"/>
                <a:gd name="T78" fmla="*/ 104 w 126"/>
                <a:gd name="T79" fmla="*/ 5 h 166"/>
                <a:gd name="T80" fmla="*/ 113 w 126"/>
                <a:gd name="T81" fmla="*/ 0 h 1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5" name="Freeform 291">
              <a:extLst>
                <a:ext uri="{FF2B5EF4-FFF2-40B4-BE49-F238E27FC236}">
                  <a16:creationId xmlns:a16="http://schemas.microsoft.com/office/drawing/2014/main" id="{6F90E8CC-DEE3-42E0-9E68-A6133BFAE4C1}"/>
                </a:ext>
              </a:extLst>
            </p:cNvPr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8 w 259"/>
                <a:gd name="T1" fmla="*/ 182 h 259"/>
                <a:gd name="T2" fmla="*/ 1 w 259"/>
                <a:gd name="T3" fmla="*/ 163 h 259"/>
                <a:gd name="T4" fmla="*/ 0 w 259"/>
                <a:gd name="T5" fmla="*/ 142 h 259"/>
                <a:gd name="T6" fmla="*/ 6 w 259"/>
                <a:gd name="T7" fmla="*/ 130 h 259"/>
                <a:gd name="T8" fmla="*/ 19 w 259"/>
                <a:gd name="T9" fmla="*/ 126 h 259"/>
                <a:gd name="T10" fmla="*/ 34 w 259"/>
                <a:gd name="T11" fmla="*/ 117 h 259"/>
                <a:gd name="T12" fmla="*/ 48 w 259"/>
                <a:gd name="T13" fmla="*/ 100 h 259"/>
                <a:gd name="T14" fmla="*/ 60 w 259"/>
                <a:gd name="T15" fmla="*/ 91 h 259"/>
                <a:gd name="T16" fmla="*/ 68 w 259"/>
                <a:gd name="T17" fmla="*/ 87 h 259"/>
                <a:gd name="T18" fmla="*/ 83 w 259"/>
                <a:gd name="T19" fmla="*/ 87 h 259"/>
                <a:gd name="T20" fmla="*/ 94 w 259"/>
                <a:gd name="T21" fmla="*/ 93 h 259"/>
                <a:gd name="T22" fmla="*/ 101 w 259"/>
                <a:gd name="T23" fmla="*/ 105 h 259"/>
                <a:gd name="T24" fmla="*/ 108 w 259"/>
                <a:gd name="T25" fmla="*/ 110 h 259"/>
                <a:gd name="T26" fmla="*/ 120 w 259"/>
                <a:gd name="T27" fmla="*/ 110 h 259"/>
                <a:gd name="T28" fmla="*/ 135 w 259"/>
                <a:gd name="T29" fmla="*/ 104 h 259"/>
                <a:gd name="T30" fmla="*/ 148 w 259"/>
                <a:gd name="T31" fmla="*/ 93 h 259"/>
                <a:gd name="T32" fmla="*/ 160 w 259"/>
                <a:gd name="T33" fmla="*/ 78 h 259"/>
                <a:gd name="T34" fmla="*/ 174 w 259"/>
                <a:gd name="T35" fmla="*/ 51 h 259"/>
                <a:gd name="T36" fmla="*/ 188 w 259"/>
                <a:gd name="T37" fmla="*/ 16 h 259"/>
                <a:gd name="T38" fmla="*/ 195 w 259"/>
                <a:gd name="T39" fmla="*/ 4 h 259"/>
                <a:gd name="T40" fmla="*/ 202 w 259"/>
                <a:gd name="T41" fmla="*/ 12 h 259"/>
                <a:gd name="T42" fmla="*/ 213 w 259"/>
                <a:gd name="T43" fmla="*/ 18 h 259"/>
                <a:gd name="T44" fmla="*/ 219 w 259"/>
                <a:gd name="T45" fmla="*/ 32 h 259"/>
                <a:gd name="T46" fmla="*/ 219 w 259"/>
                <a:gd name="T47" fmla="*/ 52 h 259"/>
                <a:gd name="T48" fmla="*/ 227 w 259"/>
                <a:gd name="T49" fmla="*/ 61 h 259"/>
                <a:gd name="T50" fmla="*/ 234 w 259"/>
                <a:gd name="T51" fmla="*/ 70 h 259"/>
                <a:gd name="T52" fmla="*/ 234 w 259"/>
                <a:gd name="T53" fmla="*/ 88 h 259"/>
                <a:gd name="T54" fmla="*/ 234 w 259"/>
                <a:gd name="T55" fmla="*/ 104 h 259"/>
                <a:gd name="T56" fmla="*/ 237 w 259"/>
                <a:gd name="T57" fmla="*/ 110 h 259"/>
                <a:gd name="T58" fmla="*/ 243 w 259"/>
                <a:gd name="T59" fmla="*/ 121 h 259"/>
                <a:gd name="T60" fmla="*/ 249 w 259"/>
                <a:gd name="T61" fmla="*/ 137 h 259"/>
                <a:gd name="T62" fmla="*/ 254 w 259"/>
                <a:gd name="T63" fmla="*/ 161 h 259"/>
                <a:gd name="T64" fmla="*/ 245 w 259"/>
                <a:gd name="T65" fmla="*/ 235 h 259"/>
                <a:gd name="T66" fmla="*/ 239 w 259"/>
                <a:gd name="T67" fmla="*/ 222 h 259"/>
                <a:gd name="T68" fmla="*/ 237 w 259"/>
                <a:gd name="T69" fmla="*/ 208 h 259"/>
                <a:gd name="T70" fmla="*/ 239 w 259"/>
                <a:gd name="T71" fmla="*/ 192 h 259"/>
                <a:gd name="T72" fmla="*/ 222 w 259"/>
                <a:gd name="T73" fmla="*/ 188 h 259"/>
                <a:gd name="T74" fmla="*/ 206 w 259"/>
                <a:gd name="T75" fmla="*/ 179 h 259"/>
                <a:gd name="T76" fmla="*/ 194 w 259"/>
                <a:gd name="T77" fmla="*/ 199 h 259"/>
                <a:gd name="T78" fmla="*/ 188 w 259"/>
                <a:gd name="T79" fmla="*/ 219 h 259"/>
                <a:gd name="T80" fmla="*/ 185 w 259"/>
                <a:gd name="T81" fmla="*/ 259 h 259"/>
                <a:gd name="T82" fmla="*/ 124 w 259"/>
                <a:gd name="T83" fmla="*/ 242 h 259"/>
                <a:gd name="T84" fmla="*/ 110 w 259"/>
                <a:gd name="T85" fmla="*/ 220 h 259"/>
                <a:gd name="T86" fmla="*/ 99 w 259"/>
                <a:gd name="T87" fmla="*/ 209 h 259"/>
                <a:gd name="T88" fmla="*/ 97 w 259"/>
                <a:gd name="T89" fmla="*/ 196 h 259"/>
                <a:gd name="T90" fmla="*/ 105 w 259"/>
                <a:gd name="T91" fmla="*/ 186 h 259"/>
                <a:gd name="T92" fmla="*/ 112 w 259"/>
                <a:gd name="T93" fmla="*/ 180 h 259"/>
                <a:gd name="T94" fmla="*/ 117 w 259"/>
                <a:gd name="T95" fmla="*/ 173 h 259"/>
                <a:gd name="T96" fmla="*/ 93 w 259"/>
                <a:gd name="T97" fmla="*/ 154 h 259"/>
                <a:gd name="T98" fmla="*/ 28 w 259"/>
                <a:gd name="T99" fmla="*/ 155 h 259"/>
                <a:gd name="T100" fmla="*/ 20 w 259"/>
                <a:gd name="T101" fmla="*/ 163 h 259"/>
                <a:gd name="T102" fmla="*/ 16 w 259"/>
                <a:gd name="T103" fmla="*/ 175 h 259"/>
                <a:gd name="T104" fmla="*/ 13 w 259"/>
                <a:gd name="T105" fmla="*/ 18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6" name="Freeform 292">
              <a:extLst>
                <a:ext uri="{FF2B5EF4-FFF2-40B4-BE49-F238E27FC236}">
                  <a16:creationId xmlns:a16="http://schemas.microsoft.com/office/drawing/2014/main" id="{D90579BB-2C8E-419C-B14A-A7825A8D163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72 w 72"/>
                <a:gd name="T1" fmla="*/ 43 h 92"/>
                <a:gd name="T2" fmla="*/ 72 w 72"/>
                <a:gd name="T3" fmla="*/ 92 h 92"/>
                <a:gd name="T4" fmla="*/ 65 w 72"/>
                <a:gd name="T5" fmla="*/ 86 h 92"/>
                <a:gd name="T6" fmla="*/ 58 w 72"/>
                <a:gd name="T7" fmla="*/ 81 h 92"/>
                <a:gd name="T8" fmla="*/ 51 w 72"/>
                <a:gd name="T9" fmla="*/ 75 h 92"/>
                <a:gd name="T10" fmla="*/ 46 w 72"/>
                <a:gd name="T11" fmla="*/ 69 h 92"/>
                <a:gd name="T12" fmla="*/ 38 w 72"/>
                <a:gd name="T13" fmla="*/ 58 h 92"/>
                <a:gd name="T14" fmla="*/ 32 w 72"/>
                <a:gd name="T15" fmla="*/ 46 h 92"/>
                <a:gd name="T16" fmla="*/ 25 w 72"/>
                <a:gd name="T17" fmla="*/ 34 h 92"/>
                <a:gd name="T18" fmla="*/ 19 w 72"/>
                <a:gd name="T19" fmla="*/ 23 h 92"/>
                <a:gd name="T20" fmla="*/ 11 w 72"/>
                <a:gd name="T21" fmla="*/ 12 h 92"/>
                <a:gd name="T22" fmla="*/ 0 w 72"/>
                <a:gd name="T23" fmla="*/ 0 h 92"/>
                <a:gd name="T24" fmla="*/ 25 w 72"/>
                <a:gd name="T25" fmla="*/ 12 h 92"/>
                <a:gd name="T26" fmla="*/ 44 w 72"/>
                <a:gd name="T27" fmla="*/ 21 h 92"/>
                <a:gd name="T28" fmla="*/ 51 w 72"/>
                <a:gd name="T29" fmla="*/ 26 h 92"/>
                <a:gd name="T30" fmla="*/ 58 w 72"/>
                <a:gd name="T31" fmla="*/ 31 h 92"/>
                <a:gd name="T32" fmla="*/ 66 w 72"/>
                <a:gd name="T33" fmla="*/ 36 h 92"/>
                <a:gd name="T34" fmla="*/ 72 w 72"/>
                <a:gd name="T35" fmla="*/ 43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7" name="Freeform 293">
              <a:extLst>
                <a:ext uri="{FF2B5EF4-FFF2-40B4-BE49-F238E27FC236}">
                  <a16:creationId xmlns:a16="http://schemas.microsoft.com/office/drawing/2014/main" id="{A3B2FD86-75E0-441A-8230-03DCE67FBB3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6 w 46"/>
                <a:gd name="T1" fmla="*/ 6 h 62"/>
                <a:gd name="T2" fmla="*/ 19 w 46"/>
                <a:gd name="T3" fmla="*/ 5 h 62"/>
                <a:gd name="T4" fmla="*/ 31 w 46"/>
                <a:gd name="T5" fmla="*/ 3 h 62"/>
                <a:gd name="T6" fmla="*/ 39 w 46"/>
                <a:gd name="T7" fmla="*/ 1 h 62"/>
                <a:gd name="T8" fmla="*/ 46 w 46"/>
                <a:gd name="T9" fmla="*/ 0 h 62"/>
                <a:gd name="T10" fmla="*/ 46 w 46"/>
                <a:gd name="T11" fmla="*/ 9 h 62"/>
                <a:gd name="T12" fmla="*/ 46 w 46"/>
                <a:gd name="T13" fmla="*/ 18 h 62"/>
                <a:gd name="T14" fmla="*/ 46 w 46"/>
                <a:gd name="T15" fmla="*/ 27 h 62"/>
                <a:gd name="T16" fmla="*/ 46 w 46"/>
                <a:gd name="T17" fmla="*/ 38 h 62"/>
                <a:gd name="T18" fmla="*/ 45 w 46"/>
                <a:gd name="T19" fmla="*/ 46 h 62"/>
                <a:gd name="T20" fmla="*/ 41 w 46"/>
                <a:gd name="T21" fmla="*/ 54 h 62"/>
                <a:gd name="T22" fmla="*/ 39 w 46"/>
                <a:gd name="T23" fmla="*/ 57 h 62"/>
                <a:gd name="T24" fmla="*/ 37 w 46"/>
                <a:gd name="T25" fmla="*/ 60 h 62"/>
                <a:gd name="T26" fmla="*/ 35 w 46"/>
                <a:gd name="T27" fmla="*/ 61 h 62"/>
                <a:gd name="T28" fmla="*/ 33 w 46"/>
                <a:gd name="T29" fmla="*/ 62 h 62"/>
                <a:gd name="T30" fmla="*/ 27 w 46"/>
                <a:gd name="T31" fmla="*/ 61 h 62"/>
                <a:gd name="T32" fmla="*/ 22 w 46"/>
                <a:gd name="T33" fmla="*/ 60 h 62"/>
                <a:gd name="T34" fmla="*/ 17 w 46"/>
                <a:gd name="T35" fmla="*/ 59 h 62"/>
                <a:gd name="T36" fmla="*/ 14 w 46"/>
                <a:gd name="T37" fmla="*/ 57 h 62"/>
                <a:gd name="T38" fmla="*/ 11 w 46"/>
                <a:gd name="T39" fmla="*/ 54 h 62"/>
                <a:gd name="T40" fmla="*/ 7 w 46"/>
                <a:gd name="T41" fmla="*/ 51 h 62"/>
                <a:gd name="T42" fmla="*/ 5 w 46"/>
                <a:gd name="T43" fmla="*/ 47 h 62"/>
                <a:gd name="T44" fmla="*/ 4 w 46"/>
                <a:gd name="T45" fmla="*/ 44 h 62"/>
                <a:gd name="T46" fmla="*/ 1 w 46"/>
                <a:gd name="T47" fmla="*/ 34 h 62"/>
                <a:gd name="T48" fmla="*/ 0 w 46"/>
                <a:gd name="T49" fmla="*/ 25 h 62"/>
                <a:gd name="T50" fmla="*/ 0 w 46"/>
                <a:gd name="T51" fmla="*/ 16 h 62"/>
                <a:gd name="T52" fmla="*/ 0 w 46"/>
                <a:gd name="T53" fmla="*/ 6 h 62"/>
                <a:gd name="T54" fmla="*/ 6 w 46"/>
                <a:gd name="T55" fmla="*/ 6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8" name="Freeform 294">
              <a:extLst>
                <a:ext uri="{FF2B5EF4-FFF2-40B4-BE49-F238E27FC236}">
                  <a16:creationId xmlns:a16="http://schemas.microsoft.com/office/drawing/2014/main" id="{60092A46-D198-440A-B19C-529CC778A024}"/>
                </a:ext>
              </a:extLst>
            </p:cNvPr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59 w 152"/>
                <a:gd name="T1" fmla="*/ 0 h 296"/>
                <a:gd name="T2" fmla="*/ 66 w 152"/>
                <a:gd name="T3" fmla="*/ 9 h 296"/>
                <a:gd name="T4" fmla="*/ 77 w 152"/>
                <a:gd name="T5" fmla="*/ 17 h 296"/>
                <a:gd name="T6" fmla="*/ 88 w 152"/>
                <a:gd name="T7" fmla="*/ 23 h 296"/>
                <a:gd name="T8" fmla="*/ 99 w 152"/>
                <a:gd name="T9" fmla="*/ 25 h 296"/>
                <a:gd name="T10" fmla="*/ 108 w 152"/>
                <a:gd name="T11" fmla="*/ 21 h 296"/>
                <a:gd name="T12" fmla="*/ 118 w 152"/>
                <a:gd name="T13" fmla="*/ 12 h 296"/>
                <a:gd name="T14" fmla="*/ 122 w 152"/>
                <a:gd name="T15" fmla="*/ 35 h 296"/>
                <a:gd name="T16" fmla="*/ 130 w 152"/>
                <a:gd name="T17" fmla="*/ 62 h 296"/>
                <a:gd name="T18" fmla="*/ 141 w 152"/>
                <a:gd name="T19" fmla="*/ 86 h 296"/>
                <a:gd name="T20" fmla="*/ 147 w 152"/>
                <a:gd name="T21" fmla="*/ 94 h 296"/>
                <a:gd name="T22" fmla="*/ 152 w 152"/>
                <a:gd name="T23" fmla="*/ 99 h 296"/>
                <a:gd name="T24" fmla="*/ 143 w 152"/>
                <a:gd name="T25" fmla="*/ 120 h 296"/>
                <a:gd name="T26" fmla="*/ 129 w 152"/>
                <a:gd name="T27" fmla="*/ 140 h 296"/>
                <a:gd name="T28" fmla="*/ 117 w 152"/>
                <a:gd name="T29" fmla="*/ 157 h 296"/>
                <a:gd name="T30" fmla="*/ 112 w 152"/>
                <a:gd name="T31" fmla="*/ 172 h 296"/>
                <a:gd name="T32" fmla="*/ 115 w 152"/>
                <a:gd name="T33" fmla="*/ 197 h 296"/>
                <a:gd name="T34" fmla="*/ 115 w 152"/>
                <a:gd name="T35" fmla="*/ 205 h 296"/>
                <a:gd name="T36" fmla="*/ 112 w 152"/>
                <a:gd name="T37" fmla="*/ 216 h 296"/>
                <a:gd name="T38" fmla="*/ 126 w 152"/>
                <a:gd name="T39" fmla="*/ 216 h 296"/>
                <a:gd name="T40" fmla="*/ 146 w 152"/>
                <a:gd name="T41" fmla="*/ 216 h 296"/>
                <a:gd name="T42" fmla="*/ 136 w 152"/>
                <a:gd name="T43" fmla="*/ 252 h 296"/>
                <a:gd name="T44" fmla="*/ 136 w 152"/>
                <a:gd name="T45" fmla="*/ 267 h 296"/>
                <a:gd name="T46" fmla="*/ 146 w 152"/>
                <a:gd name="T47" fmla="*/ 283 h 296"/>
                <a:gd name="T48" fmla="*/ 125 w 152"/>
                <a:gd name="T49" fmla="*/ 291 h 296"/>
                <a:gd name="T50" fmla="*/ 105 w 152"/>
                <a:gd name="T51" fmla="*/ 296 h 296"/>
                <a:gd name="T52" fmla="*/ 85 w 152"/>
                <a:gd name="T53" fmla="*/ 294 h 296"/>
                <a:gd name="T54" fmla="*/ 73 w 152"/>
                <a:gd name="T55" fmla="*/ 288 h 296"/>
                <a:gd name="T56" fmla="*/ 67 w 152"/>
                <a:gd name="T57" fmla="*/ 280 h 296"/>
                <a:gd name="T58" fmla="*/ 66 w 152"/>
                <a:gd name="T59" fmla="*/ 271 h 296"/>
                <a:gd name="T60" fmla="*/ 85 w 152"/>
                <a:gd name="T61" fmla="*/ 253 h 296"/>
                <a:gd name="T62" fmla="*/ 69 w 152"/>
                <a:gd name="T63" fmla="*/ 249 h 296"/>
                <a:gd name="T64" fmla="*/ 52 w 152"/>
                <a:gd name="T65" fmla="*/ 242 h 296"/>
                <a:gd name="T66" fmla="*/ 38 w 152"/>
                <a:gd name="T67" fmla="*/ 231 h 296"/>
                <a:gd name="T68" fmla="*/ 25 w 152"/>
                <a:gd name="T69" fmla="*/ 219 h 296"/>
                <a:gd name="T70" fmla="*/ 14 w 152"/>
                <a:gd name="T71" fmla="*/ 205 h 296"/>
                <a:gd name="T72" fmla="*/ 6 w 152"/>
                <a:gd name="T73" fmla="*/ 190 h 296"/>
                <a:gd name="T74" fmla="*/ 1 w 152"/>
                <a:gd name="T75" fmla="*/ 172 h 296"/>
                <a:gd name="T76" fmla="*/ 0 w 152"/>
                <a:gd name="T77" fmla="*/ 154 h 296"/>
                <a:gd name="T78" fmla="*/ 0 w 152"/>
                <a:gd name="T79" fmla="*/ 130 h 296"/>
                <a:gd name="T80" fmla="*/ 27 w 152"/>
                <a:gd name="T81" fmla="*/ 106 h 296"/>
                <a:gd name="T82" fmla="*/ 32 w 152"/>
                <a:gd name="T83" fmla="*/ 46 h 296"/>
                <a:gd name="T84" fmla="*/ 31 w 152"/>
                <a:gd name="T85" fmla="*/ 18 h 296"/>
                <a:gd name="T86" fmla="*/ 28 w 152"/>
                <a:gd name="T87" fmla="*/ 4 h 2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89" name="Freeform 295">
              <a:extLst>
                <a:ext uri="{FF2B5EF4-FFF2-40B4-BE49-F238E27FC236}">
                  <a16:creationId xmlns:a16="http://schemas.microsoft.com/office/drawing/2014/main" id="{D901BA46-89D1-44D9-B0FD-257DB48DBAD5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26 w 26"/>
                <a:gd name="T1" fmla="*/ 38 h 38"/>
                <a:gd name="T2" fmla="*/ 26 w 26"/>
                <a:gd name="T3" fmla="*/ 0 h 38"/>
                <a:gd name="T4" fmla="*/ 21 w 26"/>
                <a:gd name="T5" fmla="*/ 1 h 38"/>
                <a:gd name="T6" fmla="*/ 13 w 26"/>
                <a:gd name="T7" fmla="*/ 4 h 38"/>
                <a:gd name="T8" fmla="*/ 6 w 26"/>
                <a:gd name="T9" fmla="*/ 8 h 38"/>
                <a:gd name="T10" fmla="*/ 0 w 26"/>
                <a:gd name="T11" fmla="*/ 13 h 38"/>
                <a:gd name="T12" fmla="*/ 18 w 26"/>
                <a:gd name="T13" fmla="*/ 30 h 38"/>
                <a:gd name="T14" fmla="*/ 26 w 26"/>
                <a:gd name="T15" fmla="*/ 38 h 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0" name="Freeform 296">
              <a:extLst>
                <a:ext uri="{FF2B5EF4-FFF2-40B4-BE49-F238E27FC236}">
                  <a16:creationId xmlns:a16="http://schemas.microsoft.com/office/drawing/2014/main" id="{85355A38-A160-4AFE-8694-3F9B07D16E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18 h 31"/>
                <a:gd name="T2" fmla="*/ 8 w 34"/>
                <a:gd name="T3" fmla="*/ 22 h 31"/>
                <a:gd name="T4" fmla="*/ 17 w 34"/>
                <a:gd name="T5" fmla="*/ 26 h 31"/>
                <a:gd name="T6" fmla="*/ 27 w 34"/>
                <a:gd name="T7" fmla="*/ 30 h 31"/>
                <a:gd name="T8" fmla="*/ 34 w 34"/>
                <a:gd name="T9" fmla="*/ 31 h 31"/>
                <a:gd name="T10" fmla="*/ 33 w 34"/>
                <a:gd name="T11" fmla="*/ 24 h 31"/>
                <a:gd name="T12" fmla="*/ 30 w 34"/>
                <a:gd name="T13" fmla="*/ 15 h 31"/>
                <a:gd name="T14" fmla="*/ 26 w 34"/>
                <a:gd name="T15" fmla="*/ 6 h 31"/>
                <a:gd name="T16" fmla="*/ 20 w 34"/>
                <a:gd name="T17" fmla="*/ 0 h 31"/>
                <a:gd name="T18" fmla="*/ 16 w 34"/>
                <a:gd name="T19" fmla="*/ 5 h 31"/>
                <a:gd name="T20" fmla="*/ 10 w 34"/>
                <a:gd name="T21" fmla="*/ 11 h 31"/>
                <a:gd name="T22" fmla="*/ 8 w 34"/>
                <a:gd name="T23" fmla="*/ 14 h 31"/>
                <a:gd name="T24" fmla="*/ 6 w 34"/>
                <a:gd name="T25" fmla="*/ 16 h 31"/>
                <a:gd name="T26" fmla="*/ 4 w 34"/>
                <a:gd name="T27" fmla="*/ 18 h 31"/>
                <a:gd name="T28" fmla="*/ 0 w 34"/>
                <a:gd name="T29" fmla="*/ 18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1" name="Freeform 297">
              <a:extLst>
                <a:ext uri="{FF2B5EF4-FFF2-40B4-BE49-F238E27FC236}">
                  <a16:creationId xmlns:a16="http://schemas.microsoft.com/office/drawing/2014/main" id="{469A9592-ECF1-4B10-B7C1-D786D901AEF2}"/>
                </a:ext>
              </a:extLst>
            </p:cNvPr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6 h 37"/>
                <a:gd name="T2" fmla="*/ 0 w 20"/>
                <a:gd name="T3" fmla="*/ 37 h 37"/>
                <a:gd name="T4" fmla="*/ 7 w 20"/>
                <a:gd name="T5" fmla="*/ 33 h 37"/>
                <a:gd name="T6" fmla="*/ 20 w 20"/>
                <a:gd name="T7" fmla="*/ 30 h 37"/>
                <a:gd name="T8" fmla="*/ 20 w 20"/>
                <a:gd name="T9" fmla="*/ 0 h 37"/>
                <a:gd name="T10" fmla="*/ 0 w 20"/>
                <a:gd name="T11" fmla="*/ 6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2" name="Line 298">
              <a:extLst>
                <a:ext uri="{FF2B5EF4-FFF2-40B4-BE49-F238E27FC236}">
                  <a16:creationId xmlns:a16="http://schemas.microsoft.com/office/drawing/2014/main" id="{BA0054E9-DD1D-4934-A475-AEB66E899507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3" name="Freeform 299">
              <a:extLst>
                <a:ext uri="{FF2B5EF4-FFF2-40B4-BE49-F238E27FC236}">
                  <a16:creationId xmlns:a16="http://schemas.microsoft.com/office/drawing/2014/main" id="{72281026-D220-4FBA-8C5C-57F877956A4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18 h 18"/>
                <a:gd name="T2" fmla="*/ 1 w 13"/>
                <a:gd name="T3" fmla="*/ 13 h 18"/>
                <a:gd name="T4" fmla="*/ 3 w 13"/>
                <a:gd name="T5" fmla="*/ 9 h 18"/>
                <a:gd name="T6" fmla="*/ 7 w 13"/>
                <a:gd name="T7" fmla="*/ 4 h 18"/>
                <a:gd name="T8" fmla="*/ 13 w 13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4" name="Line 300">
              <a:extLst>
                <a:ext uri="{FF2B5EF4-FFF2-40B4-BE49-F238E27FC236}">
                  <a16:creationId xmlns:a16="http://schemas.microsoft.com/office/drawing/2014/main" id="{6C5A179F-C2CD-443F-8A58-3890B68E1B37}"/>
                </a:ext>
              </a:extLst>
            </p:cNvPr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5" name="Freeform 301">
              <a:extLst>
                <a:ext uri="{FF2B5EF4-FFF2-40B4-BE49-F238E27FC236}">
                  <a16:creationId xmlns:a16="http://schemas.microsoft.com/office/drawing/2014/main" id="{1DD48FC9-CE8E-4A27-B64C-1EB4A6DCCACE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20 w 27"/>
                <a:gd name="T3" fmla="*/ 31 h 31"/>
                <a:gd name="T4" fmla="*/ 27 w 27"/>
                <a:gd name="T5" fmla="*/ 13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6" name="Freeform 302">
              <a:extLst>
                <a:ext uri="{FF2B5EF4-FFF2-40B4-BE49-F238E27FC236}">
                  <a16:creationId xmlns:a16="http://schemas.microsoft.com/office/drawing/2014/main" id="{EAF49A4D-E3B9-48E6-9D49-3472D7D14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20 w 20"/>
                <a:gd name="T1" fmla="*/ 10 w 20"/>
                <a:gd name="T2" fmla="*/ 0 w 20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20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7" name="Freeform 303">
              <a:extLst>
                <a:ext uri="{FF2B5EF4-FFF2-40B4-BE49-F238E27FC236}">
                  <a16:creationId xmlns:a16="http://schemas.microsoft.com/office/drawing/2014/main" id="{E164EBC5-46E6-487F-9574-EA70D7680FB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13 h 13"/>
                <a:gd name="T2" fmla="*/ 6 w 34"/>
                <a:gd name="T3" fmla="*/ 13 h 13"/>
                <a:gd name="T4" fmla="*/ 10 w 34"/>
                <a:gd name="T5" fmla="*/ 11 h 13"/>
                <a:gd name="T6" fmla="*/ 16 w 34"/>
                <a:gd name="T7" fmla="*/ 10 h 13"/>
                <a:gd name="T8" fmla="*/ 20 w 34"/>
                <a:gd name="T9" fmla="*/ 7 h 13"/>
                <a:gd name="T10" fmla="*/ 28 w 34"/>
                <a:gd name="T11" fmla="*/ 2 h 13"/>
                <a:gd name="T12" fmla="*/ 34 w 34"/>
                <a:gd name="T13" fmla="*/ 0 h 13"/>
                <a:gd name="T14" fmla="*/ 25 w 34"/>
                <a:gd name="T15" fmla="*/ 0 h 13"/>
                <a:gd name="T16" fmla="*/ 15 w 34"/>
                <a:gd name="T17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8" name="Freeform 304">
              <a:extLst>
                <a:ext uri="{FF2B5EF4-FFF2-40B4-BE49-F238E27FC236}">
                  <a16:creationId xmlns:a16="http://schemas.microsoft.com/office/drawing/2014/main" id="{152BE535-869E-42AF-997C-BFFA5A5CB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34 w 34"/>
                <a:gd name="T1" fmla="*/ 18 h 18"/>
                <a:gd name="T2" fmla="*/ 34 w 34"/>
                <a:gd name="T3" fmla="*/ 0 h 18"/>
                <a:gd name="T4" fmla="*/ 28 w 34"/>
                <a:gd name="T5" fmla="*/ 0 h 18"/>
                <a:gd name="T6" fmla="*/ 20 w 34"/>
                <a:gd name="T7" fmla="*/ 0 h 18"/>
                <a:gd name="T8" fmla="*/ 10 w 34"/>
                <a:gd name="T9" fmla="*/ 0 h 18"/>
                <a:gd name="T10" fmla="*/ 0 w 34"/>
                <a:gd name="T11" fmla="*/ 0 h 18"/>
                <a:gd name="T12" fmla="*/ 34 w 34"/>
                <a:gd name="T13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299" name="Freeform 305">
              <a:extLst>
                <a:ext uri="{FF2B5EF4-FFF2-40B4-BE49-F238E27FC236}">
                  <a16:creationId xmlns:a16="http://schemas.microsoft.com/office/drawing/2014/main" id="{8B7B010B-1777-440A-AE21-748D1063672C}"/>
                </a:ext>
              </a:extLst>
            </p:cNvPr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53 w 59"/>
                <a:gd name="T1" fmla="*/ 25 h 25"/>
                <a:gd name="T2" fmla="*/ 56 w 59"/>
                <a:gd name="T3" fmla="*/ 12 h 25"/>
                <a:gd name="T4" fmla="*/ 59 w 59"/>
                <a:gd name="T5" fmla="*/ 0 h 25"/>
                <a:gd name="T6" fmla="*/ 44 w 59"/>
                <a:gd name="T7" fmla="*/ 0 h 25"/>
                <a:gd name="T8" fmla="*/ 27 w 59"/>
                <a:gd name="T9" fmla="*/ 0 h 25"/>
                <a:gd name="T10" fmla="*/ 19 w 59"/>
                <a:gd name="T11" fmla="*/ 1 h 25"/>
                <a:gd name="T12" fmla="*/ 12 w 59"/>
                <a:gd name="T13" fmla="*/ 2 h 25"/>
                <a:gd name="T14" fmla="*/ 5 w 59"/>
                <a:gd name="T15" fmla="*/ 4 h 25"/>
                <a:gd name="T16" fmla="*/ 0 w 59"/>
                <a:gd name="T17" fmla="*/ 6 h 25"/>
                <a:gd name="T18" fmla="*/ 13 w 59"/>
                <a:gd name="T19" fmla="*/ 14 h 25"/>
                <a:gd name="T20" fmla="*/ 26 w 59"/>
                <a:gd name="T21" fmla="*/ 20 h 25"/>
                <a:gd name="T22" fmla="*/ 33 w 59"/>
                <a:gd name="T23" fmla="*/ 22 h 25"/>
                <a:gd name="T24" fmla="*/ 38 w 59"/>
                <a:gd name="T25" fmla="*/ 24 h 25"/>
                <a:gd name="T26" fmla="*/ 46 w 59"/>
                <a:gd name="T27" fmla="*/ 25 h 25"/>
                <a:gd name="T28" fmla="*/ 53 w 59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00" name="Line 306">
              <a:extLst>
                <a:ext uri="{FF2B5EF4-FFF2-40B4-BE49-F238E27FC236}">
                  <a16:creationId xmlns:a16="http://schemas.microsoft.com/office/drawing/2014/main" id="{850599F7-D179-41BA-A803-A8F466C56F24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01" name="Freeform 307">
            <a:extLst>
              <a:ext uri="{FF2B5EF4-FFF2-40B4-BE49-F238E27FC236}">
                <a16:creationId xmlns:a16="http://schemas.microsoft.com/office/drawing/2014/main" id="{A3CECEE4-FE1C-4D10-9AA3-2F23937F61C8}"/>
              </a:ext>
            </a:extLst>
          </p:cNvPr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10911869" y="4214110"/>
            <a:ext cx="13751" cy="55563"/>
          </a:xfrm>
          <a:custGeom>
            <a:avLst/>
            <a:gdLst>
              <a:gd name="T0" fmla="*/ 0 w 33"/>
              <a:gd name="T1" fmla="*/ 43 h 43"/>
              <a:gd name="T2" fmla="*/ 1 w 33"/>
              <a:gd name="T3" fmla="*/ 34 h 43"/>
              <a:gd name="T4" fmla="*/ 2 w 33"/>
              <a:gd name="T5" fmla="*/ 27 h 43"/>
              <a:gd name="T6" fmla="*/ 5 w 33"/>
              <a:gd name="T7" fmla="*/ 21 h 43"/>
              <a:gd name="T8" fmla="*/ 9 w 33"/>
              <a:gd name="T9" fmla="*/ 15 h 43"/>
              <a:gd name="T10" fmla="*/ 14 w 33"/>
              <a:gd name="T11" fmla="*/ 9 h 43"/>
              <a:gd name="T12" fmla="*/ 20 w 33"/>
              <a:gd name="T13" fmla="*/ 5 h 43"/>
              <a:gd name="T14" fmla="*/ 26 w 33"/>
              <a:gd name="T15" fmla="*/ 2 h 43"/>
              <a:gd name="T16" fmla="*/ 33 w 33"/>
              <a:gd name="T17" fmla="*/ 0 h 43"/>
              <a:gd name="T18" fmla="*/ 33 w 33"/>
              <a:gd name="T19" fmla="*/ 25 h 43"/>
              <a:gd name="T20" fmla="*/ 23 w 33"/>
              <a:gd name="T21" fmla="*/ 27 h 43"/>
              <a:gd name="T22" fmla="*/ 18 w 33"/>
              <a:gd name="T23" fmla="*/ 29 h 43"/>
              <a:gd name="T24" fmla="*/ 16 w 33"/>
              <a:gd name="T25" fmla="*/ 32 h 43"/>
              <a:gd name="T26" fmla="*/ 16 w 33"/>
              <a:gd name="T27" fmla="*/ 34 h 43"/>
              <a:gd name="T28" fmla="*/ 16 w 33"/>
              <a:gd name="T29" fmla="*/ 36 h 43"/>
              <a:gd name="T30" fmla="*/ 14 w 33"/>
              <a:gd name="T31" fmla="*/ 38 h 43"/>
              <a:gd name="T32" fmla="*/ 10 w 33"/>
              <a:gd name="T33" fmla="*/ 41 h 43"/>
              <a:gd name="T34" fmla="*/ 0 w 33"/>
              <a:gd name="T35" fmla="*/ 43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2" name="Freeform 308">
            <a:extLst>
              <a:ext uri="{FF2B5EF4-FFF2-40B4-BE49-F238E27FC236}">
                <a16:creationId xmlns:a16="http://schemas.microsoft.com/office/drawing/2014/main" id="{F739A4ED-56B3-4DBE-A17F-E711480CF3E2}"/>
              </a:ext>
            </a:extLst>
          </p:cNvPr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10985205" y="4153784"/>
            <a:ext cx="21389" cy="58738"/>
          </a:xfrm>
          <a:custGeom>
            <a:avLst/>
            <a:gdLst>
              <a:gd name="T0" fmla="*/ 0 w 54"/>
              <a:gd name="T1" fmla="*/ 55 h 92"/>
              <a:gd name="T2" fmla="*/ 1 w 54"/>
              <a:gd name="T3" fmla="*/ 51 h 92"/>
              <a:gd name="T4" fmla="*/ 2 w 54"/>
              <a:gd name="T5" fmla="*/ 46 h 92"/>
              <a:gd name="T6" fmla="*/ 3 w 54"/>
              <a:gd name="T7" fmla="*/ 42 h 92"/>
              <a:gd name="T8" fmla="*/ 6 w 54"/>
              <a:gd name="T9" fmla="*/ 37 h 92"/>
              <a:gd name="T10" fmla="*/ 11 w 54"/>
              <a:gd name="T11" fmla="*/ 29 h 92"/>
              <a:gd name="T12" fmla="*/ 18 w 54"/>
              <a:gd name="T13" fmla="*/ 21 h 92"/>
              <a:gd name="T14" fmla="*/ 31 w 54"/>
              <a:gd name="T15" fmla="*/ 7 h 92"/>
              <a:gd name="T16" fmla="*/ 41 w 54"/>
              <a:gd name="T17" fmla="*/ 0 h 92"/>
              <a:gd name="T18" fmla="*/ 54 w 54"/>
              <a:gd name="T19" fmla="*/ 12 h 92"/>
              <a:gd name="T20" fmla="*/ 51 w 54"/>
              <a:gd name="T21" fmla="*/ 21 h 92"/>
              <a:gd name="T22" fmla="*/ 47 w 54"/>
              <a:gd name="T23" fmla="*/ 29 h 92"/>
              <a:gd name="T24" fmla="*/ 44 w 54"/>
              <a:gd name="T25" fmla="*/ 35 h 92"/>
              <a:gd name="T26" fmla="*/ 41 w 54"/>
              <a:gd name="T27" fmla="*/ 41 h 92"/>
              <a:gd name="T28" fmla="*/ 33 w 54"/>
              <a:gd name="T29" fmla="*/ 49 h 92"/>
              <a:gd name="T30" fmla="*/ 28 w 54"/>
              <a:gd name="T31" fmla="*/ 55 h 92"/>
              <a:gd name="T32" fmla="*/ 26 w 54"/>
              <a:gd name="T33" fmla="*/ 64 h 92"/>
              <a:gd name="T34" fmla="*/ 26 w 54"/>
              <a:gd name="T35" fmla="*/ 74 h 92"/>
              <a:gd name="T36" fmla="*/ 24 w 54"/>
              <a:gd name="T37" fmla="*/ 83 h 92"/>
              <a:gd name="T38" fmla="*/ 20 w 54"/>
              <a:gd name="T39" fmla="*/ 92 h 92"/>
              <a:gd name="T40" fmla="*/ 14 w 54"/>
              <a:gd name="T41" fmla="*/ 83 h 92"/>
              <a:gd name="T42" fmla="*/ 8 w 54"/>
              <a:gd name="T43" fmla="*/ 74 h 92"/>
              <a:gd name="T44" fmla="*/ 5 w 54"/>
              <a:gd name="T45" fmla="*/ 70 h 92"/>
              <a:gd name="T46" fmla="*/ 2 w 54"/>
              <a:gd name="T47" fmla="*/ 64 h 92"/>
              <a:gd name="T48" fmla="*/ 1 w 54"/>
              <a:gd name="T49" fmla="*/ 60 h 92"/>
              <a:gd name="T50" fmla="*/ 0 w 54"/>
              <a:gd name="T51" fmla="*/ 55 h 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3" name="Freeform 309">
            <a:extLst>
              <a:ext uri="{FF2B5EF4-FFF2-40B4-BE49-F238E27FC236}">
                <a16:creationId xmlns:a16="http://schemas.microsoft.com/office/drawing/2014/main" id="{045375D9-9EB8-4ACC-8841-4451EE13DD4C}"/>
              </a:ext>
            </a:extLst>
          </p:cNvPr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11031039" y="4033134"/>
            <a:ext cx="22918" cy="57150"/>
          </a:xfrm>
          <a:custGeom>
            <a:avLst/>
            <a:gdLst>
              <a:gd name="T0" fmla="*/ 0 w 60"/>
              <a:gd name="T1" fmla="*/ 0 h 18"/>
              <a:gd name="T2" fmla="*/ 19 w 60"/>
              <a:gd name="T3" fmla="*/ 4 h 18"/>
              <a:gd name="T4" fmla="*/ 37 w 60"/>
              <a:gd name="T5" fmla="*/ 9 h 18"/>
              <a:gd name="T6" fmla="*/ 45 w 60"/>
              <a:gd name="T7" fmla="*/ 11 h 18"/>
              <a:gd name="T8" fmla="*/ 51 w 60"/>
              <a:gd name="T9" fmla="*/ 13 h 18"/>
              <a:gd name="T10" fmla="*/ 56 w 60"/>
              <a:gd name="T11" fmla="*/ 16 h 18"/>
              <a:gd name="T12" fmla="*/ 60 w 60"/>
              <a:gd name="T13" fmla="*/ 18 h 18"/>
              <a:gd name="T14" fmla="*/ 38 w 60"/>
              <a:gd name="T15" fmla="*/ 18 h 18"/>
              <a:gd name="T16" fmla="*/ 23 w 60"/>
              <a:gd name="T17" fmla="*/ 18 h 18"/>
              <a:gd name="T18" fmla="*/ 10 w 60"/>
              <a:gd name="T19" fmla="*/ 18 h 18"/>
              <a:gd name="T20" fmla="*/ 0 w 60"/>
              <a:gd name="T21" fmla="*/ 18 h 18"/>
              <a:gd name="T22" fmla="*/ 0 w 60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4" name="Freeform 310">
            <a:extLst>
              <a:ext uri="{FF2B5EF4-FFF2-40B4-BE49-F238E27FC236}">
                <a16:creationId xmlns:a16="http://schemas.microsoft.com/office/drawing/2014/main" id="{46A061E2-DF67-43C2-A207-C2FA083ED105}"/>
              </a:ext>
            </a:extLst>
          </p:cNvPr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11015760" y="4002972"/>
            <a:ext cx="24445" cy="57150"/>
          </a:xfrm>
          <a:custGeom>
            <a:avLst/>
            <a:gdLst>
              <a:gd name="T0" fmla="*/ 0 w 66"/>
              <a:gd name="T1" fmla="*/ 18 h 18"/>
              <a:gd name="T2" fmla="*/ 66 w 66"/>
              <a:gd name="T3" fmla="*/ 18 h 18"/>
              <a:gd name="T4" fmla="*/ 52 w 66"/>
              <a:gd name="T5" fmla="*/ 13 h 18"/>
              <a:gd name="T6" fmla="*/ 40 w 66"/>
              <a:gd name="T7" fmla="*/ 7 h 18"/>
              <a:gd name="T8" fmla="*/ 35 w 66"/>
              <a:gd name="T9" fmla="*/ 4 h 18"/>
              <a:gd name="T10" fmla="*/ 29 w 66"/>
              <a:gd name="T11" fmla="*/ 2 h 18"/>
              <a:gd name="T12" fmla="*/ 25 w 66"/>
              <a:gd name="T13" fmla="*/ 1 h 18"/>
              <a:gd name="T14" fmla="*/ 19 w 66"/>
              <a:gd name="T15" fmla="*/ 0 h 18"/>
              <a:gd name="T16" fmla="*/ 0 w 66"/>
              <a:gd name="T17" fmla="*/ 18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5" name="Freeform 311">
            <a:extLst>
              <a:ext uri="{FF2B5EF4-FFF2-40B4-BE49-F238E27FC236}">
                <a16:creationId xmlns:a16="http://schemas.microsoft.com/office/drawing/2014/main" id="{C9861A11-1F47-4F85-A957-BEFFD287B594}"/>
              </a:ext>
            </a:extLst>
          </p:cNvPr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10847701" y="3899784"/>
            <a:ext cx="7640" cy="57150"/>
          </a:xfrm>
          <a:custGeom>
            <a:avLst/>
            <a:gdLst>
              <a:gd name="T0" fmla="*/ 0 w 17"/>
              <a:gd name="T1" fmla="*/ 36 h 42"/>
              <a:gd name="T2" fmla="*/ 13 w 17"/>
              <a:gd name="T3" fmla="*/ 42 h 42"/>
              <a:gd name="T4" fmla="*/ 14 w 17"/>
              <a:gd name="T5" fmla="*/ 33 h 42"/>
              <a:gd name="T6" fmla="*/ 16 w 17"/>
              <a:gd name="T7" fmla="*/ 23 h 42"/>
              <a:gd name="T8" fmla="*/ 17 w 17"/>
              <a:gd name="T9" fmla="*/ 18 h 42"/>
              <a:gd name="T10" fmla="*/ 16 w 17"/>
              <a:gd name="T11" fmla="*/ 12 h 42"/>
              <a:gd name="T12" fmla="*/ 16 w 17"/>
              <a:gd name="T13" fmla="*/ 6 h 42"/>
              <a:gd name="T14" fmla="*/ 13 w 17"/>
              <a:gd name="T15" fmla="*/ 0 h 42"/>
              <a:gd name="T16" fmla="*/ 0 w 17"/>
              <a:gd name="T17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</a:cxnLst>
            <a:rect l="0" t="0" r="r" b="b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6" name="Freeform 312">
            <a:extLst>
              <a:ext uri="{FF2B5EF4-FFF2-40B4-BE49-F238E27FC236}">
                <a16:creationId xmlns:a16="http://schemas.microsoft.com/office/drawing/2014/main" id="{53B1C9F1-24EC-4E06-B766-CC83774533E2}"/>
              </a:ext>
            </a:extLst>
          </p:cNvPr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10777422" y="4034723"/>
            <a:ext cx="29029" cy="58737"/>
          </a:xfrm>
          <a:custGeom>
            <a:avLst/>
            <a:gdLst>
              <a:gd name="T0" fmla="*/ 6 w 72"/>
              <a:gd name="T1" fmla="*/ 29 h 29"/>
              <a:gd name="T2" fmla="*/ 15 w 72"/>
              <a:gd name="T3" fmla="*/ 26 h 29"/>
              <a:gd name="T4" fmla="*/ 24 w 72"/>
              <a:gd name="T5" fmla="*/ 24 h 29"/>
              <a:gd name="T6" fmla="*/ 32 w 72"/>
              <a:gd name="T7" fmla="*/ 24 h 29"/>
              <a:gd name="T8" fmla="*/ 39 w 72"/>
              <a:gd name="T9" fmla="*/ 24 h 29"/>
              <a:gd name="T10" fmla="*/ 55 w 72"/>
              <a:gd name="T11" fmla="*/ 27 h 29"/>
              <a:gd name="T12" fmla="*/ 72 w 72"/>
              <a:gd name="T13" fmla="*/ 29 h 29"/>
              <a:gd name="T14" fmla="*/ 72 w 72"/>
              <a:gd name="T15" fmla="*/ 4 h 29"/>
              <a:gd name="T16" fmla="*/ 58 w 72"/>
              <a:gd name="T17" fmla="*/ 1 h 29"/>
              <a:gd name="T18" fmla="*/ 47 w 72"/>
              <a:gd name="T19" fmla="*/ 0 h 29"/>
              <a:gd name="T20" fmla="*/ 39 w 72"/>
              <a:gd name="T21" fmla="*/ 0 h 29"/>
              <a:gd name="T22" fmla="*/ 34 w 72"/>
              <a:gd name="T23" fmla="*/ 2 h 29"/>
              <a:gd name="T24" fmla="*/ 27 w 72"/>
              <a:gd name="T25" fmla="*/ 3 h 29"/>
              <a:gd name="T26" fmla="*/ 21 w 72"/>
              <a:gd name="T27" fmla="*/ 5 h 29"/>
              <a:gd name="T28" fmla="*/ 12 w 72"/>
              <a:gd name="T29" fmla="*/ 5 h 29"/>
              <a:gd name="T30" fmla="*/ 0 w 72"/>
              <a:gd name="T31" fmla="*/ 4 h 29"/>
              <a:gd name="T32" fmla="*/ 3 w 72"/>
              <a:gd name="T33" fmla="*/ 16 h 29"/>
              <a:gd name="T34" fmla="*/ 6 w 72"/>
              <a:gd name="T35" fmla="*/ 29 h 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</a:cxnLst>
            <a:rect l="0" t="0" r="r" b="b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07" name="Freeform 313">
            <a:extLst>
              <a:ext uri="{FF2B5EF4-FFF2-40B4-BE49-F238E27FC236}">
                <a16:creationId xmlns:a16="http://schemas.microsoft.com/office/drawing/2014/main" id="{C6C207E5-70C1-434D-8619-7B8A23F231B7}"/>
              </a:ext>
            </a:extLst>
          </p:cNvPr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10785061" y="4220460"/>
            <a:ext cx="18334" cy="55563"/>
          </a:xfrm>
          <a:custGeom>
            <a:avLst/>
            <a:gdLst>
              <a:gd name="T0" fmla="*/ 0 w 46"/>
              <a:gd name="T1" fmla="*/ 0 h 37"/>
              <a:gd name="T2" fmla="*/ 9 w 46"/>
              <a:gd name="T3" fmla="*/ 9 h 37"/>
              <a:gd name="T4" fmla="*/ 20 w 46"/>
              <a:gd name="T5" fmla="*/ 15 h 37"/>
              <a:gd name="T6" fmla="*/ 31 w 46"/>
              <a:gd name="T7" fmla="*/ 20 h 37"/>
              <a:gd name="T8" fmla="*/ 46 w 46"/>
              <a:gd name="T9" fmla="*/ 25 h 37"/>
              <a:gd name="T10" fmla="*/ 37 w 46"/>
              <a:gd name="T11" fmla="*/ 29 h 37"/>
              <a:gd name="T12" fmla="*/ 29 w 46"/>
              <a:gd name="T13" fmla="*/ 33 h 37"/>
              <a:gd name="T14" fmla="*/ 21 w 46"/>
              <a:gd name="T15" fmla="*/ 36 h 37"/>
              <a:gd name="T16" fmla="*/ 13 w 46"/>
              <a:gd name="T17" fmla="*/ 37 h 37"/>
              <a:gd name="T18" fmla="*/ 9 w 46"/>
              <a:gd name="T19" fmla="*/ 36 h 37"/>
              <a:gd name="T20" fmla="*/ 7 w 46"/>
              <a:gd name="T21" fmla="*/ 33 h 37"/>
              <a:gd name="T22" fmla="*/ 5 w 46"/>
              <a:gd name="T23" fmla="*/ 29 h 37"/>
              <a:gd name="T24" fmla="*/ 3 w 46"/>
              <a:gd name="T25" fmla="*/ 23 h 37"/>
              <a:gd name="T26" fmla="*/ 1 w 46"/>
              <a:gd name="T27" fmla="*/ 12 h 37"/>
              <a:gd name="T28" fmla="*/ 0 w 46"/>
              <a:gd name="T29" fmla="*/ 0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8" name="Freeform 314">
            <a:extLst>
              <a:ext uri="{FF2B5EF4-FFF2-40B4-BE49-F238E27FC236}">
                <a16:creationId xmlns:a16="http://schemas.microsoft.com/office/drawing/2014/main" id="{EFBBC976-8F67-4531-AD91-156F2D04C06E}"/>
              </a:ext>
            </a:extLst>
          </p:cNvPr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10893536" y="4039484"/>
            <a:ext cx="10695" cy="57150"/>
          </a:xfrm>
          <a:custGeom>
            <a:avLst/>
            <a:gdLst>
              <a:gd name="T0" fmla="*/ 0 w 26"/>
              <a:gd name="T1" fmla="*/ 0 h 19"/>
              <a:gd name="T2" fmla="*/ 26 w 26"/>
              <a:gd name="T3" fmla="*/ 19 h 19"/>
              <a:gd name="T4" fmla="*/ 26 w 26"/>
              <a:gd name="T5" fmla="*/ 9 h 19"/>
              <a:gd name="T6" fmla="*/ 26 w 26"/>
              <a:gd name="T7" fmla="*/ 0 h 19"/>
              <a:gd name="T8" fmla="*/ 15 w 26"/>
              <a:gd name="T9" fmla="*/ 0 h 19"/>
              <a:gd name="T10" fmla="*/ 0 w 26"/>
              <a:gd name="T11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09" name="Freeform 315">
            <a:extLst>
              <a:ext uri="{FF2B5EF4-FFF2-40B4-BE49-F238E27FC236}">
                <a16:creationId xmlns:a16="http://schemas.microsoft.com/office/drawing/2014/main" id="{936E27DE-AEFC-459E-BBA5-1DEFD8A05B14}"/>
              </a:ext>
            </a:extLst>
          </p:cNvPr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10759088" y="4034723"/>
            <a:ext cx="18334" cy="58737"/>
          </a:xfrm>
          <a:custGeom>
            <a:avLst/>
            <a:gdLst>
              <a:gd name="T0" fmla="*/ 2 w 43"/>
              <a:gd name="T1" fmla="*/ 0 h 31"/>
              <a:gd name="T2" fmla="*/ 1 w 43"/>
              <a:gd name="T3" fmla="*/ 12 h 31"/>
              <a:gd name="T4" fmla="*/ 0 w 43"/>
              <a:gd name="T5" fmla="*/ 23 h 31"/>
              <a:gd name="T6" fmla="*/ 0 w 43"/>
              <a:gd name="T7" fmla="*/ 26 h 31"/>
              <a:gd name="T8" fmla="*/ 0 w 43"/>
              <a:gd name="T9" fmla="*/ 29 h 31"/>
              <a:gd name="T10" fmla="*/ 0 w 43"/>
              <a:gd name="T11" fmla="*/ 31 h 31"/>
              <a:gd name="T12" fmla="*/ 2 w 43"/>
              <a:gd name="T13" fmla="*/ 31 h 31"/>
              <a:gd name="T14" fmla="*/ 13 w 43"/>
              <a:gd name="T15" fmla="*/ 22 h 31"/>
              <a:gd name="T16" fmla="*/ 25 w 43"/>
              <a:gd name="T17" fmla="*/ 13 h 31"/>
              <a:gd name="T18" fmla="*/ 35 w 43"/>
              <a:gd name="T19" fmla="*/ 5 h 31"/>
              <a:gd name="T20" fmla="*/ 43 w 43"/>
              <a:gd name="T21" fmla="*/ 0 h 31"/>
              <a:gd name="T22" fmla="*/ 2 w 43"/>
              <a:gd name="T23" fmla="*/ 0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0" name="Freeform 316">
            <a:extLst>
              <a:ext uri="{FF2B5EF4-FFF2-40B4-BE49-F238E27FC236}">
                <a16:creationId xmlns:a16="http://schemas.microsoft.com/office/drawing/2014/main" id="{176D9408-7FC0-4313-8931-BBE14679D12D}"/>
              </a:ext>
            </a:extLst>
          </p:cNvPr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10801867" y="4082347"/>
            <a:ext cx="29029" cy="57150"/>
          </a:xfrm>
          <a:custGeom>
            <a:avLst/>
            <a:gdLst>
              <a:gd name="T0" fmla="*/ 4 w 71"/>
              <a:gd name="T1" fmla="*/ 12 h 49"/>
              <a:gd name="T2" fmla="*/ 4 w 71"/>
              <a:gd name="T3" fmla="*/ 18 h 49"/>
              <a:gd name="T4" fmla="*/ 5 w 71"/>
              <a:gd name="T5" fmla="*/ 25 h 49"/>
              <a:gd name="T6" fmla="*/ 7 w 71"/>
              <a:gd name="T7" fmla="*/ 31 h 49"/>
              <a:gd name="T8" fmla="*/ 9 w 71"/>
              <a:gd name="T9" fmla="*/ 37 h 49"/>
              <a:gd name="T10" fmla="*/ 14 w 71"/>
              <a:gd name="T11" fmla="*/ 41 h 49"/>
              <a:gd name="T12" fmla="*/ 18 w 71"/>
              <a:gd name="T13" fmla="*/ 46 h 49"/>
              <a:gd name="T14" fmla="*/ 23 w 71"/>
              <a:gd name="T15" fmla="*/ 48 h 49"/>
              <a:gd name="T16" fmla="*/ 30 w 71"/>
              <a:gd name="T17" fmla="*/ 49 h 49"/>
              <a:gd name="T18" fmla="*/ 35 w 71"/>
              <a:gd name="T19" fmla="*/ 48 h 49"/>
              <a:gd name="T20" fmla="*/ 40 w 71"/>
              <a:gd name="T21" fmla="*/ 46 h 49"/>
              <a:gd name="T22" fmla="*/ 45 w 71"/>
              <a:gd name="T23" fmla="*/ 42 h 49"/>
              <a:gd name="T24" fmla="*/ 50 w 71"/>
              <a:gd name="T25" fmla="*/ 37 h 49"/>
              <a:gd name="T26" fmla="*/ 60 w 71"/>
              <a:gd name="T27" fmla="*/ 28 h 49"/>
              <a:gd name="T28" fmla="*/ 71 w 71"/>
              <a:gd name="T29" fmla="*/ 18 h 49"/>
              <a:gd name="T30" fmla="*/ 61 w 71"/>
              <a:gd name="T31" fmla="*/ 12 h 49"/>
              <a:gd name="T32" fmla="*/ 52 w 71"/>
              <a:gd name="T33" fmla="*/ 9 h 49"/>
              <a:gd name="T34" fmla="*/ 44 w 71"/>
              <a:gd name="T35" fmla="*/ 7 h 49"/>
              <a:gd name="T36" fmla="*/ 37 w 71"/>
              <a:gd name="T37" fmla="*/ 6 h 49"/>
              <a:gd name="T38" fmla="*/ 29 w 71"/>
              <a:gd name="T39" fmla="*/ 6 h 49"/>
              <a:gd name="T40" fmla="*/ 21 w 71"/>
              <a:gd name="T41" fmla="*/ 5 h 49"/>
              <a:gd name="T42" fmla="*/ 14 w 71"/>
              <a:gd name="T43" fmla="*/ 3 h 49"/>
              <a:gd name="T44" fmla="*/ 4 w 71"/>
              <a:gd name="T45" fmla="*/ 0 h 49"/>
              <a:gd name="T46" fmla="*/ 3 w 71"/>
              <a:gd name="T47" fmla="*/ 1 h 49"/>
              <a:gd name="T48" fmla="*/ 1 w 71"/>
              <a:gd name="T49" fmla="*/ 6 h 49"/>
              <a:gd name="T50" fmla="*/ 0 w 71"/>
              <a:gd name="T51" fmla="*/ 8 h 49"/>
              <a:gd name="T52" fmla="*/ 0 w 71"/>
              <a:gd name="T53" fmla="*/ 10 h 49"/>
              <a:gd name="T54" fmla="*/ 1 w 71"/>
              <a:gd name="T55" fmla="*/ 11 h 49"/>
              <a:gd name="T56" fmla="*/ 4 w 71"/>
              <a:gd name="T57" fmla="*/ 12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11" name="Freeform 317">
            <a:extLst>
              <a:ext uri="{FF2B5EF4-FFF2-40B4-BE49-F238E27FC236}">
                <a16:creationId xmlns:a16="http://schemas.microsoft.com/office/drawing/2014/main" id="{92BF9942-3C96-45E2-B7EE-DD2A444C16C0}"/>
              </a:ext>
            </a:extLst>
          </p:cNvPr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10610891" y="4285548"/>
            <a:ext cx="44306" cy="58737"/>
          </a:xfrm>
          <a:custGeom>
            <a:avLst/>
            <a:gdLst>
              <a:gd name="T0" fmla="*/ 46 w 112"/>
              <a:gd name="T1" fmla="*/ 2 h 26"/>
              <a:gd name="T2" fmla="*/ 56 w 112"/>
              <a:gd name="T3" fmla="*/ 2 h 26"/>
              <a:gd name="T4" fmla="*/ 66 w 112"/>
              <a:gd name="T5" fmla="*/ 3 h 26"/>
              <a:gd name="T6" fmla="*/ 74 w 112"/>
              <a:gd name="T7" fmla="*/ 4 h 26"/>
              <a:gd name="T8" fmla="*/ 84 w 112"/>
              <a:gd name="T9" fmla="*/ 6 h 26"/>
              <a:gd name="T10" fmla="*/ 92 w 112"/>
              <a:gd name="T11" fmla="*/ 9 h 26"/>
              <a:gd name="T12" fmla="*/ 100 w 112"/>
              <a:gd name="T13" fmla="*/ 12 h 26"/>
              <a:gd name="T14" fmla="*/ 106 w 112"/>
              <a:gd name="T15" fmla="*/ 16 h 26"/>
              <a:gd name="T16" fmla="*/ 112 w 112"/>
              <a:gd name="T17" fmla="*/ 20 h 26"/>
              <a:gd name="T18" fmla="*/ 110 w 112"/>
              <a:gd name="T19" fmla="*/ 22 h 26"/>
              <a:gd name="T20" fmla="*/ 105 w 112"/>
              <a:gd name="T21" fmla="*/ 23 h 26"/>
              <a:gd name="T22" fmla="*/ 101 w 112"/>
              <a:gd name="T23" fmla="*/ 25 h 26"/>
              <a:gd name="T24" fmla="*/ 95 w 112"/>
              <a:gd name="T25" fmla="*/ 25 h 26"/>
              <a:gd name="T26" fmla="*/ 87 w 112"/>
              <a:gd name="T27" fmla="*/ 26 h 26"/>
              <a:gd name="T28" fmla="*/ 79 w 112"/>
              <a:gd name="T29" fmla="*/ 26 h 26"/>
              <a:gd name="T30" fmla="*/ 66 w 112"/>
              <a:gd name="T31" fmla="*/ 24 h 26"/>
              <a:gd name="T32" fmla="*/ 41 w 112"/>
              <a:gd name="T33" fmla="*/ 19 h 26"/>
              <a:gd name="T34" fmla="*/ 16 w 112"/>
              <a:gd name="T35" fmla="*/ 13 h 26"/>
              <a:gd name="T36" fmla="*/ 0 w 112"/>
              <a:gd name="T37" fmla="*/ 8 h 26"/>
              <a:gd name="T38" fmla="*/ 5 w 112"/>
              <a:gd name="T39" fmla="*/ 4 h 26"/>
              <a:gd name="T40" fmla="*/ 11 w 112"/>
              <a:gd name="T41" fmla="*/ 2 h 26"/>
              <a:gd name="T42" fmla="*/ 18 w 112"/>
              <a:gd name="T43" fmla="*/ 1 h 26"/>
              <a:gd name="T44" fmla="*/ 25 w 112"/>
              <a:gd name="T45" fmla="*/ 0 h 26"/>
              <a:gd name="T46" fmla="*/ 37 w 112"/>
              <a:gd name="T47" fmla="*/ 1 h 26"/>
              <a:gd name="T48" fmla="*/ 46 w 112"/>
              <a:gd name="T49" fmla="*/ 2 h 2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12" name="Freeform 318">
            <a:extLst>
              <a:ext uri="{FF2B5EF4-FFF2-40B4-BE49-F238E27FC236}">
                <a16:creationId xmlns:a16="http://schemas.microsoft.com/office/drawing/2014/main" id="{1EFC6F1B-9BFF-47AD-A13D-EA665286035A}"/>
              </a:ext>
            </a:extLst>
          </p:cNvPr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10705616" y="4323648"/>
            <a:ext cx="13750" cy="58737"/>
          </a:xfrm>
          <a:custGeom>
            <a:avLst/>
            <a:gdLst>
              <a:gd name="T0" fmla="*/ 0 w 41"/>
              <a:gd name="T1" fmla="*/ 0 h 25"/>
              <a:gd name="T2" fmla="*/ 41 w 41"/>
              <a:gd name="T3" fmla="*/ 0 h 25"/>
              <a:gd name="T4" fmla="*/ 28 w 41"/>
              <a:gd name="T5" fmla="*/ 8 h 25"/>
              <a:gd name="T6" fmla="*/ 18 w 41"/>
              <a:gd name="T7" fmla="*/ 15 h 25"/>
              <a:gd name="T8" fmla="*/ 9 w 41"/>
              <a:gd name="T9" fmla="*/ 20 h 25"/>
              <a:gd name="T10" fmla="*/ 0 w 41"/>
              <a:gd name="T11" fmla="*/ 25 h 25"/>
              <a:gd name="T12" fmla="*/ 0 w 41"/>
              <a:gd name="T13" fmla="*/ 0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3" name="Freeform 319">
            <a:extLst>
              <a:ext uri="{FF2B5EF4-FFF2-40B4-BE49-F238E27FC236}">
                <a16:creationId xmlns:a16="http://schemas.microsoft.com/office/drawing/2014/main" id="{DB7228C6-DA3E-4135-A008-15967124BF2F}"/>
              </a:ext>
            </a:extLst>
          </p:cNvPr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10545195" y="4255385"/>
            <a:ext cx="35140" cy="55563"/>
          </a:xfrm>
          <a:custGeom>
            <a:avLst/>
            <a:gdLst>
              <a:gd name="T0" fmla="*/ 0 w 81"/>
              <a:gd name="T1" fmla="*/ 31 h 31"/>
              <a:gd name="T2" fmla="*/ 0 w 81"/>
              <a:gd name="T3" fmla="*/ 22 h 31"/>
              <a:gd name="T4" fmla="*/ 0 w 81"/>
              <a:gd name="T5" fmla="*/ 13 h 31"/>
              <a:gd name="T6" fmla="*/ 0 w 81"/>
              <a:gd name="T7" fmla="*/ 10 h 31"/>
              <a:gd name="T8" fmla="*/ 2 w 81"/>
              <a:gd name="T9" fmla="*/ 8 h 31"/>
              <a:gd name="T10" fmla="*/ 3 w 81"/>
              <a:gd name="T11" fmla="*/ 6 h 31"/>
              <a:gd name="T12" fmla="*/ 4 w 81"/>
              <a:gd name="T13" fmla="*/ 4 h 31"/>
              <a:gd name="T14" fmla="*/ 8 w 81"/>
              <a:gd name="T15" fmla="*/ 2 h 31"/>
              <a:gd name="T16" fmla="*/ 14 w 81"/>
              <a:gd name="T17" fmla="*/ 0 h 31"/>
              <a:gd name="T18" fmla="*/ 26 w 81"/>
              <a:gd name="T19" fmla="*/ 1 h 31"/>
              <a:gd name="T20" fmla="*/ 41 w 81"/>
              <a:gd name="T21" fmla="*/ 1 h 31"/>
              <a:gd name="T22" fmla="*/ 56 w 81"/>
              <a:gd name="T23" fmla="*/ 1 h 31"/>
              <a:gd name="T24" fmla="*/ 65 w 81"/>
              <a:gd name="T25" fmla="*/ 1 h 31"/>
              <a:gd name="T26" fmla="*/ 73 w 81"/>
              <a:gd name="T27" fmla="*/ 1 h 31"/>
              <a:gd name="T28" fmla="*/ 81 w 81"/>
              <a:gd name="T29" fmla="*/ 1 h 31"/>
              <a:gd name="T30" fmla="*/ 73 w 81"/>
              <a:gd name="T31" fmla="*/ 6 h 31"/>
              <a:gd name="T32" fmla="*/ 67 w 81"/>
              <a:gd name="T33" fmla="*/ 10 h 31"/>
              <a:gd name="T34" fmla="*/ 64 w 81"/>
              <a:gd name="T35" fmla="*/ 14 h 31"/>
              <a:gd name="T36" fmla="*/ 62 w 81"/>
              <a:gd name="T37" fmla="*/ 18 h 31"/>
              <a:gd name="T38" fmla="*/ 59 w 81"/>
              <a:gd name="T39" fmla="*/ 21 h 31"/>
              <a:gd name="T40" fmla="*/ 54 w 81"/>
              <a:gd name="T41" fmla="*/ 23 h 31"/>
              <a:gd name="T42" fmla="*/ 47 w 81"/>
              <a:gd name="T43" fmla="*/ 25 h 31"/>
              <a:gd name="T44" fmla="*/ 34 w 81"/>
              <a:gd name="T45" fmla="*/ 25 h 31"/>
              <a:gd name="T46" fmla="*/ 0 w 81"/>
              <a:gd name="T47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14" name="Freeform 320">
            <a:extLst>
              <a:ext uri="{FF2B5EF4-FFF2-40B4-BE49-F238E27FC236}">
                <a16:creationId xmlns:a16="http://schemas.microsoft.com/office/drawing/2014/main" id="{AE3473DE-BAD6-429B-8638-DA3412F1DA4A}"/>
              </a:ext>
            </a:extLst>
          </p:cNvPr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10587973" y="4241097"/>
            <a:ext cx="38196" cy="55562"/>
          </a:xfrm>
          <a:custGeom>
            <a:avLst/>
            <a:gdLst>
              <a:gd name="T0" fmla="*/ 2 w 89"/>
              <a:gd name="T1" fmla="*/ 49 h 49"/>
              <a:gd name="T2" fmla="*/ 89 w 89"/>
              <a:gd name="T3" fmla="*/ 49 h 49"/>
              <a:gd name="T4" fmla="*/ 78 w 89"/>
              <a:gd name="T5" fmla="*/ 41 h 49"/>
              <a:gd name="T6" fmla="*/ 68 w 89"/>
              <a:gd name="T7" fmla="*/ 35 h 49"/>
              <a:gd name="T8" fmla="*/ 57 w 89"/>
              <a:gd name="T9" fmla="*/ 30 h 49"/>
              <a:gd name="T10" fmla="*/ 46 w 89"/>
              <a:gd name="T11" fmla="*/ 25 h 49"/>
              <a:gd name="T12" fmla="*/ 36 w 89"/>
              <a:gd name="T13" fmla="*/ 21 h 49"/>
              <a:gd name="T14" fmla="*/ 26 w 89"/>
              <a:gd name="T15" fmla="*/ 14 h 49"/>
              <a:gd name="T16" fmla="*/ 16 w 89"/>
              <a:gd name="T17" fmla="*/ 8 h 49"/>
              <a:gd name="T18" fmla="*/ 9 w 89"/>
              <a:gd name="T19" fmla="*/ 0 h 49"/>
              <a:gd name="T20" fmla="*/ 4 w 89"/>
              <a:gd name="T21" fmla="*/ 10 h 49"/>
              <a:gd name="T22" fmla="*/ 1 w 89"/>
              <a:gd name="T23" fmla="*/ 23 h 49"/>
              <a:gd name="T24" fmla="*/ 0 w 89"/>
              <a:gd name="T25" fmla="*/ 29 h 49"/>
              <a:gd name="T26" fmla="*/ 0 w 89"/>
              <a:gd name="T27" fmla="*/ 36 h 49"/>
              <a:gd name="T28" fmla="*/ 0 w 89"/>
              <a:gd name="T29" fmla="*/ 43 h 49"/>
              <a:gd name="T30" fmla="*/ 2 w 89"/>
              <a:gd name="T31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15" name="Freeform 321">
            <a:extLst>
              <a:ext uri="{FF2B5EF4-FFF2-40B4-BE49-F238E27FC236}">
                <a16:creationId xmlns:a16="http://schemas.microsoft.com/office/drawing/2014/main" id="{9EAAA63A-62AB-4FEA-8872-F975EA6495BC}"/>
              </a:ext>
            </a:extLst>
          </p:cNvPr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10638391" y="4250623"/>
            <a:ext cx="35139" cy="58737"/>
          </a:xfrm>
          <a:custGeom>
            <a:avLst/>
            <a:gdLst>
              <a:gd name="T0" fmla="*/ 0 w 86"/>
              <a:gd name="T1" fmla="*/ 21 h 46"/>
              <a:gd name="T2" fmla="*/ 14 w 86"/>
              <a:gd name="T3" fmla="*/ 26 h 46"/>
              <a:gd name="T4" fmla="*/ 25 w 86"/>
              <a:gd name="T5" fmla="*/ 29 h 46"/>
              <a:gd name="T6" fmla="*/ 30 w 86"/>
              <a:gd name="T7" fmla="*/ 30 h 46"/>
              <a:gd name="T8" fmla="*/ 36 w 86"/>
              <a:gd name="T9" fmla="*/ 30 h 46"/>
              <a:gd name="T10" fmla="*/ 41 w 86"/>
              <a:gd name="T11" fmla="*/ 29 h 46"/>
              <a:gd name="T12" fmla="*/ 46 w 86"/>
              <a:gd name="T13" fmla="*/ 27 h 46"/>
              <a:gd name="T14" fmla="*/ 46 w 86"/>
              <a:gd name="T15" fmla="*/ 36 h 46"/>
              <a:gd name="T16" fmla="*/ 46 w 86"/>
              <a:gd name="T17" fmla="*/ 46 h 46"/>
              <a:gd name="T18" fmla="*/ 56 w 86"/>
              <a:gd name="T19" fmla="*/ 45 h 46"/>
              <a:gd name="T20" fmla="*/ 67 w 86"/>
              <a:gd name="T21" fmla="*/ 43 h 46"/>
              <a:gd name="T22" fmla="*/ 77 w 86"/>
              <a:gd name="T23" fmla="*/ 40 h 46"/>
              <a:gd name="T24" fmla="*/ 86 w 86"/>
              <a:gd name="T25" fmla="*/ 40 h 46"/>
              <a:gd name="T26" fmla="*/ 83 w 86"/>
              <a:gd name="T27" fmla="*/ 32 h 46"/>
              <a:gd name="T28" fmla="*/ 80 w 86"/>
              <a:gd name="T29" fmla="*/ 25 h 46"/>
              <a:gd name="T30" fmla="*/ 74 w 86"/>
              <a:gd name="T31" fmla="*/ 19 h 46"/>
              <a:gd name="T32" fmla="*/ 70 w 86"/>
              <a:gd name="T33" fmla="*/ 14 h 46"/>
              <a:gd name="T34" fmla="*/ 64 w 86"/>
              <a:gd name="T35" fmla="*/ 9 h 46"/>
              <a:gd name="T36" fmla="*/ 58 w 86"/>
              <a:gd name="T37" fmla="*/ 6 h 46"/>
              <a:gd name="T38" fmla="*/ 51 w 86"/>
              <a:gd name="T39" fmla="*/ 3 h 46"/>
              <a:gd name="T40" fmla="*/ 46 w 86"/>
              <a:gd name="T41" fmla="*/ 1 h 46"/>
              <a:gd name="T42" fmla="*/ 39 w 86"/>
              <a:gd name="T43" fmla="*/ 0 h 46"/>
              <a:gd name="T44" fmla="*/ 33 w 86"/>
              <a:gd name="T45" fmla="*/ 0 h 46"/>
              <a:gd name="T46" fmla="*/ 26 w 86"/>
              <a:gd name="T47" fmla="*/ 1 h 46"/>
              <a:gd name="T48" fmla="*/ 19 w 86"/>
              <a:gd name="T49" fmla="*/ 3 h 46"/>
              <a:gd name="T50" fmla="*/ 14 w 86"/>
              <a:gd name="T51" fmla="*/ 6 h 46"/>
              <a:gd name="T52" fmla="*/ 8 w 86"/>
              <a:gd name="T53" fmla="*/ 10 h 46"/>
              <a:gd name="T54" fmla="*/ 4 w 86"/>
              <a:gd name="T55" fmla="*/ 15 h 46"/>
              <a:gd name="T56" fmla="*/ 0 w 86"/>
              <a:gd name="T57" fmla="*/ 21 h 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16" name="Freeform 322">
            <a:extLst>
              <a:ext uri="{FF2B5EF4-FFF2-40B4-BE49-F238E27FC236}">
                <a16:creationId xmlns:a16="http://schemas.microsoft.com/office/drawing/2014/main" id="{6ECE8551-FD3D-4D77-A79F-8F3C2B9FEEAE}"/>
              </a:ext>
            </a:extLst>
          </p:cNvPr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10688808" y="4255385"/>
            <a:ext cx="24445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18 h 18"/>
              <a:gd name="T4" fmla="*/ 39 w 59"/>
              <a:gd name="T5" fmla="*/ 18 h 18"/>
              <a:gd name="T6" fmla="*/ 59 w 59"/>
              <a:gd name="T7" fmla="*/ 6 h 18"/>
              <a:gd name="T8" fmla="*/ 51 w 59"/>
              <a:gd name="T9" fmla="*/ 5 h 18"/>
              <a:gd name="T10" fmla="*/ 45 w 59"/>
              <a:gd name="T11" fmla="*/ 4 h 18"/>
              <a:gd name="T12" fmla="*/ 37 w 59"/>
              <a:gd name="T13" fmla="*/ 5 h 18"/>
              <a:gd name="T14" fmla="*/ 29 w 59"/>
              <a:gd name="T15" fmla="*/ 6 h 18"/>
              <a:gd name="T16" fmla="*/ 22 w 59"/>
              <a:gd name="T17" fmla="*/ 6 h 18"/>
              <a:gd name="T18" fmla="*/ 14 w 59"/>
              <a:gd name="T19" fmla="*/ 5 h 18"/>
              <a:gd name="T20" fmla="*/ 7 w 59"/>
              <a:gd name="T21" fmla="*/ 4 h 18"/>
              <a:gd name="T22" fmla="*/ 0 w 59"/>
              <a:gd name="T23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17" name="Freeform 323">
            <a:extLst>
              <a:ext uri="{FF2B5EF4-FFF2-40B4-BE49-F238E27FC236}">
                <a16:creationId xmlns:a16="http://schemas.microsoft.com/office/drawing/2014/main" id="{2DDD2148-E4B7-4BA0-9952-F3D1C4419736}"/>
              </a:ext>
            </a:extLst>
          </p:cNvPr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10759088" y="4247447"/>
            <a:ext cx="1528" cy="55562"/>
          </a:xfrm>
          <a:custGeom>
            <a:avLst/>
            <a:gdLst>
              <a:gd name="T0" fmla="*/ 4 w 4"/>
              <a:gd name="T1" fmla="*/ 19 h 19"/>
              <a:gd name="T2" fmla="*/ 4 w 4"/>
              <a:gd name="T3" fmla="*/ 0 h 19"/>
              <a:gd name="T4" fmla="*/ 2 w 4"/>
              <a:gd name="T5" fmla="*/ 1 h 19"/>
              <a:gd name="T6" fmla="*/ 1 w 4"/>
              <a:gd name="T7" fmla="*/ 3 h 19"/>
              <a:gd name="T8" fmla="*/ 0 w 4"/>
              <a:gd name="T9" fmla="*/ 6 h 19"/>
              <a:gd name="T10" fmla="*/ 0 w 4"/>
              <a:gd name="T11" fmla="*/ 10 h 19"/>
              <a:gd name="T12" fmla="*/ 0 w 4"/>
              <a:gd name="T13" fmla="*/ 14 h 19"/>
              <a:gd name="T14" fmla="*/ 1 w 4"/>
              <a:gd name="T15" fmla="*/ 16 h 19"/>
              <a:gd name="T16" fmla="*/ 2 w 4"/>
              <a:gd name="T17" fmla="*/ 19 h 19"/>
              <a:gd name="T18" fmla="*/ 4 w 4"/>
              <a:gd name="T19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8" name="Freeform 324">
            <a:extLst>
              <a:ext uri="{FF2B5EF4-FFF2-40B4-BE49-F238E27FC236}">
                <a16:creationId xmlns:a16="http://schemas.microsoft.com/office/drawing/2014/main" id="{A0031862-95C6-480E-ABCE-76EBC7FEFFC7}"/>
              </a:ext>
            </a:extLst>
          </p:cNvPr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10349634" y="4061709"/>
            <a:ext cx="19862" cy="58738"/>
          </a:xfrm>
          <a:custGeom>
            <a:avLst/>
            <a:gdLst>
              <a:gd name="T0" fmla="*/ 0 w 46"/>
              <a:gd name="T1" fmla="*/ 50 h 50"/>
              <a:gd name="T2" fmla="*/ 7 w 46"/>
              <a:gd name="T3" fmla="*/ 0 h 50"/>
              <a:gd name="T4" fmla="*/ 23 w 46"/>
              <a:gd name="T5" fmla="*/ 8 h 50"/>
              <a:gd name="T6" fmla="*/ 34 w 46"/>
              <a:gd name="T7" fmla="*/ 14 h 50"/>
              <a:gd name="T8" fmla="*/ 37 w 46"/>
              <a:gd name="T9" fmla="*/ 18 h 50"/>
              <a:gd name="T10" fmla="*/ 41 w 46"/>
              <a:gd name="T11" fmla="*/ 22 h 50"/>
              <a:gd name="T12" fmla="*/ 44 w 46"/>
              <a:gd name="T13" fmla="*/ 30 h 50"/>
              <a:gd name="T14" fmla="*/ 46 w 46"/>
              <a:gd name="T15" fmla="*/ 38 h 50"/>
              <a:gd name="T16" fmla="*/ 34 w 46"/>
              <a:gd name="T17" fmla="*/ 42 h 50"/>
              <a:gd name="T18" fmla="*/ 21 w 46"/>
              <a:gd name="T19" fmla="*/ 46 h 50"/>
              <a:gd name="T20" fmla="*/ 8 w 46"/>
              <a:gd name="T21" fmla="*/ 49 h 50"/>
              <a:gd name="T22" fmla="*/ 0 w 46"/>
              <a:gd name="T23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19" name="Freeform 325">
            <a:extLst>
              <a:ext uri="{FF2B5EF4-FFF2-40B4-BE49-F238E27FC236}">
                <a16:creationId xmlns:a16="http://schemas.microsoft.com/office/drawing/2014/main" id="{D4561759-6F27-4AA1-A796-CF758BF8D2C3}"/>
              </a:ext>
            </a:extLst>
          </p:cNvPr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10297689" y="4034723"/>
            <a:ext cx="29029" cy="58737"/>
          </a:xfrm>
          <a:custGeom>
            <a:avLst/>
            <a:gdLst>
              <a:gd name="T0" fmla="*/ 0 w 66"/>
              <a:gd name="T1" fmla="*/ 0 h 80"/>
              <a:gd name="T2" fmla="*/ 10 w 66"/>
              <a:gd name="T3" fmla="*/ 0 h 80"/>
              <a:gd name="T4" fmla="*/ 18 w 66"/>
              <a:gd name="T5" fmla="*/ 0 h 80"/>
              <a:gd name="T6" fmla="*/ 26 w 66"/>
              <a:gd name="T7" fmla="*/ 0 h 80"/>
              <a:gd name="T8" fmla="*/ 33 w 66"/>
              <a:gd name="T9" fmla="*/ 0 h 80"/>
              <a:gd name="T10" fmla="*/ 33 w 66"/>
              <a:gd name="T11" fmla="*/ 7 h 80"/>
              <a:gd name="T12" fmla="*/ 34 w 66"/>
              <a:gd name="T13" fmla="*/ 14 h 80"/>
              <a:gd name="T14" fmla="*/ 36 w 66"/>
              <a:gd name="T15" fmla="*/ 21 h 80"/>
              <a:gd name="T16" fmla="*/ 38 w 66"/>
              <a:gd name="T17" fmla="*/ 27 h 80"/>
              <a:gd name="T18" fmla="*/ 44 w 66"/>
              <a:gd name="T19" fmla="*/ 36 h 80"/>
              <a:gd name="T20" fmla="*/ 49 w 66"/>
              <a:gd name="T21" fmla="*/ 45 h 80"/>
              <a:gd name="T22" fmla="*/ 56 w 66"/>
              <a:gd name="T23" fmla="*/ 52 h 80"/>
              <a:gd name="T24" fmla="*/ 61 w 66"/>
              <a:gd name="T25" fmla="*/ 60 h 80"/>
              <a:gd name="T26" fmla="*/ 62 w 66"/>
              <a:gd name="T27" fmla="*/ 65 h 80"/>
              <a:gd name="T28" fmla="*/ 65 w 66"/>
              <a:gd name="T29" fmla="*/ 69 h 80"/>
              <a:gd name="T30" fmla="*/ 66 w 66"/>
              <a:gd name="T31" fmla="*/ 75 h 80"/>
              <a:gd name="T32" fmla="*/ 66 w 66"/>
              <a:gd name="T33" fmla="*/ 80 h 80"/>
              <a:gd name="T34" fmla="*/ 0 w 66"/>
              <a:gd name="T35" fmla="*/ 18 h 80"/>
              <a:gd name="T36" fmla="*/ 0 w 66"/>
              <a:gd name="T37" fmla="*/ 0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0" name="Freeform 326">
            <a:extLst>
              <a:ext uri="{FF2B5EF4-FFF2-40B4-BE49-F238E27FC236}">
                <a16:creationId xmlns:a16="http://schemas.microsoft.com/office/drawing/2014/main" id="{E765CD65-91D1-4B28-9427-06831EC32770}"/>
              </a:ext>
            </a:extLst>
          </p:cNvPr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10138796" y="4018847"/>
            <a:ext cx="7640" cy="57150"/>
          </a:xfrm>
          <a:custGeom>
            <a:avLst/>
            <a:gdLst>
              <a:gd name="T0" fmla="*/ 20 w 20"/>
              <a:gd name="T1" fmla="*/ 48 h 48"/>
              <a:gd name="T2" fmla="*/ 20 w 20"/>
              <a:gd name="T3" fmla="*/ 39 h 48"/>
              <a:gd name="T4" fmla="*/ 19 w 20"/>
              <a:gd name="T5" fmla="*/ 32 h 48"/>
              <a:gd name="T6" fmla="*/ 16 w 20"/>
              <a:gd name="T7" fmla="*/ 25 h 48"/>
              <a:gd name="T8" fmla="*/ 14 w 20"/>
              <a:gd name="T9" fmla="*/ 19 h 48"/>
              <a:gd name="T10" fmla="*/ 12 w 20"/>
              <a:gd name="T11" fmla="*/ 14 h 48"/>
              <a:gd name="T12" fmla="*/ 9 w 20"/>
              <a:gd name="T13" fmla="*/ 9 h 48"/>
              <a:gd name="T14" fmla="*/ 4 w 20"/>
              <a:gd name="T15" fmla="*/ 4 h 48"/>
              <a:gd name="T16" fmla="*/ 0 w 20"/>
              <a:gd name="T17" fmla="*/ 0 h 48"/>
              <a:gd name="T18" fmla="*/ 0 w 20"/>
              <a:gd name="T19" fmla="*/ 8 h 48"/>
              <a:gd name="T20" fmla="*/ 2 w 20"/>
              <a:gd name="T21" fmla="*/ 17 h 48"/>
              <a:gd name="T22" fmla="*/ 4 w 20"/>
              <a:gd name="T23" fmla="*/ 24 h 48"/>
              <a:gd name="T24" fmla="*/ 8 w 20"/>
              <a:gd name="T25" fmla="*/ 31 h 48"/>
              <a:gd name="T26" fmla="*/ 14 w 20"/>
              <a:gd name="T27" fmla="*/ 41 h 48"/>
              <a:gd name="T28" fmla="*/ 20 w 20"/>
              <a:gd name="T29" fmla="*/ 48 h 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1" name="Line 327" descr="Horizontal dunkel">
            <a:extLst>
              <a:ext uri="{FF2B5EF4-FFF2-40B4-BE49-F238E27FC236}">
                <a16:creationId xmlns:a16="http://schemas.microsoft.com/office/drawing/2014/main" id="{7F3680D1-956E-4848-AD82-702E0A8E2A2D}"/>
              </a:ext>
            </a:extLst>
          </p:cNvPr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10163242" y="4055359"/>
            <a:ext cx="4584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2" name="Freeform 328">
            <a:extLst>
              <a:ext uri="{FF2B5EF4-FFF2-40B4-BE49-F238E27FC236}">
                <a16:creationId xmlns:a16="http://schemas.microsoft.com/office/drawing/2014/main" id="{66B83BCD-BF28-4279-BF7B-4F05AEA2A47D}"/>
              </a:ext>
            </a:extLst>
          </p:cNvPr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10160185" y="4055359"/>
            <a:ext cx="7640" cy="57150"/>
          </a:xfrm>
          <a:custGeom>
            <a:avLst/>
            <a:gdLst>
              <a:gd name="T0" fmla="*/ 20 w 20"/>
              <a:gd name="T1" fmla="*/ 12 h 12"/>
              <a:gd name="T2" fmla="*/ 20 w 20"/>
              <a:gd name="T3" fmla="*/ 8 h 12"/>
              <a:gd name="T4" fmla="*/ 18 w 20"/>
              <a:gd name="T5" fmla="*/ 5 h 12"/>
              <a:gd name="T6" fmla="*/ 15 w 20"/>
              <a:gd name="T7" fmla="*/ 3 h 12"/>
              <a:gd name="T8" fmla="*/ 13 w 20"/>
              <a:gd name="T9" fmla="*/ 2 h 12"/>
              <a:gd name="T10" fmla="*/ 7 w 20"/>
              <a:gd name="T11" fmla="*/ 0 h 12"/>
              <a:gd name="T12" fmla="*/ 0 w 20"/>
              <a:gd name="T13" fmla="*/ 0 h 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3" name="Freeform 329">
            <a:extLst>
              <a:ext uri="{FF2B5EF4-FFF2-40B4-BE49-F238E27FC236}">
                <a16:creationId xmlns:a16="http://schemas.microsoft.com/office/drawing/2014/main" id="{41B9A230-8F25-43B3-A32B-F1B690856E8C}"/>
              </a:ext>
            </a:extLst>
          </p:cNvPr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10065462" y="3899784"/>
            <a:ext cx="21389" cy="57150"/>
          </a:xfrm>
          <a:custGeom>
            <a:avLst/>
            <a:gdLst>
              <a:gd name="T0" fmla="*/ 7 w 53"/>
              <a:gd name="T1" fmla="*/ 0 h 30"/>
              <a:gd name="T2" fmla="*/ 11 w 53"/>
              <a:gd name="T3" fmla="*/ 4 h 30"/>
              <a:gd name="T4" fmla="*/ 23 w 53"/>
              <a:gd name="T5" fmla="*/ 13 h 30"/>
              <a:gd name="T6" fmla="*/ 37 w 53"/>
              <a:gd name="T7" fmla="*/ 23 h 30"/>
              <a:gd name="T8" fmla="*/ 46 w 53"/>
              <a:gd name="T9" fmla="*/ 30 h 30"/>
              <a:gd name="T10" fmla="*/ 49 w 53"/>
              <a:gd name="T11" fmla="*/ 18 h 30"/>
              <a:gd name="T12" fmla="*/ 53 w 53"/>
              <a:gd name="T13" fmla="*/ 6 h 30"/>
              <a:gd name="T14" fmla="*/ 37 w 53"/>
              <a:gd name="T15" fmla="*/ 5 h 30"/>
              <a:gd name="T16" fmla="*/ 26 w 53"/>
              <a:gd name="T17" fmla="*/ 3 h 30"/>
              <a:gd name="T18" fmla="*/ 21 w 53"/>
              <a:gd name="T19" fmla="*/ 3 h 30"/>
              <a:gd name="T20" fmla="*/ 15 w 53"/>
              <a:gd name="T21" fmla="*/ 3 h 30"/>
              <a:gd name="T22" fmla="*/ 9 w 53"/>
              <a:gd name="T23" fmla="*/ 4 h 30"/>
              <a:gd name="T24" fmla="*/ 0 w 53"/>
              <a:gd name="T25" fmla="*/ 6 h 30"/>
              <a:gd name="T26" fmla="*/ 7 w 53"/>
              <a:gd name="T27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</a:cxnLst>
            <a:rect l="0" t="0" r="r" b="b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4" name="Freeform 330">
            <a:extLst>
              <a:ext uri="{FF2B5EF4-FFF2-40B4-BE49-F238E27FC236}">
                <a16:creationId xmlns:a16="http://schemas.microsoft.com/office/drawing/2014/main" id="{98A397E1-5110-460E-A46D-037DF68F8CFE}"/>
              </a:ext>
            </a:extLst>
          </p:cNvPr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10574223" y="4263322"/>
            <a:ext cx="10694" cy="57150"/>
          </a:xfrm>
          <a:custGeom>
            <a:avLst/>
            <a:gdLst>
              <a:gd name="T0" fmla="*/ 0 w 33"/>
              <a:gd name="T1" fmla="*/ 6 h 31"/>
              <a:gd name="T2" fmla="*/ 4 w 33"/>
              <a:gd name="T3" fmla="*/ 21 h 31"/>
              <a:gd name="T4" fmla="*/ 7 w 33"/>
              <a:gd name="T5" fmla="*/ 31 h 31"/>
              <a:gd name="T6" fmla="*/ 22 w 33"/>
              <a:gd name="T7" fmla="*/ 31 h 31"/>
              <a:gd name="T8" fmla="*/ 33 w 33"/>
              <a:gd name="T9" fmla="*/ 31 h 31"/>
              <a:gd name="T10" fmla="*/ 33 w 33"/>
              <a:gd name="T11" fmla="*/ 0 h 31"/>
              <a:gd name="T12" fmla="*/ 27 w 33"/>
              <a:gd name="T13" fmla="*/ 0 h 31"/>
              <a:gd name="T14" fmla="*/ 19 w 33"/>
              <a:gd name="T15" fmla="*/ 0 h 31"/>
              <a:gd name="T16" fmla="*/ 10 w 33"/>
              <a:gd name="T17" fmla="*/ 0 h 31"/>
              <a:gd name="T18" fmla="*/ 0 w 33"/>
              <a:gd name="T19" fmla="*/ 0 h 31"/>
              <a:gd name="T20" fmla="*/ 0 w 33"/>
              <a:gd name="T21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5" name="Freeform 331">
            <a:extLst>
              <a:ext uri="{FF2B5EF4-FFF2-40B4-BE49-F238E27FC236}">
                <a16:creationId xmlns:a16="http://schemas.microsoft.com/office/drawing/2014/main" id="{5ED1D69C-BEC5-4A3A-ABC1-DE18A8B82AC4}"/>
              </a:ext>
            </a:extLst>
          </p:cNvPr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11070762" y="4220460"/>
            <a:ext cx="27501" cy="55563"/>
          </a:xfrm>
          <a:custGeom>
            <a:avLst/>
            <a:gdLst>
              <a:gd name="T0" fmla="*/ 19 w 65"/>
              <a:gd name="T1" fmla="*/ 68 h 68"/>
              <a:gd name="T2" fmla="*/ 16 w 65"/>
              <a:gd name="T3" fmla="*/ 68 h 68"/>
              <a:gd name="T4" fmla="*/ 14 w 65"/>
              <a:gd name="T5" fmla="*/ 66 h 68"/>
              <a:gd name="T6" fmla="*/ 11 w 65"/>
              <a:gd name="T7" fmla="*/ 64 h 68"/>
              <a:gd name="T8" fmla="*/ 7 w 65"/>
              <a:gd name="T9" fmla="*/ 61 h 68"/>
              <a:gd name="T10" fmla="*/ 4 w 65"/>
              <a:gd name="T11" fmla="*/ 59 h 68"/>
              <a:gd name="T12" fmla="*/ 2 w 65"/>
              <a:gd name="T13" fmla="*/ 55 h 68"/>
              <a:gd name="T14" fmla="*/ 0 w 65"/>
              <a:gd name="T15" fmla="*/ 52 h 68"/>
              <a:gd name="T16" fmla="*/ 0 w 65"/>
              <a:gd name="T17" fmla="*/ 49 h 68"/>
              <a:gd name="T18" fmla="*/ 0 w 65"/>
              <a:gd name="T19" fmla="*/ 38 h 68"/>
              <a:gd name="T20" fmla="*/ 2 w 65"/>
              <a:gd name="T21" fmla="*/ 29 h 68"/>
              <a:gd name="T22" fmla="*/ 5 w 65"/>
              <a:gd name="T23" fmla="*/ 21 h 68"/>
              <a:gd name="T24" fmla="*/ 9 w 65"/>
              <a:gd name="T25" fmla="*/ 14 h 68"/>
              <a:gd name="T26" fmla="*/ 15 w 65"/>
              <a:gd name="T27" fmla="*/ 8 h 68"/>
              <a:gd name="T28" fmla="*/ 22 w 65"/>
              <a:gd name="T29" fmla="*/ 4 h 68"/>
              <a:gd name="T30" fmla="*/ 30 w 65"/>
              <a:gd name="T31" fmla="*/ 2 h 68"/>
              <a:gd name="T32" fmla="*/ 39 w 65"/>
              <a:gd name="T33" fmla="*/ 0 h 68"/>
              <a:gd name="T34" fmla="*/ 52 w 65"/>
              <a:gd name="T35" fmla="*/ 0 h 68"/>
              <a:gd name="T36" fmla="*/ 65 w 65"/>
              <a:gd name="T37" fmla="*/ 0 h 68"/>
              <a:gd name="T38" fmla="*/ 65 w 65"/>
              <a:gd name="T39" fmla="*/ 43 h 68"/>
              <a:gd name="T40" fmla="*/ 56 w 65"/>
              <a:gd name="T41" fmla="*/ 52 h 68"/>
              <a:gd name="T42" fmla="*/ 45 w 65"/>
              <a:gd name="T43" fmla="*/ 61 h 68"/>
              <a:gd name="T44" fmla="*/ 39 w 65"/>
              <a:gd name="T45" fmla="*/ 64 h 68"/>
              <a:gd name="T46" fmla="*/ 34 w 65"/>
              <a:gd name="T47" fmla="*/ 66 h 68"/>
              <a:gd name="T48" fmla="*/ 27 w 65"/>
              <a:gd name="T49" fmla="*/ 68 h 68"/>
              <a:gd name="T50" fmla="*/ 19 w 65"/>
              <a:gd name="T51" fmla="*/ 68 h 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6" name="Freeform 332">
            <a:extLst>
              <a:ext uri="{FF2B5EF4-FFF2-40B4-BE49-F238E27FC236}">
                <a16:creationId xmlns:a16="http://schemas.microsoft.com/office/drawing/2014/main" id="{99768373-1605-434C-BC52-F62BC0F39C0F}"/>
              </a:ext>
            </a:extLst>
          </p:cNvPr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10048657" y="3802947"/>
            <a:ext cx="264311" cy="368300"/>
          </a:xfrm>
          <a:custGeom>
            <a:avLst/>
            <a:gdLst>
              <a:gd name="T0" fmla="*/ 502 w 625"/>
              <a:gd name="T1" fmla="*/ 337 h 694"/>
              <a:gd name="T2" fmla="*/ 484 w 625"/>
              <a:gd name="T3" fmla="*/ 341 h 694"/>
              <a:gd name="T4" fmla="*/ 479 w 625"/>
              <a:gd name="T5" fmla="*/ 382 h 694"/>
              <a:gd name="T6" fmla="*/ 515 w 625"/>
              <a:gd name="T7" fmla="*/ 404 h 694"/>
              <a:gd name="T8" fmla="*/ 534 w 625"/>
              <a:gd name="T9" fmla="*/ 405 h 694"/>
              <a:gd name="T10" fmla="*/ 550 w 625"/>
              <a:gd name="T11" fmla="*/ 424 h 694"/>
              <a:gd name="T12" fmla="*/ 560 w 625"/>
              <a:gd name="T13" fmla="*/ 459 h 694"/>
              <a:gd name="T14" fmla="*/ 572 w 625"/>
              <a:gd name="T15" fmla="*/ 474 h 694"/>
              <a:gd name="T16" fmla="*/ 588 w 625"/>
              <a:gd name="T17" fmla="*/ 483 h 694"/>
              <a:gd name="T18" fmla="*/ 614 w 625"/>
              <a:gd name="T19" fmla="*/ 487 h 694"/>
              <a:gd name="T20" fmla="*/ 625 w 625"/>
              <a:gd name="T21" fmla="*/ 505 h 694"/>
              <a:gd name="T22" fmla="*/ 625 w 625"/>
              <a:gd name="T23" fmla="*/ 539 h 694"/>
              <a:gd name="T24" fmla="*/ 618 w 625"/>
              <a:gd name="T25" fmla="*/ 603 h 694"/>
              <a:gd name="T26" fmla="*/ 611 w 625"/>
              <a:gd name="T27" fmla="*/ 672 h 694"/>
              <a:gd name="T28" fmla="*/ 562 w 625"/>
              <a:gd name="T29" fmla="*/ 693 h 694"/>
              <a:gd name="T30" fmla="*/ 539 w 625"/>
              <a:gd name="T31" fmla="*/ 693 h 694"/>
              <a:gd name="T32" fmla="*/ 394 w 625"/>
              <a:gd name="T33" fmla="*/ 564 h 694"/>
              <a:gd name="T34" fmla="*/ 397 w 625"/>
              <a:gd name="T35" fmla="*/ 552 h 694"/>
              <a:gd name="T36" fmla="*/ 394 w 625"/>
              <a:gd name="T37" fmla="*/ 539 h 694"/>
              <a:gd name="T38" fmla="*/ 338 w 625"/>
              <a:gd name="T39" fmla="*/ 488 h 694"/>
              <a:gd name="T40" fmla="*/ 305 w 625"/>
              <a:gd name="T41" fmla="*/ 453 h 694"/>
              <a:gd name="T42" fmla="*/ 293 w 625"/>
              <a:gd name="T43" fmla="*/ 419 h 694"/>
              <a:gd name="T44" fmla="*/ 291 w 625"/>
              <a:gd name="T45" fmla="*/ 381 h 694"/>
              <a:gd name="T46" fmla="*/ 285 w 625"/>
              <a:gd name="T47" fmla="*/ 360 h 694"/>
              <a:gd name="T48" fmla="*/ 268 w 625"/>
              <a:gd name="T49" fmla="*/ 342 h 694"/>
              <a:gd name="T50" fmla="*/ 241 w 625"/>
              <a:gd name="T51" fmla="*/ 310 h 694"/>
              <a:gd name="T52" fmla="*/ 224 w 625"/>
              <a:gd name="T53" fmla="*/ 269 h 694"/>
              <a:gd name="T54" fmla="*/ 213 w 625"/>
              <a:gd name="T55" fmla="*/ 238 h 694"/>
              <a:gd name="T56" fmla="*/ 190 w 625"/>
              <a:gd name="T57" fmla="*/ 212 h 694"/>
              <a:gd name="T58" fmla="*/ 150 w 625"/>
              <a:gd name="T59" fmla="*/ 171 h 694"/>
              <a:gd name="T60" fmla="*/ 136 w 625"/>
              <a:gd name="T61" fmla="*/ 146 h 694"/>
              <a:gd name="T62" fmla="*/ 112 w 625"/>
              <a:gd name="T63" fmla="*/ 132 h 694"/>
              <a:gd name="T64" fmla="*/ 80 w 625"/>
              <a:gd name="T65" fmla="*/ 113 h 694"/>
              <a:gd name="T66" fmla="*/ 49 w 625"/>
              <a:gd name="T67" fmla="*/ 85 h 694"/>
              <a:gd name="T68" fmla="*/ 23 w 625"/>
              <a:gd name="T69" fmla="*/ 51 h 694"/>
              <a:gd name="T70" fmla="*/ 5 w 625"/>
              <a:gd name="T71" fmla="*/ 19 h 694"/>
              <a:gd name="T72" fmla="*/ 10 w 625"/>
              <a:gd name="T73" fmla="*/ 4 h 694"/>
              <a:gd name="T74" fmla="*/ 37 w 625"/>
              <a:gd name="T75" fmla="*/ 13 h 694"/>
              <a:gd name="T76" fmla="*/ 84 w 625"/>
              <a:gd name="T77" fmla="*/ 16 h 694"/>
              <a:gd name="T78" fmla="*/ 116 w 625"/>
              <a:gd name="T79" fmla="*/ 20 h 694"/>
              <a:gd name="T80" fmla="*/ 138 w 625"/>
              <a:gd name="T81" fmla="*/ 27 h 694"/>
              <a:gd name="T82" fmla="*/ 156 w 625"/>
              <a:gd name="T83" fmla="*/ 42 h 694"/>
              <a:gd name="T84" fmla="*/ 204 w 625"/>
              <a:gd name="T85" fmla="*/ 109 h 694"/>
              <a:gd name="T86" fmla="*/ 254 w 625"/>
              <a:gd name="T87" fmla="*/ 163 h 694"/>
              <a:gd name="T88" fmla="*/ 299 w 625"/>
              <a:gd name="T89" fmla="*/ 202 h 694"/>
              <a:gd name="T90" fmla="*/ 329 w 625"/>
              <a:gd name="T91" fmla="*/ 219 h 694"/>
              <a:gd name="T92" fmla="*/ 366 w 625"/>
              <a:gd name="T93" fmla="*/ 227 h 694"/>
              <a:gd name="T94" fmla="*/ 388 w 625"/>
              <a:gd name="T95" fmla="*/ 230 h 694"/>
              <a:gd name="T96" fmla="*/ 401 w 625"/>
              <a:gd name="T97" fmla="*/ 241 h 694"/>
              <a:gd name="T98" fmla="*/ 416 w 625"/>
              <a:gd name="T99" fmla="*/ 260 h 694"/>
              <a:gd name="T100" fmla="*/ 427 w 625"/>
              <a:gd name="T101" fmla="*/ 265 h 6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27" name="Freeform 333">
            <a:extLst>
              <a:ext uri="{FF2B5EF4-FFF2-40B4-BE49-F238E27FC236}">
                <a16:creationId xmlns:a16="http://schemas.microsoft.com/office/drawing/2014/main" id="{88860C18-E582-4E06-8206-75695EC5C9D6}"/>
              </a:ext>
            </a:extLst>
          </p:cNvPr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10377135" y="3852160"/>
            <a:ext cx="244450" cy="257175"/>
          </a:xfrm>
          <a:custGeom>
            <a:avLst/>
            <a:gdLst>
              <a:gd name="T0" fmla="*/ 516 w 585"/>
              <a:gd name="T1" fmla="*/ 28 h 493"/>
              <a:gd name="T2" fmla="*/ 495 w 585"/>
              <a:gd name="T3" fmla="*/ 55 h 493"/>
              <a:gd name="T4" fmla="*/ 512 w 585"/>
              <a:gd name="T5" fmla="*/ 93 h 493"/>
              <a:gd name="T6" fmla="*/ 534 w 585"/>
              <a:gd name="T7" fmla="*/ 130 h 493"/>
              <a:gd name="T8" fmla="*/ 573 w 585"/>
              <a:gd name="T9" fmla="*/ 177 h 493"/>
              <a:gd name="T10" fmla="*/ 580 w 585"/>
              <a:gd name="T11" fmla="*/ 205 h 493"/>
              <a:gd name="T12" fmla="*/ 547 w 585"/>
              <a:gd name="T13" fmla="*/ 204 h 493"/>
              <a:gd name="T14" fmla="*/ 516 w 585"/>
              <a:gd name="T15" fmla="*/ 233 h 493"/>
              <a:gd name="T16" fmla="*/ 506 w 585"/>
              <a:gd name="T17" fmla="*/ 246 h 493"/>
              <a:gd name="T18" fmla="*/ 518 w 585"/>
              <a:gd name="T19" fmla="*/ 271 h 493"/>
              <a:gd name="T20" fmla="*/ 525 w 585"/>
              <a:gd name="T21" fmla="*/ 294 h 493"/>
              <a:gd name="T22" fmla="*/ 505 w 585"/>
              <a:gd name="T23" fmla="*/ 308 h 493"/>
              <a:gd name="T24" fmla="*/ 459 w 585"/>
              <a:gd name="T25" fmla="*/ 323 h 493"/>
              <a:gd name="T26" fmla="*/ 443 w 585"/>
              <a:gd name="T27" fmla="*/ 354 h 493"/>
              <a:gd name="T28" fmla="*/ 445 w 585"/>
              <a:gd name="T29" fmla="*/ 415 h 493"/>
              <a:gd name="T30" fmla="*/ 430 w 585"/>
              <a:gd name="T31" fmla="*/ 454 h 493"/>
              <a:gd name="T32" fmla="*/ 400 w 585"/>
              <a:gd name="T33" fmla="*/ 472 h 493"/>
              <a:gd name="T34" fmla="*/ 370 w 585"/>
              <a:gd name="T35" fmla="*/ 488 h 493"/>
              <a:gd name="T36" fmla="*/ 341 w 585"/>
              <a:gd name="T37" fmla="*/ 493 h 493"/>
              <a:gd name="T38" fmla="*/ 329 w 585"/>
              <a:gd name="T39" fmla="*/ 487 h 493"/>
              <a:gd name="T40" fmla="*/ 327 w 585"/>
              <a:gd name="T41" fmla="*/ 471 h 493"/>
              <a:gd name="T42" fmla="*/ 304 w 585"/>
              <a:gd name="T43" fmla="*/ 451 h 493"/>
              <a:gd name="T44" fmla="*/ 251 w 585"/>
              <a:gd name="T45" fmla="*/ 454 h 493"/>
              <a:gd name="T46" fmla="*/ 219 w 585"/>
              <a:gd name="T47" fmla="*/ 462 h 493"/>
              <a:gd name="T48" fmla="*/ 176 w 585"/>
              <a:gd name="T49" fmla="*/ 440 h 493"/>
              <a:gd name="T50" fmla="*/ 122 w 585"/>
              <a:gd name="T51" fmla="*/ 436 h 493"/>
              <a:gd name="T52" fmla="*/ 95 w 585"/>
              <a:gd name="T53" fmla="*/ 429 h 493"/>
              <a:gd name="T54" fmla="*/ 81 w 585"/>
              <a:gd name="T55" fmla="*/ 366 h 493"/>
              <a:gd name="T56" fmla="*/ 58 w 585"/>
              <a:gd name="T57" fmla="*/ 310 h 493"/>
              <a:gd name="T58" fmla="*/ 35 w 585"/>
              <a:gd name="T59" fmla="*/ 292 h 493"/>
              <a:gd name="T60" fmla="*/ 12 w 585"/>
              <a:gd name="T61" fmla="*/ 260 h 493"/>
              <a:gd name="T62" fmla="*/ 5 w 585"/>
              <a:gd name="T63" fmla="*/ 204 h 493"/>
              <a:gd name="T64" fmla="*/ 31 w 585"/>
              <a:gd name="T65" fmla="*/ 153 h 493"/>
              <a:gd name="T66" fmla="*/ 54 w 585"/>
              <a:gd name="T67" fmla="*/ 141 h 493"/>
              <a:gd name="T68" fmla="*/ 75 w 585"/>
              <a:gd name="T69" fmla="*/ 152 h 493"/>
              <a:gd name="T70" fmla="*/ 97 w 585"/>
              <a:gd name="T71" fmla="*/ 187 h 493"/>
              <a:gd name="T72" fmla="*/ 129 w 585"/>
              <a:gd name="T73" fmla="*/ 214 h 493"/>
              <a:gd name="T74" fmla="*/ 170 w 585"/>
              <a:gd name="T75" fmla="*/ 213 h 493"/>
              <a:gd name="T76" fmla="*/ 221 w 585"/>
              <a:gd name="T77" fmla="*/ 189 h 493"/>
              <a:gd name="T78" fmla="*/ 233 w 585"/>
              <a:gd name="T79" fmla="*/ 172 h 493"/>
              <a:gd name="T80" fmla="*/ 288 w 585"/>
              <a:gd name="T81" fmla="*/ 178 h 493"/>
              <a:gd name="T82" fmla="*/ 326 w 585"/>
              <a:gd name="T83" fmla="*/ 181 h 493"/>
              <a:gd name="T84" fmla="*/ 337 w 585"/>
              <a:gd name="T85" fmla="*/ 170 h 493"/>
              <a:gd name="T86" fmla="*/ 362 w 585"/>
              <a:gd name="T87" fmla="*/ 158 h 493"/>
              <a:gd name="T88" fmla="*/ 383 w 585"/>
              <a:gd name="T89" fmla="*/ 136 h 493"/>
              <a:gd name="T90" fmla="*/ 415 w 585"/>
              <a:gd name="T91" fmla="*/ 79 h 493"/>
              <a:gd name="T92" fmla="*/ 427 w 585"/>
              <a:gd name="T93" fmla="*/ 25 h 493"/>
              <a:gd name="T94" fmla="*/ 447 w 585"/>
              <a:gd name="T95" fmla="*/ 6 h 493"/>
              <a:gd name="T96" fmla="*/ 479 w 585"/>
              <a:gd name="T97" fmla="*/ 2 h 4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28" name="Freeform 334">
            <a:extLst>
              <a:ext uri="{FF2B5EF4-FFF2-40B4-BE49-F238E27FC236}">
                <a16:creationId xmlns:a16="http://schemas.microsoft.com/office/drawing/2014/main" id="{21B08DB7-D7A5-4320-8746-8C4B4CE700AC}"/>
              </a:ext>
            </a:extLst>
          </p:cNvPr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10719365" y="4258559"/>
            <a:ext cx="88613" cy="57150"/>
          </a:xfrm>
          <a:custGeom>
            <a:avLst/>
            <a:gdLst>
              <a:gd name="T0" fmla="*/ 0 w 212"/>
              <a:gd name="T1" fmla="*/ 105 h 105"/>
              <a:gd name="T2" fmla="*/ 16 w 212"/>
              <a:gd name="T3" fmla="*/ 85 h 105"/>
              <a:gd name="T4" fmla="*/ 35 w 212"/>
              <a:gd name="T5" fmla="*/ 68 h 105"/>
              <a:gd name="T6" fmla="*/ 44 w 212"/>
              <a:gd name="T7" fmla="*/ 60 h 105"/>
              <a:gd name="T8" fmla="*/ 54 w 212"/>
              <a:gd name="T9" fmla="*/ 53 h 105"/>
              <a:gd name="T10" fmla="*/ 64 w 212"/>
              <a:gd name="T11" fmla="*/ 46 h 105"/>
              <a:gd name="T12" fmla="*/ 73 w 212"/>
              <a:gd name="T13" fmla="*/ 38 h 105"/>
              <a:gd name="T14" fmla="*/ 83 w 212"/>
              <a:gd name="T15" fmla="*/ 32 h 105"/>
              <a:gd name="T16" fmla="*/ 94 w 212"/>
              <a:gd name="T17" fmla="*/ 27 h 105"/>
              <a:gd name="T18" fmla="*/ 106 w 212"/>
              <a:gd name="T19" fmla="*/ 21 h 105"/>
              <a:gd name="T20" fmla="*/ 118 w 212"/>
              <a:gd name="T21" fmla="*/ 16 h 105"/>
              <a:gd name="T22" fmla="*/ 144 w 212"/>
              <a:gd name="T23" fmla="*/ 8 h 105"/>
              <a:gd name="T24" fmla="*/ 172 w 212"/>
              <a:gd name="T25" fmla="*/ 0 h 105"/>
              <a:gd name="T26" fmla="*/ 212 w 212"/>
              <a:gd name="T27" fmla="*/ 0 h 105"/>
              <a:gd name="T28" fmla="*/ 202 w 212"/>
              <a:gd name="T29" fmla="*/ 9 h 105"/>
              <a:gd name="T30" fmla="*/ 190 w 212"/>
              <a:gd name="T31" fmla="*/ 18 h 105"/>
              <a:gd name="T32" fmla="*/ 178 w 212"/>
              <a:gd name="T33" fmla="*/ 27 h 105"/>
              <a:gd name="T34" fmla="*/ 165 w 212"/>
              <a:gd name="T35" fmla="*/ 35 h 105"/>
              <a:gd name="T36" fmla="*/ 137 w 212"/>
              <a:gd name="T37" fmla="*/ 52 h 105"/>
              <a:gd name="T38" fmla="*/ 109 w 212"/>
              <a:gd name="T39" fmla="*/ 66 h 105"/>
              <a:gd name="T40" fmla="*/ 79 w 212"/>
              <a:gd name="T41" fmla="*/ 79 h 105"/>
              <a:gd name="T42" fmla="*/ 50 w 212"/>
              <a:gd name="T43" fmla="*/ 90 h 105"/>
              <a:gd name="T44" fmla="*/ 23 w 212"/>
              <a:gd name="T45" fmla="*/ 99 h 105"/>
              <a:gd name="T46" fmla="*/ 0 w 212"/>
              <a:gd name="T47" fmla="*/ 105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29" name="Freeform 335">
            <a:extLst>
              <a:ext uri="{FF2B5EF4-FFF2-40B4-BE49-F238E27FC236}">
                <a16:creationId xmlns:a16="http://schemas.microsoft.com/office/drawing/2014/main" id="{D0DBDE2F-5E7B-4E90-B1B3-05608F633AC8}"/>
              </a:ext>
            </a:extLst>
          </p:cNvPr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10830895" y="3925184"/>
            <a:ext cx="41250" cy="88900"/>
          </a:xfrm>
          <a:custGeom>
            <a:avLst/>
            <a:gdLst>
              <a:gd name="T0" fmla="*/ 0 w 92"/>
              <a:gd name="T1" fmla="*/ 81 h 166"/>
              <a:gd name="T2" fmla="*/ 0 w 92"/>
              <a:gd name="T3" fmla="*/ 148 h 166"/>
              <a:gd name="T4" fmla="*/ 5 w 92"/>
              <a:gd name="T5" fmla="*/ 144 h 166"/>
              <a:gd name="T6" fmla="*/ 12 w 92"/>
              <a:gd name="T7" fmla="*/ 139 h 166"/>
              <a:gd name="T8" fmla="*/ 14 w 92"/>
              <a:gd name="T9" fmla="*/ 137 h 166"/>
              <a:gd name="T10" fmla="*/ 17 w 92"/>
              <a:gd name="T11" fmla="*/ 135 h 166"/>
              <a:gd name="T12" fmla="*/ 18 w 92"/>
              <a:gd name="T13" fmla="*/ 132 h 166"/>
              <a:gd name="T14" fmla="*/ 19 w 92"/>
              <a:gd name="T15" fmla="*/ 130 h 166"/>
              <a:gd name="T16" fmla="*/ 20 w 92"/>
              <a:gd name="T17" fmla="*/ 138 h 166"/>
              <a:gd name="T18" fmla="*/ 24 w 92"/>
              <a:gd name="T19" fmla="*/ 148 h 166"/>
              <a:gd name="T20" fmla="*/ 27 w 92"/>
              <a:gd name="T21" fmla="*/ 154 h 166"/>
              <a:gd name="T22" fmla="*/ 30 w 92"/>
              <a:gd name="T23" fmla="*/ 159 h 166"/>
              <a:gd name="T24" fmla="*/ 35 w 92"/>
              <a:gd name="T25" fmla="*/ 163 h 166"/>
              <a:gd name="T26" fmla="*/ 39 w 92"/>
              <a:gd name="T27" fmla="*/ 166 h 166"/>
              <a:gd name="T28" fmla="*/ 41 w 92"/>
              <a:gd name="T29" fmla="*/ 158 h 166"/>
              <a:gd name="T30" fmla="*/ 41 w 92"/>
              <a:gd name="T31" fmla="*/ 148 h 166"/>
              <a:gd name="T32" fmla="*/ 41 w 92"/>
              <a:gd name="T33" fmla="*/ 137 h 166"/>
              <a:gd name="T34" fmla="*/ 41 w 92"/>
              <a:gd name="T35" fmla="*/ 126 h 166"/>
              <a:gd name="T36" fmla="*/ 40 w 92"/>
              <a:gd name="T37" fmla="*/ 107 h 166"/>
              <a:gd name="T38" fmla="*/ 39 w 92"/>
              <a:gd name="T39" fmla="*/ 99 h 166"/>
              <a:gd name="T40" fmla="*/ 48 w 92"/>
              <a:gd name="T41" fmla="*/ 100 h 166"/>
              <a:gd name="T42" fmla="*/ 57 w 92"/>
              <a:gd name="T43" fmla="*/ 102 h 166"/>
              <a:gd name="T44" fmla="*/ 64 w 92"/>
              <a:gd name="T45" fmla="*/ 105 h 166"/>
              <a:gd name="T46" fmla="*/ 71 w 92"/>
              <a:gd name="T47" fmla="*/ 108 h 166"/>
              <a:gd name="T48" fmla="*/ 76 w 92"/>
              <a:gd name="T49" fmla="*/ 111 h 166"/>
              <a:gd name="T50" fmla="*/ 82 w 92"/>
              <a:gd name="T51" fmla="*/ 114 h 166"/>
              <a:gd name="T52" fmla="*/ 87 w 92"/>
              <a:gd name="T53" fmla="*/ 116 h 166"/>
              <a:gd name="T54" fmla="*/ 92 w 92"/>
              <a:gd name="T55" fmla="*/ 118 h 166"/>
              <a:gd name="T56" fmla="*/ 85 w 92"/>
              <a:gd name="T57" fmla="*/ 103 h 166"/>
              <a:gd name="T58" fmla="*/ 81 w 92"/>
              <a:gd name="T59" fmla="*/ 89 h 166"/>
              <a:gd name="T60" fmla="*/ 76 w 92"/>
              <a:gd name="T61" fmla="*/ 75 h 166"/>
              <a:gd name="T62" fmla="*/ 73 w 92"/>
              <a:gd name="T63" fmla="*/ 60 h 166"/>
              <a:gd name="T64" fmla="*/ 70 w 92"/>
              <a:gd name="T65" fmla="*/ 47 h 166"/>
              <a:gd name="T66" fmla="*/ 67 w 92"/>
              <a:gd name="T67" fmla="*/ 34 h 166"/>
              <a:gd name="T68" fmla="*/ 63 w 92"/>
              <a:gd name="T69" fmla="*/ 23 h 166"/>
              <a:gd name="T70" fmla="*/ 59 w 92"/>
              <a:gd name="T71" fmla="*/ 13 h 166"/>
              <a:gd name="T72" fmla="*/ 59 w 92"/>
              <a:gd name="T73" fmla="*/ 19 h 166"/>
              <a:gd name="T74" fmla="*/ 59 w 92"/>
              <a:gd name="T75" fmla="*/ 25 h 166"/>
              <a:gd name="T76" fmla="*/ 50 w 92"/>
              <a:gd name="T77" fmla="*/ 23 h 166"/>
              <a:gd name="T78" fmla="*/ 42 w 92"/>
              <a:gd name="T79" fmla="*/ 19 h 166"/>
              <a:gd name="T80" fmla="*/ 35 w 92"/>
              <a:gd name="T81" fmla="*/ 15 h 166"/>
              <a:gd name="T82" fmla="*/ 29 w 92"/>
              <a:gd name="T83" fmla="*/ 11 h 166"/>
              <a:gd name="T84" fmla="*/ 23 w 92"/>
              <a:gd name="T85" fmla="*/ 7 h 166"/>
              <a:gd name="T86" fmla="*/ 16 w 92"/>
              <a:gd name="T87" fmla="*/ 3 h 166"/>
              <a:gd name="T88" fmla="*/ 8 w 92"/>
              <a:gd name="T89" fmla="*/ 1 h 166"/>
              <a:gd name="T90" fmla="*/ 0 w 92"/>
              <a:gd name="T91" fmla="*/ 0 h 166"/>
              <a:gd name="T92" fmla="*/ 0 w 92"/>
              <a:gd name="T93" fmla="*/ 10 h 166"/>
              <a:gd name="T94" fmla="*/ 0 w 92"/>
              <a:gd name="T95" fmla="*/ 19 h 166"/>
              <a:gd name="T96" fmla="*/ 0 w 92"/>
              <a:gd name="T97" fmla="*/ 33 h 166"/>
              <a:gd name="T98" fmla="*/ 0 w 92"/>
              <a:gd name="T99" fmla="*/ 52 h 166"/>
              <a:gd name="T100" fmla="*/ 0 w 92"/>
              <a:gd name="T101" fmla="*/ 70 h 166"/>
              <a:gd name="T102" fmla="*/ 0 w 92"/>
              <a:gd name="T103" fmla="*/ 81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30" name="Freeform 336">
            <a:extLst>
              <a:ext uri="{FF2B5EF4-FFF2-40B4-BE49-F238E27FC236}">
                <a16:creationId xmlns:a16="http://schemas.microsoft.com/office/drawing/2014/main" id="{5B35771D-3E35-4E7D-9FEB-A3470C81B3D3}"/>
              </a:ext>
            </a:extLst>
          </p:cNvPr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10843119" y="4069647"/>
            <a:ext cx="68751" cy="55562"/>
          </a:xfrm>
          <a:custGeom>
            <a:avLst/>
            <a:gdLst>
              <a:gd name="T0" fmla="*/ 7 w 166"/>
              <a:gd name="T1" fmla="*/ 0 h 62"/>
              <a:gd name="T2" fmla="*/ 14 w 166"/>
              <a:gd name="T3" fmla="*/ 3 h 62"/>
              <a:gd name="T4" fmla="*/ 22 w 166"/>
              <a:gd name="T5" fmla="*/ 6 h 62"/>
              <a:gd name="T6" fmla="*/ 30 w 166"/>
              <a:gd name="T7" fmla="*/ 7 h 62"/>
              <a:gd name="T8" fmla="*/ 36 w 166"/>
              <a:gd name="T9" fmla="*/ 8 h 62"/>
              <a:gd name="T10" fmla="*/ 48 w 166"/>
              <a:gd name="T11" fmla="*/ 8 h 62"/>
              <a:gd name="T12" fmla="*/ 58 w 166"/>
              <a:gd name="T13" fmla="*/ 7 h 62"/>
              <a:gd name="T14" fmla="*/ 69 w 166"/>
              <a:gd name="T15" fmla="*/ 5 h 62"/>
              <a:gd name="T16" fmla="*/ 80 w 166"/>
              <a:gd name="T17" fmla="*/ 3 h 62"/>
              <a:gd name="T18" fmla="*/ 92 w 166"/>
              <a:gd name="T19" fmla="*/ 1 h 62"/>
              <a:gd name="T20" fmla="*/ 106 w 166"/>
              <a:gd name="T21" fmla="*/ 0 h 62"/>
              <a:gd name="T22" fmla="*/ 111 w 166"/>
              <a:gd name="T23" fmla="*/ 1 h 62"/>
              <a:gd name="T24" fmla="*/ 115 w 166"/>
              <a:gd name="T25" fmla="*/ 2 h 62"/>
              <a:gd name="T26" fmla="*/ 120 w 166"/>
              <a:gd name="T27" fmla="*/ 5 h 62"/>
              <a:gd name="T28" fmla="*/ 124 w 166"/>
              <a:gd name="T29" fmla="*/ 8 h 62"/>
              <a:gd name="T30" fmla="*/ 132 w 166"/>
              <a:gd name="T31" fmla="*/ 17 h 62"/>
              <a:gd name="T32" fmla="*/ 138 w 166"/>
              <a:gd name="T33" fmla="*/ 26 h 62"/>
              <a:gd name="T34" fmla="*/ 145 w 166"/>
              <a:gd name="T35" fmla="*/ 36 h 62"/>
              <a:gd name="T36" fmla="*/ 151 w 166"/>
              <a:gd name="T37" fmla="*/ 45 h 62"/>
              <a:gd name="T38" fmla="*/ 155 w 166"/>
              <a:gd name="T39" fmla="*/ 49 h 62"/>
              <a:gd name="T40" fmla="*/ 158 w 166"/>
              <a:gd name="T41" fmla="*/ 52 h 62"/>
              <a:gd name="T42" fmla="*/ 162 w 166"/>
              <a:gd name="T43" fmla="*/ 54 h 62"/>
              <a:gd name="T44" fmla="*/ 166 w 166"/>
              <a:gd name="T45" fmla="*/ 56 h 62"/>
              <a:gd name="T46" fmla="*/ 159 w 166"/>
              <a:gd name="T47" fmla="*/ 57 h 62"/>
              <a:gd name="T48" fmla="*/ 151 w 166"/>
              <a:gd name="T49" fmla="*/ 59 h 62"/>
              <a:gd name="T50" fmla="*/ 143 w 166"/>
              <a:gd name="T51" fmla="*/ 61 h 62"/>
              <a:gd name="T52" fmla="*/ 133 w 166"/>
              <a:gd name="T53" fmla="*/ 62 h 62"/>
              <a:gd name="T54" fmla="*/ 125 w 166"/>
              <a:gd name="T55" fmla="*/ 61 h 62"/>
              <a:gd name="T56" fmla="*/ 119 w 166"/>
              <a:gd name="T57" fmla="*/ 58 h 62"/>
              <a:gd name="T58" fmla="*/ 112 w 166"/>
              <a:gd name="T59" fmla="*/ 54 h 62"/>
              <a:gd name="T60" fmla="*/ 106 w 166"/>
              <a:gd name="T61" fmla="*/ 50 h 62"/>
              <a:gd name="T62" fmla="*/ 100 w 166"/>
              <a:gd name="T63" fmla="*/ 45 h 62"/>
              <a:gd name="T64" fmla="*/ 93 w 166"/>
              <a:gd name="T65" fmla="*/ 41 h 62"/>
              <a:gd name="T66" fmla="*/ 87 w 166"/>
              <a:gd name="T67" fmla="*/ 39 h 62"/>
              <a:gd name="T68" fmla="*/ 79 w 166"/>
              <a:gd name="T69" fmla="*/ 38 h 62"/>
              <a:gd name="T70" fmla="*/ 56 w 166"/>
              <a:gd name="T71" fmla="*/ 38 h 62"/>
              <a:gd name="T72" fmla="*/ 35 w 166"/>
              <a:gd name="T73" fmla="*/ 39 h 62"/>
              <a:gd name="T74" fmla="*/ 26 w 166"/>
              <a:gd name="T75" fmla="*/ 41 h 62"/>
              <a:gd name="T76" fmla="*/ 19 w 166"/>
              <a:gd name="T77" fmla="*/ 43 h 62"/>
              <a:gd name="T78" fmla="*/ 12 w 166"/>
              <a:gd name="T79" fmla="*/ 46 h 62"/>
              <a:gd name="T80" fmla="*/ 7 w 166"/>
              <a:gd name="T81" fmla="*/ 50 h 62"/>
              <a:gd name="T82" fmla="*/ 2 w 166"/>
              <a:gd name="T83" fmla="*/ 45 h 62"/>
              <a:gd name="T84" fmla="*/ 1 w 166"/>
              <a:gd name="T85" fmla="*/ 40 h 62"/>
              <a:gd name="T86" fmla="*/ 0 w 166"/>
              <a:gd name="T87" fmla="*/ 34 h 62"/>
              <a:gd name="T88" fmla="*/ 1 w 166"/>
              <a:gd name="T89" fmla="*/ 28 h 62"/>
              <a:gd name="T90" fmla="*/ 4 w 166"/>
              <a:gd name="T91" fmla="*/ 15 h 62"/>
              <a:gd name="T92" fmla="*/ 7 w 166"/>
              <a:gd name="T93" fmla="*/ 0 h 6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31" name="Freeform 337">
            <a:extLst>
              <a:ext uri="{FF2B5EF4-FFF2-40B4-BE49-F238E27FC236}">
                <a16:creationId xmlns:a16="http://schemas.microsoft.com/office/drawing/2014/main" id="{F146DC25-118D-458B-8B74-68AD9A823BC3}"/>
              </a:ext>
            </a:extLst>
          </p:cNvPr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10916454" y="3993447"/>
            <a:ext cx="82502" cy="63500"/>
          </a:xfrm>
          <a:custGeom>
            <a:avLst/>
            <a:gdLst>
              <a:gd name="T0" fmla="*/ 33 w 193"/>
              <a:gd name="T1" fmla="*/ 35 h 121"/>
              <a:gd name="T2" fmla="*/ 48 w 193"/>
              <a:gd name="T3" fmla="*/ 25 h 121"/>
              <a:gd name="T4" fmla="*/ 68 w 193"/>
              <a:gd name="T5" fmla="*/ 12 h 121"/>
              <a:gd name="T6" fmla="*/ 84 w 193"/>
              <a:gd name="T7" fmla="*/ 4 h 121"/>
              <a:gd name="T8" fmla="*/ 94 w 193"/>
              <a:gd name="T9" fmla="*/ 1 h 121"/>
              <a:gd name="T10" fmla="*/ 105 w 193"/>
              <a:gd name="T11" fmla="*/ 1 h 121"/>
              <a:gd name="T12" fmla="*/ 116 w 193"/>
              <a:gd name="T13" fmla="*/ 3 h 121"/>
              <a:gd name="T14" fmla="*/ 131 w 193"/>
              <a:gd name="T15" fmla="*/ 10 h 121"/>
              <a:gd name="T16" fmla="*/ 148 w 193"/>
              <a:gd name="T17" fmla="*/ 21 h 121"/>
              <a:gd name="T18" fmla="*/ 162 w 193"/>
              <a:gd name="T19" fmla="*/ 28 h 121"/>
              <a:gd name="T20" fmla="*/ 173 w 193"/>
              <a:gd name="T21" fmla="*/ 30 h 121"/>
              <a:gd name="T22" fmla="*/ 179 w 193"/>
              <a:gd name="T23" fmla="*/ 48 h 121"/>
              <a:gd name="T24" fmla="*/ 178 w 193"/>
              <a:gd name="T25" fmla="*/ 66 h 121"/>
              <a:gd name="T26" fmla="*/ 182 w 193"/>
              <a:gd name="T27" fmla="*/ 75 h 121"/>
              <a:gd name="T28" fmla="*/ 187 w 193"/>
              <a:gd name="T29" fmla="*/ 89 h 121"/>
              <a:gd name="T30" fmla="*/ 188 w 193"/>
              <a:gd name="T31" fmla="*/ 102 h 121"/>
              <a:gd name="T32" fmla="*/ 191 w 193"/>
              <a:gd name="T33" fmla="*/ 109 h 121"/>
              <a:gd name="T34" fmla="*/ 188 w 193"/>
              <a:gd name="T35" fmla="*/ 114 h 121"/>
              <a:gd name="T36" fmla="*/ 177 w 193"/>
              <a:gd name="T37" fmla="*/ 118 h 121"/>
              <a:gd name="T38" fmla="*/ 159 w 193"/>
              <a:gd name="T39" fmla="*/ 121 h 121"/>
              <a:gd name="T40" fmla="*/ 116 w 193"/>
              <a:gd name="T41" fmla="*/ 119 h 121"/>
              <a:gd name="T42" fmla="*/ 72 w 193"/>
              <a:gd name="T43" fmla="*/ 116 h 121"/>
              <a:gd name="T44" fmla="*/ 63 w 193"/>
              <a:gd name="T45" fmla="*/ 110 h 121"/>
              <a:gd name="T46" fmla="*/ 56 w 193"/>
              <a:gd name="T47" fmla="*/ 100 h 121"/>
              <a:gd name="T48" fmla="*/ 54 w 193"/>
              <a:gd name="T49" fmla="*/ 87 h 121"/>
              <a:gd name="T50" fmla="*/ 47 w 193"/>
              <a:gd name="T51" fmla="*/ 79 h 121"/>
              <a:gd name="T52" fmla="*/ 31 w 193"/>
              <a:gd name="T53" fmla="*/ 75 h 121"/>
              <a:gd name="T54" fmla="*/ 13 w 193"/>
              <a:gd name="T55" fmla="*/ 69 h 121"/>
              <a:gd name="T56" fmla="*/ 3 w 193"/>
              <a:gd name="T57" fmla="*/ 62 h 121"/>
              <a:gd name="T58" fmla="*/ 0 w 193"/>
              <a:gd name="T59" fmla="*/ 58 h 121"/>
              <a:gd name="T60" fmla="*/ 1 w 193"/>
              <a:gd name="T61" fmla="*/ 51 h 121"/>
              <a:gd name="T62" fmla="*/ 7 w 193"/>
              <a:gd name="T63" fmla="*/ 45 h 121"/>
              <a:gd name="T64" fmla="*/ 20 w 193"/>
              <a:gd name="T65" fmla="*/ 38 h 1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32" name="Freeform 338">
            <a:extLst>
              <a:ext uri="{FF2B5EF4-FFF2-40B4-BE49-F238E27FC236}">
                <a16:creationId xmlns:a16="http://schemas.microsoft.com/office/drawing/2014/main" id="{F904B373-41CF-4794-9AD2-EE719F4656EF}"/>
              </a:ext>
            </a:extLst>
          </p:cNvPr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10617003" y="3931534"/>
            <a:ext cx="160420" cy="230188"/>
          </a:xfrm>
          <a:custGeom>
            <a:avLst/>
            <a:gdLst>
              <a:gd name="T0" fmla="*/ 37 w 379"/>
              <a:gd name="T1" fmla="*/ 419 h 437"/>
              <a:gd name="T2" fmla="*/ 46 w 379"/>
              <a:gd name="T3" fmla="*/ 407 h 437"/>
              <a:gd name="T4" fmla="*/ 24 w 379"/>
              <a:gd name="T5" fmla="*/ 311 h 437"/>
              <a:gd name="T6" fmla="*/ 2 w 379"/>
              <a:gd name="T7" fmla="*/ 294 h 437"/>
              <a:gd name="T8" fmla="*/ 15 w 379"/>
              <a:gd name="T9" fmla="*/ 270 h 437"/>
              <a:gd name="T10" fmla="*/ 31 w 379"/>
              <a:gd name="T11" fmla="*/ 221 h 437"/>
              <a:gd name="T12" fmla="*/ 39 w 379"/>
              <a:gd name="T13" fmla="*/ 172 h 437"/>
              <a:gd name="T14" fmla="*/ 57 w 379"/>
              <a:gd name="T15" fmla="*/ 159 h 437"/>
              <a:gd name="T16" fmla="*/ 65 w 379"/>
              <a:gd name="T17" fmla="*/ 130 h 437"/>
              <a:gd name="T18" fmla="*/ 76 w 379"/>
              <a:gd name="T19" fmla="*/ 78 h 437"/>
              <a:gd name="T20" fmla="*/ 90 w 379"/>
              <a:gd name="T21" fmla="*/ 51 h 437"/>
              <a:gd name="T22" fmla="*/ 115 w 379"/>
              <a:gd name="T23" fmla="*/ 31 h 437"/>
              <a:gd name="T24" fmla="*/ 153 w 379"/>
              <a:gd name="T25" fmla="*/ 25 h 437"/>
              <a:gd name="T26" fmla="*/ 217 w 379"/>
              <a:gd name="T27" fmla="*/ 38 h 437"/>
              <a:gd name="T28" fmla="*/ 262 w 379"/>
              <a:gd name="T29" fmla="*/ 48 h 437"/>
              <a:gd name="T30" fmla="*/ 303 w 379"/>
              <a:gd name="T31" fmla="*/ 45 h 437"/>
              <a:gd name="T32" fmla="*/ 329 w 379"/>
              <a:gd name="T33" fmla="*/ 31 h 437"/>
              <a:gd name="T34" fmla="*/ 356 w 379"/>
              <a:gd name="T35" fmla="*/ 7 h 437"/>
              <a:gd name="T36" fmla="*/ 374 w 379"/>
              <a:gd name="T37" fmla="*/ 9 h 437"/>
              <a:gd name="T38" fmla="*/ 372 w 379"/>
              <a:gd name="T39" fmla="*/ 35 h 437"/>
              <a:gd name="T40" fmla="*/ 329 w 379"/>
              <a:gd name="T41" fmla="*/ 80 h 437"/>
              <a:gd name="T42" fmla="*/ 292 w 379"/>
              <a:gd name="T43" fmla="*/ 97 h 437"/>
              <a:gd name="T44" fmla="*/ 271 w 379"/>
              <a:gd name="T45" fmla="*/ 94 h 437"/>
              <a:gd name="T46" fmla="*/ 238 w 379"/>
              <a:gd name="T47" fmla="*/ 69 h 437"/>
              <a:gd name="T48" fmla="*/ 212 w 379"/>
              <a:gd name="T49" fmla="*/ 56 h 437"/>
              <a:gd name="T50" fmla="*/ 177 w 379"/>
              <a:gd name="T51" fmla="*/ 56 h 437"/>
              <a:gd name="T52" fmla="*/ 138 w 379"/>
              <a:gd name="T53" fmla="*/ 61 h 437"/>
              <a:gd name="T54" fmla="*/ 114 w 379"/>
              <a:gd name="T55" fmla="*/ 79 h 437"/>
              <a:gd name="T56" fmla="*/ 79 w 379"/>
              <a:gd name="T57" fmla="*/ 161 h 437"/>
              <a:gd name="T58" fmla="*/ 119 w 379"/>
              <a:gd name="T59" fmla="*/ 169 h 437"/>
              <a:gd name="T60" fmla="*/ 133 w 379"/>
              <a:gd name="T61" fmla="*/ 191 h 437"/>
              <a:gd name="T62" fmla="*/ 155 w 379"/>
              <a:gd name="T63" fmla="*/ 168 h 437"/>
              <a:gd name="T64" fmla="*/ 172 w 379"/>
              <a:gd name="T65" fmla="*/ 153 h 437"/>
              <a:gd name="T66" fmla="*/ 221 w 379"/>
              <a:gd name="T67" fmla="*/ 150 h 437"/>
              <a:gd name="T68" fmla="*/ 250 w 379"/>
              <a:gd name="T69" fmla="*/ 147 h 437"/>
              <a:gd name="T70" fmla="*/ 273 w 379"/>
              <a:gd name="T71" fmla="*/ 173 h 437"/>
              <a:gd name="T72" fmla="*/ 279 w 379"/>
              <a:gd name="T73" fmla="*/ 203 h 437"/>
              <a:gd name="T74" fmla="*/ 246 w 379"/>
              <a:gd name="T75" fmla="*/ 192 h 437"/>
              <a:gd name="T76" fmla="*/ 218 w 379"/>
              <a:gd name="T77" fmla="*/ 185 h 437"/>
              <a:gd name="T78" fmla="*/ 192 w 379"/>
              <a:gd name="T79" fmla="*/ 195 h 437"/>
              <a:gd name="T80" fmla="*/ 186 w 379"/>
              <a:gd name="T81" fmla="*/ 209 h 437"/>
              <a:gd name="T82" fmla="*/ 192 w 379"/>
              <a:gd name="T83" fmla="*/ 233 h 437"/>
              <a:gd name="T84" fmla="*/ 220 w 379"/>
              <a:gd name="T85" fmla="*/ 272 h 437"/>
              <a:gd name="T86" fmla="*/ 225 w 379"/>
              <a:gd name="T87" fmla="*/ 296 h 437"/>
              <a:gd name="T88" fmla="*/ 215 w 379"/>
              <a:gd name="T89" fmla="*/ 322 h 437"/>
              <a:gd name="T90" fmla="*/ 205 w 379"/>
              <a:gd name="T91" fmla="*/ 345 h 437"/>
              <a:gd name="T92" fmla="*/ 210 w 379"/>
              <a:gd name="T93" fmla="*/ 356 h 437"/>
              <a:gd name="T94" fmla="*/ 236 w 379"/>
              <a:gd name="T95" fmla="*/ 368 h 437"/>
              <a:gd name="T96" fmla="*/ 252 w 379"/>
              <a:gd name="T97" fmla="*/ 400 h 437"/>
              <a:gd name="T98" fmla="*/ 239 w 379"/>
              <a:gd name="T99" fmla="*/ 429 h 437"/>
              <a:gd name="T100" fmla="*/ 221 w 379"/>
              <a:gd name="T101" fmla="*/ 421 h 437"/>
              <a:gd name="T102" fmla="*/ 202 w 379"/>
              <a:gd name="T103" fmla="*/ 417 h 437"/>
              <a:gd name="T104" fmla="*/ 177 w 379"/>
              <a:gd name="T105" fmla="*/ 400 h 437"/>
              <a:gd name="T106" fmla="*/ 153 w 379"/>
              <a:gd name="T107" fmla="*/ 356 h 437"/>
              <a:gd name="T108" fmla="*/ 137 w 379"/>
              <a:gd name="T109" fmla="*/ 304 h 437"/>
              <a:gd name="T110" fmla="*/ 114 w 379"/>
              <a:gd name="T111" fmla="*/ 263 h 437"/>
              <a:gd name="T112" fmla="*/ 97 w 379"/>
              <a:gd name="T113" fmla="*/ 259 h 437"/>
              <a:gd name="T114" fmla="*/ 105 w 379"/>
              <a:gd name="T115" fmla="*/ 381 h 437"/>
              <a:gd name="T116" fmla="*/ 93 w 379"/>
              <a:gd name="T117" fmla="*/ 404 h 437"/>
              <a:gd name="T118" fmla="*/ 57 w 379"/>
              <a:gd name="T119" fmla="*/ 426 h 437"/>
              <a:gd name="T120" fmla="*/ 59 w 379"/>
              <a:gd name="T121" fmla="*/ 437 h 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33" name="Freeform 339">
            <a:extLst>
              <a:ext uri="{FF2B5EF4-FFF2-40B4-BE49-F238E27FC236}">
                <a16:creationId xmlns:a16="http://schemas.microsoft.com/office/drawing/2014/main" id="{3E0143EF-ADAF-4B63-8870-FA49BEC8E4C4}"/>
              </a:ext>
            </a:extLst>
          </p:cNvPr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10294634" y="4172834"/>
            <a:ext cx="241394" cy="95250"/>
          </a:xfrm>
          <a:custGeom>
            <a:avLst/>
            <a:gdLst>
              <a:gd name="T0" fmla="*/ 11 w 578"/>
              <a:gd name="T1" fmla="*/ 50 h 184"/>
              <a:gd name="T2" fmla="*/ 24 w 578"/>
              <a:gd name="T3" fmla="*/ 32 h 184"/>
              <a:gd name="T4" fmla="*/ 41 w 578"/>
              <a:gd name="T5" fmla="*/ 7 h 184"/>
              <a:gd name="T6" fmla="*/ 54 w 578"/>
              <a:gd name="T7" fmla="*/ 0 h 184"/>
              <a:gd name="T8" fmla="*/ 79 w 578"/>
              <a:gd name="T9" fmla="*/ 2 h 184"/>
              <a:gd name="T10" fmla="*/ 95 w 578"/>
              <a:gd name="T11" fmla="*/ 2 h 184"/>
              <a:gd name="T12" fmla="*/ 101 w 578"/>
              <a:gd name="T13" fmla="*/ 5 h 184"/>
              <a:gd name="T14" fmla="*/ 115 w 578"/>
              <a:gd name="T15" fmla="*/ 15 h 184"/>
              <a:gd name="T16" fmla="*/ 147 w 578"/>
              <a:gd name="T17" fmla="*/ 27 h 184"/>
              <a:gd name="T18" fmla="*/ 168 w 578"/>
              <a:gd name="T19" fmla="*/ 37 h 184"/>
              <a:gd name="T20" fmla="*/ 178 w 578"/>
              <a:gd name="T21" fmla="*/ 53 h 184"/>
              <a:gd name="T22" fmla="*/ 192 w 578"/>
              <a:gd name="T23" fmla="*/ 61 h 184"/>
              <a:gd name="T24" fmla="*/ 231 w 578"/>
              <a:gd name="T25" fmla="*/ 60 h 184"/>
              <a:gd name="T26" fmla="*/ 277 w 578"/>
              <a:gd name="T27" fmla="*/ 51 h 184"/>
              <a:gd name="T28" fmla="*/ 299 w 578"/>
              <a:gd name="T29" fmla="*/ 39 h 184"/>
              <a:gd name="T30" fmla="*/ 314 w 578"/>
              <a:gd name="T31" fmla="*/ 34 h 184"/>
              <a:gd name="T32" fmla="*/ 327 w 578"/>
              <a:gd name="T33" fmla="*/ 35 h 184"/>
              <a:gd name="T34" fmla="*/ 339 w 578"/>
              <a:gd name="T35" fmla="*/ 31 h 184"/>
              <a:gd name="T36" fmla="*/ 366 w 578"/>
              <a:gd name="T37" fmla="*/ 34 h 184"/>
              <a:gd name="T38" fmla="*/ 399 w 578"/>
              <a:gd name="T39" fmla="*/ 59 h 184"/>
              <a:gd name="T40" fmla="*/ 428 w 578"/>
              <a:gd name="T41" fmla="*/ 89 h 184"/>
              <a:gd name="T42" fmla="*/ 456 w 578"/>
              <a:gd name="T43" fmla="*/ 105 h 184"/>
              <a:gd name="T44" fmla="*/ 479 w 578"/>
              <a:gd name="T45" fmla="*/ 107 h 184"/>
              <a:gd name="T46" fmla="*/ 493 w 578"/>
              <a:gd name="T47" fmla="*/ 108 h 184"/>
              <a:gd name="T48" fmla="*/ 505 w 578"/>
              <a:gd name="T49" fmla="*/ 125 h 184"/>
              <a:gd name="T50" fmla="*/ 522 w 578"/>
              <a:gd name="T51" fmla="*/ 140 h 184"/>
              <a:gd name="T52" fmla="*/ 534 w 578"/>
              <a:gd name="T53" fmla="*/ 139 h 184"/>
              <a:gd name="T54" fmla="*/ 546 w 578"/>
              <a:gd name="T55" fmla="*/ 128 h 184"/>
              <a:gd name="T56" fmla="*/ 558 w 578"/>
              <a:gd name="T57" fmla="*/ 134 h 184"/>
              <a:gd name="T58" fmla="*/ 571 w 578"/>
              <a:gd name="T59" fmla="*/ 145 h 184"/>
              <a:gd name="T60" fmla="*/ 578 w 578"/>
              <a:gd name="T61" fmla="*/ 160 h 184"/>
              <a:gd name="T62" fmla="*/ 575 w 578"/>
              <a:gd name="T63" fmla="*/ 173 h 184"/>
              <a:gd name="T64" fmla="*/ 567 w 578"/>
              <a:gd name="T65" fmla="*/ 182 h 184"/>
              <a:gd name="T66" fmla="*/ 551 w 578"/>
              <a:gd name="T67" fmla="*/ 178 h 184"/>
              <a:gd name="T68" fmla="*/ 526 w 578"/>
              <a:gd name="T69" fmla="*/ 170 h 184"/>
              <a:gd name="T70" fmla="*/ 491 w 578"/>
              <a:gd name="T71" fmla="*/ 172 h 184"/>
              <a:gd name="T72" fmla="*/ 462 w 578"/>
              <a:gd name="T73" fmla="*/ 170 h 184"/>
              <a:gd name="T74" fmla="*/ 451 w 578"/>
              <a:gd name="T75" fmla="*/ 160 h 184"/>
              <a:gd name="T76" fmla="*/ 438 w 578"/>
              <a:gd name="T77" fmla="*/ 154 h 184"/>
              <a:gd name="T78" fmla="*/ 426 w 578"/>
              <a:gd name="T79" fmla="*/ 160 h 184"/>
              <a:gd name="T80" fmla="*/ 416 w 578"/>
              <a:gd name="T81" fmla="*/ 170 h 184"/>
              <a:gd name="T82" fmla="*/ 398 w 578"/>
              <a:gd name="T83" fmla="*/ 171 h 184"/>
              <a:gd name="T84" fmla="*/ 328 w 578"/>
              <a:gd name="T85" fmla="*/ 153 h 184"/>
              <a:gd name="T86" fmla="*/ 277 w 578"/>
              <a:gd name="T87" fmla="*/ 132 h 184"/>
              <a:gd name="T88" fmla="*/ 266 w 578"/>
              <a:gd name="T89" fmla="*/ 123 h 184"/>
              <a:gd name="T90" fmla="*/ 230 w 578"/>
              <a:gd name="T91" fmla="*/ 119 h 184"/>
              <a:gd name="T92" fmla="*/ 201 w 578"/>
              <a:gd name="T93" fmla="*/ 113 h 184"/>
              <a:gd name="T94" fmla="*/ 168 w 578"/>
              <a:gd name="T95" fmla="*/ 111 h 184"/>
              <a:gd name="T96" fmla="*/ 146 w 578"/>
              <a:gd name="T97" fmla="*/ 111 h 184"/>
              <a:gd name="T98" fmla="*/ 124 w 578"/>
              <a:gd name="T99" fmla="*/ 105 h 184"/>
              <a:gd name="T100" fmla="*/ 120 w 578"/>
              <a:gd name="T101" fmla="*/ 99 h 184"/>
              <a:gd name="T102" fmla="*/ 69 w 578"/>
              <a:gd name="T103" fmla="*/ 97 h 184"/>
              <a:gd name="T104" fmla="*/ 46 w 578"/>
              <a:gd name="T105" fmla="*/ 88 h 184"/>
              <a:gd name="T106" fmla="*/ 0 w 578"/>
              <a:gd name="T107" fmla="*/ 55 h 1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34" name="Freeform 340">
            <a:extLst>
              <a:ext uri="{FF2B5EF4-FFF2-40B4-BE49-F238E27FC236}">
                <a16:creationId xmlns:a16="http://schemas.microsoft.com/office/drawing/2014/main" id="{BBCF49DB-149A-482B-B9FD-9E0D54F08AA0}"/>
              </a:ext>
            </a:extLst>
          </p:cNvPr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10950064" y="4029960"/>
            <a:ext cx="206254" cy="252413"/>
          </a:xfrm>
          <a:custGeom>
            <a:avLst/>
            <a:gdLst>
              <a:gd name="T0" fmla="*/ 482 w 491"/>
              <a:gd name="T1" fmla="*/ 479 h 481"/>
              <a:gd name="T2" fmla="*/ 457 w 491"/>
              <a:gd name="T3" fmla="*/ 465 h 481"/>
              <a:gd name="T4" fmla="*/ 422 w 491"/>
              <a:gd name="T5" fmla="*/ 434 h 481"/>
              <a:gd name="T6" fmla="*/ 412 w 491"/>
              <a:gd name="T7" fmla="*/ 417 h 481"/>
              <a:gd name="T8" fmla="*/ 376 w 491"/>
              <a:gd name="T9" fmla="*/ 410 h 481"/>
              <a:gd name="T10" fmla="*/ 360 w 491"/>
              <a:gd name="T11" fmla="*/ 406 h 481"/>
              <a:gd name="T12" fmla="*/ 350 w 491"/>
              <a:gd name="T13" fmla="*/ 396 h 481"/>
              <a:gd name="T14" fmla="*/ 346 w 491"/>
              <a:gd name="T15" fmla="*/ 374 h 481"/>
              <a:gd name="T16" fmla="*/ 342 w 491"/>
              <a:gd name="T17" fmla="*/ 332 h 481"/>
              <a:gd name="T18" fmla="*/ 327 w 491"/>
              <a:gd name="T19" fmla="*/ 303 h 481"/>
              <a:gd name="T20" fmla="*/ 319 w 491"/>
              <a:gd name="T21" fmla="*/ 277 h 481"/>
              <a:gd name="T22" fmla="*/ 314 w 491"/>
              <a:gd name="T23" fmla="*/ 244 h 481"/>
              <a:gd name="T24" fmla="*/ 292 w 491"/>
              <a:gd name="T25" fmla="*/ 223 h 481"/>
              <a:gd name="T26" fmla="*/ 260 w 491"/>
              <a:gd name="T27" fmla="*/ 205 h 481"/>
              <a:gd name="T28" fmla="*/ 221 w 491"/>
              <a:gd name="T29" fmla="*/ 190 h 481"/>
              <a:gd name="T30" fmla="*/ 178 w 491"/>
              <a:gd name="T31" fmla="*/ 181 h 481"/>
              <a:gd name="T32" fmla="*/ 133 w 491"/>
              <a:gd name="T33" fmla="*/ 178 h 481"/>
              <a:gd name="T34" fmla="*/ 133 w 491"/>
              <a:gd name="T35" fmla="*/ 156 h 481"/>
              <a:gd name="T36" fmla="*/ 110 w 491"/>
              <a:gd name="T37" fmla="*/ 145 h 481"/>
              <a:gd name="T38" fmla="*/ 85 w 491"/>
              <a:gd name="T39" fmla="*/ 130 h 481"/>
              <a:gd name="T40" fmla="*/ 66 w 491"/>
              <a:gd name="T41" fmla="*/ 111 h 481"/>
              <a:gd name="T42" fmla="*/ 73 w 491"/>
              <a:gd name="T43" fmla="*/ 133 h 481"/>
              <a:gd name="T44" fmla="*/ 54 w 491"/>
              <a:gd name="T45" fmla="*/ 147 h 481"/>
              <a:gd name="T46" fmla="*/ 40 w 491"/>
              <a:gd name="T47" fmla="*/ 178 h 481"/>
              <a:gd name="T48" fmla="*/ 24 w 491"/>
              <a:gd name="T49" fmla="*/ 220 h 481"/>
              <a:gd name="T50" fmla="*/ 13 w 491"/>
              <a:gd name="T51" fmla="*/ 265 h 481"/>
              <a:gd name="T52" fmla="*/ 14 w 491"/>
              <a:gd name="T53" fmla="*/ 237 h 481"/>
              <a:gd name="T54" fmla="*/ 23 w 491"/>
              <a:gd name="T55" fmla="*/ 209 h 481"/>
              <a:gd name="T56" fmla="*/ 32 w 491"/>
              <a:gd name="T57" fmla="*/ 181 h 481"/>
              <a:gd name="T58" fmla="*/ 30 w 491"/>
              <a:gd name="T59" fmla="*/ 143 h 481"/>
              <a:gd name="T60" fmla="*/ 17 w 491"/>
              <a:gd name="T61" fmla="*/ 111 h 481"/>
              <a:gd name="T62" fmla="*/ 0 w 491"/>
              <a:gd name="T63" fmla="*/ 73 h 481"/>
              <a:gd name="T64" fmla="*/ 34 w 491"/>
              <a:gd name="T65" fmla="*/ 59 h 481"/>
              <a:gd name="T66" fmla="*/ 59 w 491"/>
              <a:gd name="T67" fmla="*/ 55 h 481"/>
              <a:gd name="T68" fmla="*/ 84 w 491"/>
              <a:gd name="T69" fmla="*/ 58 h 481"/>
              <a:gd name="T70" fmla="*/ 102 w 491"/>
              <a:gd name="T71" fmla="*/ 66 h 481"/>
              <a:gd name="T72" fmla="*/ 121 w 491"/>
              <a:gd name="T73" fmla="*/ 82 h 481"/>
              <a:gd name="T74" fmla="*/ 140 w 491"/>
              <a:gd name="T75" fmla="*/ 111 h 481"/>
              <a:gd name="T76" fmla="*/ 183 w 491"/>
              <a:gd name="T77" fmla="*/ 103 h 481"/>
              <a:gd name="T78" fmla="*/ 196 w 491"/>
              <a:gd name="T79" fmla="*/ 96 h 481"/>
              <a:gd name="T80" fmla="*/ 200 w 491"/>
              <a:gd name="T81" fmla="*/ 90 h 481"/>
              <a:gd name="T82" fmla="*/ 207 w 491"/>
              <a:gd name="T83" fmla="*/ 73 h 481"/>
              <a:gd name="T84" fmla="*/ 232 w 491"/>
              <a:gd name="T85" fmla="*/ 54 h 481"/>
              <a:gd name="T86" fmla="*/ 254 w 491"/>
              <a:gd name="T87" fmla="*/ 49 h 481"/>
              <a:gd name="T88" fmla="*/ 263 w 491"/>
              <a:gd name="T89" fmla="*/ 30 h 481"/>
              <a:gd name="T90" fmla="*/ 280 w 491"/>
              <a:gd name="T91" fmla="*/ 9 h 481"/>
              <a:gd name="T92" fmla="*/ 300 w 491"/>
              <a:gd name="T93" fmla="*/ 1 h 481"/>
              <a:gd name="T94" fmla="*/ 323 w 491"/>
              <a:gd name="T95" fmla="*/ 0 h 481"/>
              <a:gd name="T96" fmla="*/ 351 w 491"/>
              <a:gd name="T97" fmla="*/ 8 h 481"/>
              <a:gd name="T98" fmla="*/ 399 w 491"/>
              <a:gd name="T99" fmla="*/ 38 h 481"/>
              <a:gd name="T100" fmla="*/ 428 w 491"/>
              <a:gd name="T101" fmla="*/ 53 h 481"/>
              <a:gd name="T102" fmla="*/ 459 w 491"/>
              <a:gd name="T103" fmla="*/ 60 h 481"/>
              <a:gd name="T104" fmla="*/ 491 w 491"/>
              <a:gd name="T105" fmla="*/ 67 h 481"/>
              <a:gd name="T106" fmla="*/ 491 w 491"/>
              <a:gd name="T107" fmla="*/ 326 h 4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35" name="Freeform 341">
            <a:extLst>
              <a:ext uri="{FF2B5EF4-FFF2-40B4-BE49-F238E27FC236}">
                <a16:creationId xmlns:a16="http://schemas.microsoft.com/office/drawing/2014/main" id="{69DE6FF8-F948-4B45-96B7-BB88E0F8BC83}"/>
              </a:ext>
            </a:extLst>
          </p:cNvPr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9536839" y="2861560"/>
            <a:ext cx="51946" cy="60325"/>
          </a:xfrm>
          <a:custGeom>
            <a:avLst/>
            <a:gdLst>
              <a:gd name="T0" fmla="*/ 0 w 133"/>
              <a:gd name="T1" fmla="*/ 19 h 117"/>
              <a:gd name="T2" fmla="*/ 72 w 133"/>
              <a:gd name="T3" fmla="*/ 0 h 117"/>
              <a:gd name="T4" fmla="*/ 81 w 133"/>
              <a:gd name="T5" fmla="*/ 6 h 117"/>
              <a:gd name="T6" fmla="*/ 91 w 133"/>
              <a:gd name="T7" fmla="*/ 14 h 117"/>
              <a:gd name="T8" fmla="*/ 101 w 133"/>
              <a:gd name="T9" fmla="*/ 25 h 117"/>
              <a:gd name="T10" fmla="*/ 109 w 133"/>
              <a:gd name="T11" fmla="*/ 37 h 117"/>
              <a:gd name="T12" fmla="*/ 118 w 133"/>
              <a:gd name="T13" fmla="*/ 49 h 117"/>
              <a:gd name="T14" fmla="*/ 126 w 133"/>
              <a:gd name="T15" fmla="*/ 62 h 117"/>
              <a:gd name="T16" fmla="*/ 128 w 133"/>
              <a:gd name="T17" fmla="*/ 68 h 117"/>
              <a:gd name="T18" fmla="*/ 130 w 133"/>
              <a:gd name="T19" fmla="*/ 74 h 117"/>
              <a:gd name="T20" fmla="*/ 131 w 133"/>
              <a:gd name="T21" fmla="*/ 80 h 117"/>
              <a:gd name="T22" fmla="*/ 133 w 133"/>
              <a:gd name="T23" fmla="*/ 86 h 117"/>
              <a:gd name="T24" fmla="*/ 131 w 133"/>
              <a:gd name="T25" fmla="*/ 92 h 117"/>
              <a:gd name="T26" fmla="*/ 128 w 133"/>
              <a:gd name="T27" fmla="*/ 97 h 117"/>
              <a:gd name="T28" fmla="*/ 124 w 133"/>
              <a:gd name="T29" fmla="*/ 102 h 117"/>
              <a:gd name="T30" fmla="*/ 118 w 133"/>
              <a:gd name="T31" fmla="*/ 107 h 117"/>
              <a:gd name="T32" fmla="*/ 113 w 133"/>
              <a:gd name="T33" fmla="*/ 111 h 117"/>
              <a:gd name="T34" fmla="*/ 107 w 133"/>
              <a:gd name="T35" fmla="*/ 114 h 117"/>
              <a:gd name="T36" fmla="*/ 103 w 133"/>
              <a:gd name="T37" fmla="*/ 117 h 117"/>
              <a:gd name="T38" fmla="*/ 100 w 133"/>
              <a:gd name="T39" fmla="*/ 117 h 117"/>
              <a:gd name="T40" fmla="*/ 72 w 133"/>
              <a:gd name="T41" fmla="*/ 95 h 117"/>
              <a:gd name="T42" fmla="*/ 45 w 133"/>
              <a:gd name="T43" fmla="*/ 70 h 117"/>
              <a:gd name="T44" fmla="*/ 32 w 133"/>
              <a:gd name="T45" fmla="*/ 58 h 117"/>
              <a:gd name="T46" fmla="*/ 18 w 133"/>
              <a:gd name="T47" fmla="*/ 46 h 117"/>
              <a:gd name="T48" fmla="*/ 8 w 133"/>
              <a:gd name="T49" fmla="*/ 33 h 117"/>
              <a:gd name="T50" fmla="*/ 0 w 133"/>
              <a:gd name="T51" fmla="*/ 19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36" name="Freeform 342">
            <a:extLst>
              <a:ext uri="{FF2B5EF4-FFF2-40B4-BE49-F238E27FC236}">
                <a16:creationId xmlns:a16="http://schemas.microsoft.com/office/drawing/2014/main" id="{C32CEFA7-F376-4415-9599-21B0B974A829}"/>
              </a:ext>
            </a:extLst>
          </p:cNvPr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8051806" y="2266247"/>
            <a:ext cx="212366" cy="177800"/>
          </a:xfrm>
          <a:custGeom>
            <a:avLst/>
            <a:gdLst>
              <a:gd name="T0" fmla="*/ 272 w 505"/>
              <a:gd name="T1" fmla="*/ 36 h 339"/>
              <a:gd name="T2" fmla="*/ 484 w 505"/>
              <a:gd name="T3" fmla="*/ 86 h 339"/>
              <a:gd name="T4" fmla="*/ 478 w 505"/>
              <a:gd name="T5" fmla="*/ 109 h 339"/>
              <a:gd name="T6" fmla="*/ 471 w 505"/>
              <a:gd name="T7" fmla="*/ 129 h 339"/>
              <a:gd name="T8" fmla="*/ 461 w 505"/>
              <a:gd name="T9" fmla="*/ 145 h 339"/>
              <a:gd name="T10" fmla="*/ 451 w 505"/>
              <a:gd name="T11" fmla="*/ 153 h 339"/>
              <a:gd name="T12" fmla="*/ 461 w 505"/>
              <a:gd name="T13" fmla="*/ 184 h 339"/>
              <a:gd name="T14" fmla="*/ 477 w 505"/>
              <a:gd name="T15" fmla="*/ 215 h 339"/>
              <a:gd name="T16" fmla="*/ 505 w 505"/>
              <a:gd name="T17" fmla="*/ 258 h 339"/>
              <a:gd name="T18" fmla="*/ 493 w 505"/>
              <a:gd name="T19" fmla="*/ 271 h 339"/>
              <a:gd name="T20" fmla="*/ 479 w 505"/>
              <a:gd name="T21" fmla="*/ 292 h 339"/>
              <a:gd name="T22" fmla="*/ 468 w 505"/>
              <a:gd name="T23" fmla="*/ 314 h 339"/>
              <a:gd name="T24" fmla="*/ 464 w 505"/>
              <a:gd name="T25" fmla="*/ 339 h 339"/>
              <a:gd name="T26" fmla="*/ 443 w 505"/>
              <a:gd name="T27" fmla="*/ 338 h 339"/>
              <a:gd name="T28" fmla="*/ 414 w 505"/>
              <a:gd name="T29" fmla="*/ 335 h 339"/>
              <a:gd name="T30" fmla="*/ 385 w 505"/>
              <a:gd name="T31" fmla="*/ 331 h 339"/>
              <a:gd name="T32" fmla="*/ 358 w 505"/>
              <a:gd name="T33" fmla="*/ 326 h 339"/>
              <a:gd name="T34" fmla="*/ 304 w 505"/>
              <a:gd name="T35" fmla="*/ 325 h 339"/>
              <a:gd name="T36" fmla="*/ 264 w 505"/>
              <a:gd name="T37" fmla="*/ 321 h 339"/>
              <a:gd name="T38" fmla="*/ 248 w 505"/>
              <a:gd name="T39" fmla="*/ 317 h 339"/>
              <a:gd name="T40" fmla="*/ 232 w 505"/>
              <a:gd name="T41" fmla="*/ 310 h 339"/>
              <a:gd name="T42" fmla="*/ 213 w 505"/>
              <a:gd name="T43" fmla="*/ 300 h 339"/>
              <a:gd name="T44" fmla="*/ 180 w 505"/>
              <a:gd name="T45" fmla="*/ 289 h 339"/>
              <a:gd name="T46" fmla="*/ 146 w 505"/>
              <a:gd name="T47" fmla="*/ 273 h 339"/>
              <a:gd name="T48" fmla="*/ 98 w 505"/>
              <a:gd name="T49" fmla="*/ 249 h 339"/>
              <a:gd name="T50" fmla="*/ 62 w 505"/>
              <a:gd name="T51" fmla="*/ 206 h 339"/>
              <a:gd name="T52" fmla="*/ 52 w 505"/>
              <a:gd name="T53" fmla="*/ 169 h 339"/>
              <a:gd name="T54" fmla="*/ 36 w 505"/>
              <a:gd name="T55" fmla="*/ 124 h 339"/>
              <a:gd name="T56" fmla="*/ 15 w 505"/>
              <a:gd name="T57" fmla="*/ 83 h 339"/>
              <a:gd name="T58" fmla="*/ 2 w 505"/>
              <a:gd name="T59" fmla="*/ 64 h 339"/>
              <a:gd name="T60" fmla="*/ 5 w 505"/>
              <a:gd name="T61" fmla="*/ 61 h 339"/>
              <a:gd name="T62" fmla="*/ 11 w 505"/>
              <a:gd name="T63" fmla="*/ 56 h 339"/>
              <a:gd name="T64" fmla="*/ 11 w 505"/>
              <a:gd name="T65" fmla="*/ 48 h 339"/>
              <a:gd name="T66" fmla="*/ 11 w 505"/>
              <a:gd name="T67" fmla="*/ 43 h 339"/>
              <a:gd name="T68" fmla="*/ 34 w 505"/>
              <a:gd name="T69" fmla="*/ 34 h 339"/>
              <a:gd name="T70" fmla="*/ 73 w 505"/>
              <a:gd name="T71" fmla="*/ 22 h 339"/>
              <a:gd name="T72" fmla="*/ 128 w 505"/>
              <a:gd name="T73" fmla="*/ 8 h 339"/>
              <a:gd name="T74" fmla="*/ 173 w 505"/>
              <a:gd name="T75" fmla="*/ 11 h 339"/>
              <a:gd name="T76" fmla="*/ 188 w 505"/>
              <a:gd name="T77" fmla="*/ 28 h 339"/>
              <a:gd name="T78" fmla="*/ 201 w 505"/>
              <a:gd name="T79" fmla="*/ 35 h 339"/>
              <a:gd name="T80" fmla="*/ 219 w 505"/>
              <a:gd name="T81" fmla="*/ 36 h 339"/>
              <a:gd name="T82" fmla="*/ 239 w 505"/>
              <a:gd name="T83" fmla="*/ 36 h 339"/>
              <a:gd name="T84" fmla="*/ 259 w 505"/>
              <a:gd name="T85" fmla="*/ 24 h 3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7" name="Freeform 343">
            <a:extLst>
              <a:ext uri="{FF2B5EF4-FFF2-40B4-BE49-F238E27FC236}">
                <a16:creationId xmlns:a16="http://schemas.microsoft.com/office/drawing/2014/main" id="{D5113D99-8729-44FF-A78D-998AEB43CE44}"/>
              </a:ext>
            </a:extLst>
          </p:cNvPr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8112918" y="2471034"/>
            <a:ext cx="140559" cy="71438"/>
          </a:xfrm>
          <a:custGeom>
            <a:avLst/>
            <a:gdLst>
              <a:gd name="T0" fmla="*/ 312 w 338"/>
              <a:gd name="T1" fmla="*/ 0 h 141"/>
              <a:gd name="T2" fmla="*/ 186 w 338"/>
              <a:gd name="T3" fmla="*/ 0 h 141"/>
              <a:gd name="T4" fmla="*/ 168 w 338"/>
              <a:gd name="T5" fmla="*/ 8 h 141"/>
              <a:gd name="T6" fmla="*/ 144 w 338"/>
              <a:gd name="T7" fmla="*/ 21 h 141"/>
              <a:gd name="T8" fmla="*/ 132 w 338"/>
              <a:gd name="T9" fmla="*/ 27 h 141"/>
              <a:gd name="T10" fmla="*/ 119 w 338"/>
              <a:gd name="T11" fmla="*/ 32 h 141"/>
              <a:gd name="T12" fmla="*/ 112 w 338"/>
              <a:gd name="T13" fmla="*/ 34 h 141"/>
              <a:gd name="T14" fmla="*/ 105 w 338"/>
              <a:gd name="T15" fmla="*/ 35 h 141"/>
              <a:gd name="T16" fmla="*/ 99 w 338"/>
              <a:gd name="T17" fmla="*/ 36 h 141"/>
              <a:gd name="T18" fmla="*/ 93 w 338"/>
              <a:gd name="T19" fmla="*/ 37 h 141"/>
              <a:gd name="T20" fmla="*/ 88 w 338"/>
              <a:gd name="T21" fmla="*/ 36 h 141"/>
              <a:gd name="T22" fmla="*/ 84 w 338"/>
              <a:gd name="T23" fmla="*/ 35 h 141"/>
              <a:gd name="T24" fmla="*/ 78 w 338"/>
              <a:gd name="T25" fmla="*/ 32 h 141"/>
              <a:gd name="T26" fmla="*/ 74 w 338"/>
              <a:gd name="T27" fmla="*/ 30 h 141"/>
              <a:gd name="T28" fmla="*/ 66 w 338"/>
              <a:gd name="T29" fmla="*/ 24 h 141"/>
              <a:gd name="T30" fmla="*/ 59 w 338"/>
              <a:gd name="T31" fmla="*/ 18 h 141"/>
              <a:gd name="T32" fmla="*/ 49 w 338"/>
              <a:gd name="T33" fmla="*/ 34 h 141"/>
              <a:gd name="T34" fmla="*/ 37 w 338"/>
              <a:gd name="T35" fmla="*/ 51 h 141"/>
              <a:gd name="T36" fmla="*/ 30 w 338"/>
              <a:gd name="T37" fmla="*/ 60 h 141"/>
              <a:gd name="T38" fmla="*/ 21 w 338"/>
              <a:gd name="T39" fmla="*/ 68 h 141"/>
              <a:gd name="T40" fmla="*/ 11 w 338"/>
              <a:gd name="T41" fmla="*/ 75 h 141"/>
              <a:gd name="T42" fmla="*/ 0 w 338"/>
              <a:gd name="T43" fmla="*/ 80 h 141"/>
              <a:gd name="T44" fmla="*/ 12 w 338"/>
              <a:gd name="T45" fmla="*/ 90 h 141"/>
              <a:gd name="T46" fmla="*/ 23 w 338"/>
              <a:gd name="T47" fmla="*/ 100 h 141"/>
              <a:gd name="T48" fmla="*/ 33 w 338"/>
              <a:gd name="T49" fmla="*/ 108 h 141"/>
              <a:gd name="T50" fmla="*/ 44 w 338"/>
              <a:gd name="T51" fmla="*/ 116 h 141"/>
              <a:gd name="T52" fmla="*/ 55 w 338"/>
              <a:gd name="T53" fmla="*/ 122 h 141"/>
              <a:gd name="T54" fmla="*/ 66 w 338"/>
              <a:gd name="T55" fmla="*/ 129 h 141"/>
              <a:gd name="T56" fmla="*/ 79 w 338"/>
              <a:gd name="T57" fmla="*/ 135 h 141"/>
              <a:gd name="T58" fmla="*/ 93 w 338"/>
              <a:gd name="T59" fmla="*/ 141 h 141"/>
              <a:gd name="T60" fmla="*/ 259 w 338"/>
              <a:gd name="T61" fmla="*/ 141 h 141"/>
              <a:gd name="T62" fmla="*/ 269 w 338"/>
              <a:gd name="T63" fmla="*/ 124 h 141"/>
              <a:gd name="T64" fmla="*/ 281 w 338"/>
              <a:gd name="T65" fmla="*/ 107 h 141"/>
              <a:gd name="T66" fmla="*/ 292 w 338"/>
              <a:gd name="T67" fmla="*/ 92 h 141"/>
              <a:gd name="T68" fmla="*/ 304 w 338"/>
              <a:gd name="T69" fmla="*/ 78 h 141"/>
              <a:gd name="T70" fmla="*/ 315 w 338"/>
              <a:gd name="T71" fmla="*/ 64 h 141"/>
              <a:gd name="T72" fmla="*/ 324 w 338"/>
              <a:gd name="T73" fmla="*/ 48 h 141"/>
              <a:gd name="T74" fmla="*/ 333 w 338"/>
              <a:gd name="T75" fmla="*/ 34 h 141"/>
              <a:gd name="T76" fmla="*/ 338 w 338"/>
              <a:gd name="T77" fmla="*/ 18 h 141"/>
              <a:gd name="T78" fmla="*/ 312 w 338"/>
              <a:gd name="T79" fmla="*/ 0 h 1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8" name="Freeform 344">
            <a:extLst>
              <a:ext uri="{FF2B5EF4-FFF2-40B4-BE49-F238E27FC236}">
                <a16:creationId xmlns:a16="http://schemas.microsoft.com/office/drawing/2014/main" id="{3D18D83F-C540-47BC-B171-48D7E67E17D0}"/>
              </a:ext>
            </a:extLst>
          </p:cNvPr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8209172" y="2126548"/>
            <a:ext cx="106947" cy="65087"/>
          </a:xfrm>
          <a:custGeom>
            <a:avLst/>
            <a:gdLst>
              <a:gd name="T0" fmla="*/ 259 w 259"/>
              <a:gd name="T1" fmla="*/ 129 h 129"/>
              <a:gd name="T2" fmla="*/ 255 w 259"/>
              <a:gd name="T3" fmla="*/ 102 h 129"/>
              <a:gd name="T4" fmla="*/ 252 w 259"/>
              <a:gd name="T5" fmla="*/ 80 h 129"/>
              <a:gd name="T6" fmla="*/ 252 w 259"/>
              <a:gd name="T7" fmla="*/ 63 h 129"/>
              <a:gd name="T8" fmla="*/ 253 w 259"/>
              <a:gd name="T9" fmla="*/ 50 h 129"/>
              <a:gd name="T10" fmla="*/ 257 w 259"/>
              <a:gd name="T11" fmla="*/ 29 h 129"/>
              <a:gd name="T12" fmla="*/ 259 w 259"/>
              <a:gd name="T13" fmla="*/ 12 h 129"/>
              <a:gd name="T14" fmla="*/ 258 w 259"/>
              <a:gd name="T15" fmla="*/ 14 h 129"/>
              <a:gd name="T16" fmla="*/ 256 w 259"/>
              <a:gd name="T17" fmla="*/ 16 h 129"/>
              <a:gd name="T18" fmla="*/ 253 w 259"/>
              <a:gd name="T19" fmla="*/ 17 h 129"/>
              <a:gd name="T20" fmla="*/ 249 w 259"/>
              <a:gd name="T21" fmla="*/ 18 h 129"/>
              <a:gd name="T22" fmla="*/ 239 w 259"/>
              <a:gd name="T23" fmla="*/ 19 h 129"/>
              <a:gd name="T24" fmla="*/ 228 w 259"/>
              <a:gd name="T25" fmla="*/ 19 h 129"/>
              <a:gd name="T26" fmla="*/ 205 w 259"/>
              <a:gd name="T27" fmla="*/ 19 h 129"/>
              <a:gd name="T28" fmla="*/ 192 w 259"/>
              <a:gd name="T29" fmla="*/ 18 h 129"/>
              <a:gd name="T30" fmla="*/ 181 w 259"/>
              <a:gd name="T31" fmla="*/ 17 h 129"/>
              <a:gd name="T32" fmla="*/ 172 w 259"/>
              <a:gd name="T33" fmla="*/ 15 h 129"/>
              <a:gd name="T34" fmla="*/ 163 w 259"/>
              <a:gd name="T35" fmla="*/ 12 h 129"/>
              <a:gd name="T36" fmla="*/ 156 w 259"/>
              <a:gd name="T37" fmla="*/ 9 h 129"/>
              <a:gd name="T38" fmla="*/ 146 w 259"/>
              <a:gd name="T39" fmla="*/ 6 h 129"/>
              <a:gd name="T40" fmla="*/ 134 w 259"/>
              <a:gd name="T41" fmla="*/ 3 h 129"/>
              <a:gd name="T42" fmla="*/ 118 w 259"/>
              <a:gd name="T43" fmla="*/ 1 h 129"/>
              <a:gd name="T44" fmla="*/ 99 w 259"/>
              <a:gd name="T45" fmla="*/ 0 h 129"/>
              <a:gd name="T46" fmla="*/ 83 w 259"/>
              <a:gd name="T47" fmla="*/ 0 h 129"/>
              <a:gd name="T48" fmla="*/ 67 w 259"/>
              <a:gd name="T49" fmla="*/ 0 h 129"/>
              <a:gd name="T50" fmla="*/ 50 w 259"/>
              <a:gd name="T51" fmla="*/ 0 h 129"/>
              <a:gd name="T52" fmla="*/ 34 w 259"/>
              <a:gd name="T53" fmla="*/ 2 h 129"/>
              <a:gd name="T54" fmla="*/ 27 w 259"/>
              <a:gd name="T55" fmla="*/ 4 h 129"/>
              <a:gd name="T56" fmla="*/ 21 w 259"/>
              <a:gd name="T57" fmla="*/ 6 h 129"/>
              <a:gd name="T58" fmla="*/ 14 w 259"/>
              <a:gd name="T59" fmla="*/ 9 h 129"/>
              <a:gd name="T60" fmla="*/ 10 w 259"/>
              <a:gd name="T61" fmla="*/ 13 h 129"/>
              <a:gd name="T62" fmla="*/ 5 w 259"/>
              <a:gd name="T63" fmla="*/ 17 h 129"/>
              <a:gd name="T64" fmla="*/ 2 w 259"/>
              <a:gd name="T65" fmla="*/ 22 h 129"/>
              <a:gd name="T66" fmla="*/ 0 w 259"/>
              <a:gd name="T67" fmla="*/ 29 h 129"/>
              <a:gd name="T68" fmla="*/ 0 w 259"/>
              <a:gd name="T69" fmla="*/ 36 h 129"/>
              <a:gd name="T70" fmla="*/ 0 w 259"/>
              <a:gd name="T71" fmla="*/ 48 h 129"/>
              <a:gd name="T72" fmla="*/ 3 w 259"/>
              <a:gd name="T73" fmla="*/ 58 h 129"/>
              <a:gd name="T74" fmla="*/ 6 w 259"/>
              <a:gd name="T75" fmla="*/ 65 h 129"/>
              <a:gd name="T76" fmla="*/ 12 w 259"/>
              <a:gd name="T77" fmla="*/ 71 h 129"/>
              <a:gd name="T78" fmla="*/ 17 w 259"/>
              <a:gd name="T79" fmla="*/ 76 h 129"/>
              <a:gd name="T80" fmla="*/ 24 w 259"/>
              <a:gd name="T81" fmla="*/ 80 h 129"/>
              <a:gd name="T82" fmla="*/ 31 w 259"/>
              <a:gd name="T83" fmla="*/ 83 h 129"/>
              <a:gd name="T84" fmla="*/ 37 w 259"/>
              <a:gd name="T85" fmla="*/ 85 h 129"/>
              <a:gd name="T86" fmla="*/ 50 w 259"/>
              <a:gd name="T87" fmla="*/ 88 h 129"/>
              <a:gd name="T88" fmla="*/ 61 w 259"/>
              <a:gd name="T89" fmla="*/ 92 h 129"/>
              <a:gd name="T90" fmla="*/ 65 w 259"/>
              <a:gd name="T91" fmla="*/ 95 h 129"/>
              <a:gd name="T92" fmla="*/ 67 w 259"/>
              <a:gd name="T93" fmla="*/ 99 h 129"/>
              <a:gd name="T94" fmla="*/ 67 w 259"/>
              <a:gd name="T95" fmla="*/ 105 h 129"/>
              <a:gd name="T96" fmla="*/ 66 w 259"/>
              <a:gd name="T97" fmla="*/ 111 h 129"/>
              <a:gd name="T98" fmla="*/ 81 w 259"/>
              <a:gd name="T99" fmla="*/ 110 h 129"/>
              <a:gd name="T100" fmla="*/ 91 w 259"/>
              <a:gd name="T101" fmla="*/ 108 h 129"/>
              <a:gd name="T102" fmla="*/ 98 w 259"/>
              <a:gd name="T103" fmla="*/ 106 h 129"/>
              <a:gd name="T104" fmla="*/ 105 w 259"/>
              <a:gd name="T105" fmla="*/ 105 h 129"/>
              <a:gd name="T106" fmla="*/ 120 w 259"/>
              <a:gd name="T107" fmla="*/ 106 h 129"/>
              <a:gd name="T108" fmla="*/ 140 w 259"/>
              <a:gd name="T109" fmla="*/ 108 h 129"/>
              <a:gd name="T110" fmla="*/ 166 w 259"/>
              <a:gd name="T111" fmla="*/ 112 h 129"/>
              <a:gd name="T112" fmla="*/ 192 w 259"/>
              <a:gd name="T113" fmla="*/ 117 h 129"/>
              <a:gd name="T114" fmla="*/ 238 w 259"/>
              <a:gd name="T115" fmla="*/ 125 h 129"/>
              <a:gd name="T116" fmla="*/ 259 w 259"/>
              <a:gd name="T117" fmla="*/ 129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39" name="Freeform 345">
            <a:extLst>
              <a:ext uri="{FF2B5EF4-FFF2-40B4-BE49-F238E27FC236}">
                <a16:creationId xmlns:a16="http://schemas.microsoft.com/office/drawing/2014/main" id="{207A867A-8994-4B67-8F26-3020FF3FF9ED}"/>
              </a:ext>
            </a:extLst>
          </p:cNvPr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8221394" y="2474210"/>
            <a:ext cx="172642" cy="142875"/>
          </a:xfrm>
          <a:custGeom>
            <a:avLst/>
            <a:gdLst>
              <a:gd name="T0" fmla="*/ 418 w 425"/>
              <a:gd name="T1" fmla="*/ 170 h 272"/>
              <a:gd name="T2" fmla="*/ 398 w 425"/>
              <a:gd name="T3" fmla="*/ 188 h 272"/>
              <a:gd name="T4" fmla="*/ 383 w 425"/>
              <a:gd name="T5" fmla="*/ 206 h 272"/>
              <a:gd name="T6" fmla="*/ 384 w 425"/>
              <a:gd name="T7" fmla="*/ 221 h 272"/>
              <a:gd name="T8" fmla="*/ 389 w 425"/>
              <a:gd name="T9" fmla="*/ 237 h 272"/>
              <a:gd name="T10" fmla="*/ 375 w 425"/>
              <a:gd name="T11" fmla="*/ 244 h 272"/>
              <a:gd name="T12" fmla="*/ 347 w 425"/>
              <a:gd name="T13" fmla="*/ 238 h 272"/>
              <a:gd name="T14" fmla="*/ 324 w 425"/>
              <a:gd name="T15" fmla="*/ 235 h 272"/>
              <a:gd name="T16" fmla="*/ 295 w 425"/>
              <a:gd name="T17" fmla="*/ 235 h 272"/>
              <a:gd name="T18" fmla="*/ 263 w 425"/>
              <a:gd name="T19" fmla="*/ 243 h 272"/>
              <a:gd name="T20" fmla="*/ 232 w 425"/>
              <a:gd name="T21" fmla="*/ 254 h 272"/>
              <a:gd name="T22" fmla="*/ 197 w 425"/>
              <a:gd name="T23" fmla="*/ 267 h 272"/>
              <a:gd name="T24" fmla="*/ 100 w 425"/>
              <a:gd name="T25" fmla="*/ 240 h 272"/>
              <a:gd name="T26" fmla="*/ 85 w 425"/>
              <a:gd name="T27" fmla="*/ 226 h 272"/>
              <a:gd name="T28" fmla="*/ 70 w 425"/>
              <a:gd name="T29" fmla="*/ 214 h 272"/>
              <a:gd name="T30" fmla="*/ 37 w 425"/>
              <a:gd name="T31" fmla="*/ 192 h 272"/>
              <a:gd name="T32" fmla="*/ 22 w 425"/>
              <a:gd name="T33" fmla="*/ 180 h 272"/>
              <a:gd name="T34" fmla="*/ 11 w 425"/>
              <a:gd name="T35" fmla="*/ 167 h 272"/>
              <a:gd name="T36" fmla="*/ 2 w 425"/>
              <a:gd name="T37" fmla="*/ 150 h 272"/>
              <a:gd name="T38" fmla="*/ 0 w 425"/>
              <a:gd name="T39" fmla="*/ 129 h 272"/>
              <a:gd name="T40" fmla="*/ 50 w 425"/>
              <a:gd name="T41" fmla="*/ 66 h 272"/>
              <a:gd name="T42" fmla="*/ 71 w 425"/>
              <a:gd name="T43" fmla="*/ 36 h 272"/>
              <a:gd name="T44" fmla="*/ 80 w 425"/>
              <a:gd name="T45" fmla="*/ 22 h 272"/>
              <a:gd name="T46" fmla="*/ 85 w 425"/>
              <a:gd name="T47" fmla="*/ 6 h 272"/>
              <a:gd name="T48" fmla="*/ 123 w 425"/>
              <a:gd name="T49" fmla="*/ 10 h 272"/>
              <a:gd name="T50" fmla="*/ 153 w 425"/>
              <a:gd name="T51" fmla="*/ 18 h 272"/>
              <a:gd name="T52" fmla="*/ 180 w 425"/>
              <a:gd name="T53" fmla="*/ 27 h 272"/>
              <a:gd name="T54" fmla="*/ 205 w 425"/>
              <a:gd name="T55" fmla="*/ 31 h 272"/>
              <a:gd name="T56" fmla="*/ 214 w 425"/>
              <a:gd name="T57" fmla="*/ 29 h 272"/>
              <a:gd name="T58" fmla="*/ 221 w 425"/>
              <a:gd name="T59" fmla="*/ 26 h 272"/>
              <a:gd name="T60" fmla="*/ 232 w 425"/>
              <a:gd name="T61" fmla="*/ 15 h 272"/>
              <a:gd name="T62" fmla="*/ 242 w 425"/>
              <a:gd name="T63" fmla="*/ 5 h 272"/>
              <a:gd name="T64" fmla="*/ 250 w 425"/>
              <a:gd name="T65" fmla="*/ 2 h 272"/>
              <a:gd name="T66" fmla="*/ 259 w 425"/>
              <a:gd name="T67" fmla="*/ 0 h 272"/>
              <a:gd name="T68" fmla="*/ 275 w 425"/>
              <a:gd name="T69" fmla="*/ 2 h 272"/>
              <a:gd name="T70" fmla="*/ 289 w 425"/>
              <a:gd name="T71" fmla="*/ 7 h 272"/>
              <a:gd name="T72" fmla="*/ 302 w 425"/>
              <a:gd name="T73" fmla="*/ 15 h 272"/>
              <a:gd name="T74" fmla="*/ 310 w 425"/>
              <a:gd name="T75" fmla="*/ 26 h 272"/>
              <a:gd name="T76" fmla="*/ 325 w 425"/>
              <a:gd name="T77" fmla="*/ 53 h 272"/>
              <a:gd name="T78" fmla="*/ 337 w 425"/>
              <a:gd name="T79" fmla="*/ 82 h 272"/>
              <a:gd name="T80" fmla="*/ 349 w 425"/>
              <a:gd name="T81" fmla="*/ 113 h 272"/>
              <a:gd name="T82" fmla="*/ 356 w 425"/>
              <a:gd name="T83" fmla="*/ 126 h 272"/>
              <a:gd name="T84" fmla="*/ 365 w 425"/>
              <a:gd name="T85" fmla="*/ 138 h 272"/>
              <a:gd name="T86" fmla="*/ 376 w 425"/>
              <a:gd name="T87" fmla="*/ 147 h 272"/>
              <a:gd name="T88" fmla="*/ 389 w 425"/>
              <a:gd name="T89" fmla="*/ 156 h 272"/>
              <a:gd name="T90" fmla="*/ 405 w 425"/>
              <a:gd name="T91" fmla="*/ 160 h 272"/>
              <a:gd name="T92" fmla="*/ 425 w 425"/>
              <a:gd name="T93" fmla="*/ 161 h 2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0" name="Freeform 346">
            <a:extLst>
              <a:ext uri="{FF2B5EF4-FFF2-40B4-BE49-F238E27FC236}">
                <a16:creationId xmlns:a16="http://schemas.microsoft.com/office/drawing/2014/main" id="{141D4647-59F6-401D-80CB-D74BF27341F7}"/>
              </a:ext>
            </a:extLst>
          </p:cNvPr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6296352" y="3512435"/>
            <a:ext cx="13750" cy="55563"/>
          </a:xfrm>
          <a:custGeom>
            <a:avLst/>
            <a:gdLst>
              <a:gd name="T0" fmla="*/ 13 w 33"/>
              <a:gd name="T1" fmla="*/ 6 h 31"/>
              <a:gd name="T2" fmla="*/ 0 w 33"/>
              <a:gd name="T3" fmla="*/ 19 h 31"/>
              <a:gd name="T4" fmla="*/ 5 w 33"/>
              <a:gd name="T5" fmla="*/ 21 h 31"/>
              <a:gd name="T6" fmla="*/ 14 w 33"/>
              <a:gd name="T7" fmla="*/ 25 h 31"/>
              <a:gd name="T8" fmla="*/ 19 w 33"/>
              <a:gd name="T9" fmla="*/ 27 h 31"/>
              <a:gd name="T10" fmla="*/ 23 w 33"/>
              <a:gd name="T11" fmla="*/ 29 h 31"/>
              <a:gd name="T12" fmla="*/ 27 w 33"/>
              <a:gd name="T13" fmla="*/ 30 h 31"/>
              <a:gd name="T14" fmla="*/ 33 w 33"/>
              <a:gd name="T15" fmla="*/ 31 h 31"/>
              <a:gd name="T16" fmla="*/ 33 w 33"/>
              <a:gd name="T17" fmla="*/ 0 h 31"/>
              <a:gd name="T18" fmla="*/ 20 w 33"/>
              <a:gd name="T19" fmla="*/ 0 h 31"/>
              <a:gd name="T20" fmla="*/ 13 w 33"/>
              <a:gd name="T21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41" name="Freeform 347">
            <a:extLst>
              <a:ext uri="{FF2B5EF4-FFF2-40B4-BE49-F238E27FC236}">
                <a16:creationId xmlns:a16="http://schemas.microsoft.com/office/drawing/2014/main" id="{4BF1BD33-1140-4B38-BD34-3DA3A4EBF017}"/>
              </a:ext>
            </a:extLst>
          </p:cNvPr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8322230" y="2466273"/>
            <a:ext cx="82502" cy="79375"/>
          </a:xfrm>
          <a:custGeom>
            <a:avLst/>
            <a:gdLst>
              <a:gd name="T0" fmla="*/ 6 w 192"/>
              <a:gd name="T1" fmla="*/ 19 h 154"/>
              <a:gd name="T2" fmla="*/ 52 w 192"/>
              <a:gd name="T3" fmla="*/ 0 h 154"/>
              <a:gd name="T4" fmla="*/ 92 w 192"/>
              <a:gd name="T5" fmla="*/ 19 h 154"/>
              <a:gd name="T6" fmla="*/ 119 w 192"/>
              <a:gd name="T7" fmla="*/ 31 h 154"/>
              <a:gd name="T8" fmla="*/ 146 w 192"/>
              <a:gd name="T9" fmla="*/ 63 h 154"/>
              <a:gd name="T10" fmla="*/ 166 w 192"/>
              <a:gd name="T11" fmla="*/ 93 h 154"/>
              <a:gd name="T12" fmla="*/ 192 w 192"/>
              <a:gd name="T13" fmla="*/ 118 h 154"/>
              <a:gd name="T14" fmla="*/ 152 w 192"/>
              <a:gd name="T15" fmla="*/ 124 h 154"/>
              <a:gd name="T16" fmla="*/ 126 w 192"/>
              <a:gd name="T17" fmla="*/ 130 h 154"/>
              <a:gd name="T18" fmla="*/ 126 w 192"/>
              <a:gd name="T19" fmla="*/ 154 h 154"/>
              <a:gd name="T20" fmla="*/ 106 w 192"/>
              <a:gd name="T21" fmla="*/ 154 h 154"/>
              <a:gd name="T22" fmla="*/ 99 w 192"/>
              <a:gd name="T23" fmla="*/ 146 h 154"/>
              <a:gd name="T24" fmla="*/ 93 w 192"/>
              <a:gd name="T25" fmla="*/ 137 h 154"/>
              <a:gd name="T26" fmla="*/ 88 w 192"/>
              <a:gd name="T27" fmla="*/ 126 h 154"/>
              <a:gd name="T28" fmla="*/ 82 w 192"/>
              <a:gd name="T29" fmla="*/ 115 h 154"/>
              <a:gd name="T30" fmla="*/ 74 w 192"/>
              <a:gd name="T31" fmla="*/ 93 h 154"/>
              <a:gd name="T32" fmla="*/ 65 w 192"/>
              <a:gd name="T33" fmla="*/ 71 h 154"/>
              <a:gd name="T34" fmla="*/ 60 w 192"/>
              <a:gd name="T35" fmla="*/ 61 h 154"/>
              <a:gd name="T36" fmla="*/ 55 w 192"/>
              <a:gd name="T37" fmla="*/ 50 h 154"/>
              <a:gd name="T38" fmla="*/ 48 w 192"/>
              <a:gd name="T39" fmla="*/ 42 h 154"/>
              <a:gd name="T40" fmla="*/ 41 w 192"/>
              <a:gd name="T41" fmla="*/ 34 h 154"/>
              <a:gd name="T42" fmla="*/ 33 w 192"/>
              <a:gd name="T43" fmla="*/ 28 h 154"/>
              <a:gd name="T44" fmla="*/ 24 w 192"/>
              <a:gd name="T45" fmla="*/ 23 h 154"/>
              <a:gd name="T46" fmla="*/ 18 w 192"/>
              <a:gd name="T47" fmla="*/ 22 h 154"/>
              <a:gd name="T48" fmla="*/ 12 w 192"/>
              <a:gd name="T49" fmla="*/ 20 h 154"/>
              <a:gd name="T50" fmla="*/ 6 w 192"/>
              <a:gd name="T51" fmla="*/ 20 h 154"/>
              <a:gd name="T52" fmla="*/ 0 w 192"/>
              <a:gd name="T53" fmla="*/ 19 h 154"/>
              <a:gd name="T54" fmla="*/ 6 w 192"/>
              <a:gd name="T55" fmla="*/ 19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</a:cxnLst>
            <a:rect l="0" t="0" r="r" b="b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42" name="Freeform 348">
            <a:extLst>
              <a:ext uri="{FF2B5EF4-FFF2-40B4-BE49-F238E27FC236}">
                <a16:creationId xmlns:a16="http://schemas.microsoft.com/office/drawing/2014/main" id="{36A414BD-62EF-4AA7-803C-133468EA3BE6}"/>
              </a:ext>
            </a:extLst>
          </p:cNvPr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8242782" y="2348797"/>
            <a:ext cx="366675" cy="247650"/>
          </a:xfrm>
          <a:custGeom>
            <a:avLst/>
            <a:gdLst>
              <a:gd name="T0" fmla="*/ 392 w 877"/>
              <a:gd name="T1" fmla="*/ 340 h 469"/>
              <a:gd name="T2" fmla="*/ 319 w 877"/>
              <a:gd name="T3" fmla="*/ 253 h 469"/>
              <a:gd name="T4" fmla="*/ 206 w 877"/>
              <a:gd name="T5" fmla="*/ 241 h 469"/>
              <a:gd name="T6" fmla="*/ 191 w 877"/>
              <a:gd name="T7" fmla="*/ 243 h 469"/>
              <a:gd name="T8" fmla="*/ 178 w 877"/>
              <a:gd name="T9" fmla="*/ 251 h 469"/>
              <a:gd name="T10" fmla="*/ 162 w 877"/>
              <a:gd name="T11" fmla="*/ 267 h 469"/>
              <a:gd name="T12" fmla="*/ 151 w 877"/>
              <a:gd name="T13" fmla="*/ 271 h 469"/>
              <a:gd name="T14" fmla="*/ 121 w 877"/>
              <a:gd name="T15" fmla="*/ 268 h 469"/>
              <a:gd name="T16" fmla="*/ 79 w 877"/>
              <a:gd name="T17" fmla="*/ 255 h 469"/>
              <a:gd name="T18" fmla="*/ 26 w 877"/>
              <a:gd name="T19" fmla="*/ 247 h 469"/>
              <a:gd name="T20" fmla="*/ 8 w 877"/>
              <a:gd name="T21" fmla="*/ 212 h 469"/>
              <a:gd name="T22" fmla="*/ 13 w 877"/>
              <a:gd name="T23" fmla="*/ 187 h 469"/>
              <a:gd name="T24" fmla="*/ 13 w 877"/>
              <a:gd name="T25" fmla="*/ 180 h 469"/>
              <a:gd name="T26" fmla="*/ 23 w 877"/>
              <a:gd name="T27" fmla="*/ 144 h 469"/>
              <a:gd name="T28" fmla="*/ 44 w 877"/>
              <a:gd name="T29" fmla="*/ 112 h 469"/>
              <a:gd name="T30" fmla="*/ 54 w 877"/>
              <a:gd name="T31" fmla="*/ 92 h 469"/>
              <a:gd name="T32" fmla="*/ 26 w 877"/>
              <a:gd name="T33" fmla="*/ 50 h 469"/>
              <a:gd name="T34" fmla="*/ 173 w 877"/>
              <a:gd name="T35" fmla="*/ 26 h 469"/>
              <a:gd name="T36" fmla="*/ 339 w 877"/>
              <a:gd name="T37" fmla="*/ 50 h 469"/>
              <a:gd name="T38" fmla="*/ 392 w 877"/>
              <a:gd name="T39" fmla="*/ 13 h 469"/>
              <a:gd name="T40" fmla="*/ 485 w 877"/>
              <a:gd name="T41" fmla="*/ 0 h 469"/>
              <a:gd name="T42" fmla="*/ 579 w 877"/>
              <a:gd name="T43" fmla="*/ 38 h 469"/>
              <a:gd name="T44" fmla="*/ 638 w 877"/>
              <a:gd name="T45" fmla="*/ 111 h 469"/>
              <a:gd name="T46" fmla="*/ 725 w 877"/>
              <a:gd name="T47" fmla="*/ 111 h 469"/>
              <a:gd name="T48" fmla="*/ 838 w 877"/>
              <a:gd name="T49" fmla="*/ 155 h 469"/>
              <a:gd name="T50" fmla="*/ 864 w 877"/>
              <a:gd name="T51" fmla="*/ 235 h 469"/>
              <a:gd name="T52" fmla="*/ 804 w 877"/>
              <a:gd name="T53" fmla="*/ 272 h 469"/>
              <a:gd name="T54" fmla="*/ 754 w 877"/>
              <a:gd name="T55" fmla="*/ 313 h 469"/>
              <a:gd name="T56" fmla="*/ 688 w 877"/>
              <a:gd name="T57" fmla="*/ 330 h 469"/>
              <a:gd name="T58" fmla="*/ 663 w 877"/>
              <a:gd name="T59" fmla="*/ 343 h 469"/>
              <a:gd name="T60" fmla="*/ 648 w 877"/>
              <a:gd name="T61" fmla="*/ 358 h 469"/>
              <a:gd name="T62" fmla="*/ 646 w 877"/>
              <a:gd name="T63" fmla="*/ 375 h 469"/>
              <a:gd name="T64" fmla="*/ 653 w 877"/>
              <a:gd name="T65" fmla="*/ 390 h 469"/>
              <a:gd name="T66" fmla="*/ 666 w 877"/>
              <a:gd name="T67" fmla="*/ 401 h 469"/>
              <a:gd name="T68" fmla="*/ 711 w 877"/>
              <a:gd name="T69" fmla="*/ 396 h 469"/>
              <a:gd name="T70" fmla="*/ 741 w 877"/>
              <a:gd name="T71" fmla="*/ 394 h 469"/>
              <a:gd name="T72" fmla="*/ 734 w 877"/>
              <a:gd name="T73" fmla="*/ 403 h 469"/>
              <a:gd name="T74" fmla="*/ 716 w 877"/>
              <a:gd name="T75" fmla="*/ 421 h 469"/>
              <a:gd name="T76" fmla="*/ 698 w 877"/>
              <a:gd name="T77" fmla="*/ 438 h 469"/>
              <a:gd name="T78" fmla="*/ 689 w 877"/>
              <a:gd name="T79" fmla="*/ 419 h 469"/>
              <a:gd name="T80" fmla="*/ 671 w 877"/>
              <a:gd name="T81" fmla="*/ 408 h 469"/>
              <a:gd name="T82" fmla="*/ 666 w 877"/>
              <a:gd name="T83" fmla="*/ 423 h 469"/>
              <a:gd name="T84" fmla="*/ 643 w 877"/>
              <a:gd name="T85" fmla="*/ 442 h 469"/>
              <a:gd name="T86" fmla="*/ 619 w 877"/>
              <a:gd name="T87" fmla="*/ 460 h 469"/>
              <a:gd name="T88" fmla="*/ 611 w 877"/>
              <a:gd name="T89" fmla="*/ 469 h 469"/>
              <a:gd name="T90" fmla="*/ 595 w 877"/>
              <a:gd name="T91" fmla="*/ 464 h 469"/>
              <a:gd name="T92" fmla="*/ 584 w 877"/>
              <a:gd name="T93" fmla="*/ 455 h 469"/>
              <a:gd name="T94" fmla="*/ 575 w 877"/>
              <a:gd name="T95" fmla="*/ 439 h 469"/>
              <a:gd name="T96" fmla="*/ 572 w 877"/>
              <a:gd name="T97" fmla="*/ 408 h 469"/>
              <a:gd name="T98" fmla="*/ 548 w 877"/>
              <a:gd name="T99" fmla="*/ 404 h 469"/>
              <a:gd name="T100" fmla="*/ 518 w 877"/>
              <a:gd name="T101" fmla="*/ 389 h 469"/>
              <a:gd name="T102" fmla="*/ 559 w 877"/>
              <a:gd name="T103" fmla="*/ 379 h 469"/>
              <a:gd name="T104" fmla="*/ 625 w 877"/>
              <a:gd name="T105" fmla="*/ 370 h 469"/>
              <a:gd name="T106" fmla="*/ 493 w 877"/>
              <a:gd name="T107" fmla="*/ 354 h 469"/>
              <a:gd name="T108" fmla="*/ 445 w 877"/>
              <a:gd name="T109" fmla="*/ 333 h 469"/>
              <a:gd name="T110" fmla="*/ 398 w 877"/>
              <a:gd name="T111" fmla="*/ 369 h 469"/>
              <a:gd name="T112" fmla="*/ 380 w 877"/>
              <a:gd name="T113" fmla="*/ 395 h 469"/>
              <a:gd name="T114" fmla="*/ 353 w 877"/>
              <a:gd name="T115" fmla="*/ 400 h 469"/>
              <a:gd name="T116" fmla="*/ 328 w 877"/>
              <a:gd name="T117" fmla="*/ 392 h 469"/>
              <a:gd name="T118" fmla="*/ 306 w 877"/>
              <a:gd name="T119" fmla="*/ 376 h 46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43" name="Freeform 349">
            <a:extLst>
              <a:ext uri="{FF2B5EF4-FFF2-40B4-BE49-F238E27FC236}">
                <a16:creationId xmlns:a16="http://schemas.microsoft.com/office/drawing/2014/main" id="{889E369E-05EB-4B02-8212-86E2F8B4AE5C}"/>
              </a:ext>
            </a:extLst>
          </p:cNvPr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8734739" y="2691697"/>
            <a:ext cx="45834" cy="63500"/>
          </a:xfrm>
          <a:custGeom>
            <a:avLst/>
            <a:gdLst>
              <a:gd name="T0" fmla="*/ 48 w 107"/>
              <a:gd name="T1" fmla="*/ 0 h 123"/>
              <a:gd name="T2" fmla="*/ 81 w 107"/>
              <a:gd name="T3" fmla="*/ 31 h 123"/>
              <a:gd name="T4" fmla="*/ 94 w 107"/>
              <a:gd name="T5" fmla="*/ 67 h 123"/>
              <a:gd name="T6" fmla="*/ 107 w 107"/>
              <a:gd name="T7" fmla="*/ 86 h 123"/>
              <a:gd name="T8" fmla="*/ 107 w 107"/>
              <a:gd name="T9" fmla="*/ 117 h 123"/>
              <a:gd name="T10" fmla="*/ 107 w 107"/>
              <a:gd name="T11" fmla="*/ 123 h 123"/>
              <a:gd name="T12" fmla="*/ 88 w 107"/>
              <a:gd name="T13" fmla="*/ 114 h 123"/>
              <a:gd name="T14" fmla="*/ 73 w 107"/>
              <a:gd name="T15" fmla="*/ 105 h 123"/>
              <a:gd name="T16" fmla="*/ 61 w 107"/>
              <a:gd name="T17" fmla="*/ 98 h 123"/>
              <a:gd name="T18" fmla="*/ 54 w 107"/>
              <a:gd name="T19" fmla="*/ 92 h 123"/>
              <a:gd name="T20" fmla="*/ 51 w 107"/>
              <a:gd name="T21" fmla="*/ 83 h 123"/>
              <a:gd name="T22" fmla="*/ 48 w 107"/>
              <a:gd name="T23" fmla="*/ 73 h 123"/>
              <a:gd name="T24" fmla="*/ 39 w 107"/>
              <a:gd name="T25" fmla="*/ 74 h 123"/>
              <a:gd name="T26" fmla="*/ 32 w 107"/>
              <a:gd name="T27" fmla="*/ 73 h 123"/>
              <a:gd name="T28" fmla="*/ 26 w 107"/>
              <a:gd name="T29" fmla="*/ 72 h 123"/>
              <a:gd name="T30" fmla="*/ 21 w 107"/>
              <a:gd name="T31" fmla="*/ 70 h 123"/>
              <a:gd name="T32" fmla="*/ 17 w 107"/>
              <a:gd name="T33" fmla="*/ 67 h 123"/>
              <a:gd name="T34" fmla="*/ 14 w 107"/>
              <a:gd name="T35" fmla="*/ 63 h 123"/>
              <a:gd name="T36" fmla="*/ 11 w 107"/>
              <a:gd name="T37" fmla="*/ 59 h 123"/>
              <a:gd name="T38" fmla="*/ 9 w 107"/>
              <a:gd name="T39" fmla="*/ 54 h 123"/>
              <a:gd name="T40" fmla="*/ 4 w 107"/>
              <a:gd name="T41" fmla="*/ 31 h 123"/>
              <a:gd name="T42" fmla="*/ 0 w 107"/>
              <a:gd name="T43" fmla="*/ 6 h 123"/>
              <a:gd name="T44" fmla="*/ 34 w 107"/>
              <a:gd name="T45" fmla="*/ 0 h 123"/>
              <a:gd name="T46" fmla="*/ 48 w 107"/>
              <a:gd name="T47" fmla="*/ 0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44" name="Freeform 350">
            <a:extLst>
              <a:ext uri="{FF2B5EF4-FFF2-40B4-BE49-F238E27FC236}">
                <a16:creationId xmlns:a16="http://schemas.microsoft.com/office/drawing/2014/main" id="{A2F2CF5A-0735-49F8-ACA3-CFD7B191D938}"/>
              </a:ext>
            </a:extLst>
          </p:cNvPr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9257249" y="2705984"/>
            <a:ext cx="200143" cy="122238"/>
          </a:xfrm>
          <a:custGeom>
            <a:avLst/>
            <a:gdLst>
              <a:gd name="T0" fmla="*/ 106 w 471"/>
              <a:gd name="T1" fmla="*/ 67 h 234"/>
              <a:gd name="T2" fmla="*/ 166 w 471"/>
              <a:gd name="T3" fmla="*/ 86 h 234"/>
              <a:gd name="T4" fmla="*/ 272 w 471"/>
              <a:gd name="T5" fmla="*/ 105 h 234"/>
              <a:gd name="T6" fmla="*/ 372 w 471"/>
              <a:gd name="T7" fmla="*/ 86 h 234"/>
              <a:gd name="T8" fmla="*/ 383 w 471"/>
              <a:gd name="T9" fmla="*/ 95 h 234"/>
              <a:gd name="T10" fmla="*/ 391 w 471"/>
              <a:gd name="T11" fmla="*/ 114 h 234"/>
              <a:gd name="T12" fmla="*/ 406 w 471"/>
              <a:gd name="T13" fmla="*/ 124 h 234"/>
              <a:gd name="T14" fmla="*/ 424 w 471"/>
              <a:gd name="T15" fmla="*/ 129 h 234"/>
              <a:gd name="T16" fmla="*/ 433 w 471"/>
              <a:gd name="T17" fmla="*/ 134 h 234"/>
              <a:gd name="T18" fmla="*/ 441 w 471"/>
              <a:gd name="T19" fmla="*/ 141 h 234"/>
              <a:gd name="T20" fmla="*/ 448 w 471"/>
              <a:gd name="T21" fmla="*/ 151 h 234"/>
              <a:gd name="T22" fmla="*/ 455 w 471"/>
              <a:gd name="T23" fmla="*/ 170 h 234"/>
              <a:gd name="T24" fmla="*/ 471 w 471"/>
              <a:gd name="T25" fmla="*/ 190 h 234"/>
              <a:gd name="T26" fmla="*/ 350 w 471"/>
              <a:gd name="T27" fmla="*/ 202 h 234"/>
              <a:gd name="T28" fmla="*/ 330 w 471"/>
              <a:gd name="T29" fmla="*/ 224 h 234"/>
              <a:gd name="T30" fmla="*/ 317 w 471"/>
              <a:gd name="T31" fmla="*/ 233 h 234"/>
              <a:gd name="T32" fmla="*/ 306 w 471"/>
              <a:gd name="T33" fmla="*/ 233 h 234"/>
              <a:gd name="T34" fmla="*/ 298 w 471"/>
              <a:gd name="T35" fmla="*/ 230 h 234"/>
              <a:gd name="T36" fmla="*/ 292 w 471"/>
              <a:gd name="T37" fmla="*/ 224 h 234"/>
              <a:gd name="T38" fmla="*/ 289 w 471"/>
              <a:gd name="T39" fmla="*/ 216 h 234"/>
              <a:gd name="T40" fmla="*/ 284 w 471"/>
              <a:gd name="T41" fmla="*/ 199 h 234"/>
              <a:gd name="T42" fmla="*/ 278 w 471"/>
              <a:gd name="T43" fmla="*/ 174 h 234"/>
              <a:gd name="T44" fmla="*/ 269 w 471"/>
              <a:gd name="T45" fmla="*/ 155 h 234"/>
              <a:gd name="T46" fmla="*/ 258 w 471"/>
              <a:gd name="T47" fmla="*/ 148 h 234"/>
              <a:gd name="T48" fmla="*/ 246 w 471"/>
              <a:gd name="T49" fmla="*/ 141 h 234"/>
              <a:gd name="T50" fmla="*/ 236 w 471"/>
              <a:gd name="T51" fmla="*/ 133 h 234"/>
              <a:gd name="T52" fmla="*/ 224 w 471"/>
              <a:gd name="T53" fmla="*/ 140 h 234"/>
              <a:gd name="T54" fmla="*/ 207 w 471"/>
              <a:gd name="T55" fmla="*/ 162 h 234"/>
              <a:gd name="T56" fmla="*/ 200 w 471"/>
              <a:gd name="T57" fmla="*/ 177 h 234"/>
              <a:gd name="T58" fmla="*/ 188 w 471"/>
              <a:gd name="T59" fmla="*/ 190 h 234"/>
              <a:gd name="T60" fmla="*/ 167 w 471"/>
              <a:gd name="T61" fmla="*/ 201 h 234"/>
              <a:gd name="T62" fmla="*/ 147 w 471"/>
              <a:gd name="T63" fmla="*/ 213 h 234"/>
              <a:gd name="T64" fmla="*/ 130 w 471"/>
              <a:gd name="T65" fmla="*/ 219 h 234"/>
              <a:gd name="T66" fmla="*/ 114 w 471"/>
              <a:gd name="T67" fmla="*/ 222 h 234"/>
              <a:gd name="T68" fmla="*/ 97 w 471"/>
              <a:gd name="T69" fmla="*/ 221 h 234"/>
              <a:gd name="T70" fmla="*/ 82 w 471"/>
              <a:gd name="T71" fmla="*/ 217 h 234"/>
              <a:gd name="T72" fmla="*/ 63 w 471"/>
              <a:gd name="T73" fmla="*/ 205 h 234"/>
              <a:gd name="T74" fmla="*/ 59 w 471"/>
              <a:gd name="T75" fmla="*/ 197 h 234"/>
              <a:gd name="T76" fmla="*/ 59 w 471"/>
              <a:gd name="T77" fmla="*/ 135 h 234"/>
              <a:gd name="T78" fmla="*/ 0 w 471"/>
              <a:gd name="T79" fmla="*/ 98 h 234"/>
              <a:gd name="T80" fmla="*/ 53 w 471"/>
              <a:gd name="T81" fmla="*/ 80 h 234"/>
              <a:gd name="T82" fmla="*/ 86 w 471"/>
              <a:gd name="T83" fmla="*/ 30 h 234"/>
              <a:gd name="T84" fmla="*/ 133 w 471"/>
              <a:gd name="T85" fmla="*/ 0 h 234"/>
              <a:gd name="T86" fmla="*/ 166 w 471"/>
              <a:gd name="T87" fmla="*/ 42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45" name="Freeform 351">
            <a:extLst>
              <a:ext uri="{FF2B5EF4-FFF2-40B4-BE49-F238E27FC236}">
                <a16:creationId xmlns:a16="http://schemas.microsoft.com/office/drawing/2014/main" id="{5C91514D-93A1-40D2-9730-3FC9BFD82FC6}"/>
              </a:ext>
            </a:extLst>
          </p:cNvPr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9304612" y="2634547"/>
            <a:ext cx="216949" cy="125412"/>
          </a:xfrm>
          <a:custGeom>
            <a:avLst/>
            <a:gdLst>
              <a:gd name="T0" fmla="*/ 106 w 525"/>
              <a:gd name="T1" fmla="*/ 185 h 241"/>
              <a:gd name="T2" fmla="*/ 173 w 525"/>
              <a:gd name="T3" fmla="*/ 148 h 241"/>
              <a:gd name="T4" fmla="*/ 93 w 525"/>
              <a:gd name="T5" fmla="*/ 105 h 241"/>
              <a:gd name="T6" fmla="*/ 47 w 525"/>
              <a:gd name="T7" fmla="*/ 117 h 241"/>
              <a:gd name="T8" fmla="*/ 66 w 525"/>
              <a:gd name="T9" fmla="*/ 61 h 241"/>
              <a:gd name="T10" fmla="*/ 40 w 525"/>
              <a:gd name="T11" fmla="*/ 43 h 241"/>
              <a:gd name="T12" fmla="*/ 112 w 525"/>
              <a:gd name="T13" fmla="*/ 25 h 241"/>
              <a:gd name="T14" fmla="*/ 186 w 525"/>
              <a:gd name="T15" fmla="*/ 0 h 241"/>
              <a:gd name="T16" fmla="*/ 312 w 525"/>
              <a:gd name="T17" fmla="*/ 19 h 241"/>
              <a:gd name="T18" fmla="*/ 439 w 525"/>
              <a:gd name="T19" fmla="*/ 25 h 241"/>
              <a:gd name="T20" fmla="*/ 525 w 525"/>
              <a:gd name="T21" fmla="*/ 55 h 241"/>
              <a:gd name="T22" fmla="*/ 519 w 525"/>
              <a:gd name="T23" fmla="*/ 69 h 241"/>
              <a:gd name="T24" fmla="*/ 510 w 525"/>
              <a:gd name="T25" fmla="*/ 82 h 241"/>
              <a:gd name="T26" fmla="*/ 499 w 525"/>
              <a:gd name="T27" fmla="*/ 92 h 241"/>
              <a:gd name="T28" fmla="*/ 485 w 525"/>
              <a:gd name="T29" fmla="*/ 99 h 241"/>
              <a:gd name="T30" fmla="*/ 442 w 525"/>
              <a:gd name="T31" fmla="*/ 103 h 241"/>
              <a:gd name="T32" fmla="*/ 418 w 525"/>
              <a:gd name="T33" fmla="*/ 107 h 241"/>
              <a:gd name="T34" fmla="*/ 407 w 525"/>
              <a:gd name="T35" fmla="*/ 111 h 241"/>
              <a:gd name="T36" fmla="*/ 399 w 525"/>
              <a:gd name="T37" fmla="*/ 117 h 241"/>
              <a:gd name="T38" fmla="*/ 387 w 525"/>
              <a:gd name="T39" fmla="*/ 136 h 241"/>
              <a:gd name="T40" fmla="*/ 378 w 525"/>
              <a:gd name="T41" fmla="*/ 147 h 241"/>
              <a:gd name="T42" fmla="*/ 365 w 525"/>
              <a:gd name="T43" fmla="*/ 154 h 241"/>
              <a:gd name="T44" fmla="*/ 305 w 525"/>
              <a:gd name="T45" fmla="*/ 166 h 241"/>
              <a:gd name="T46" fmla="*/ 273 w 525"/>
              <a:gd name="T47" fmla="*/ 173 h 241"/>
              <a:gd name="T48" fmla="*/ 260 w 525"/>
              <a:gd name="T49" fmla="*/ 178 h 241"/>
              <a:gd name="T50" fmla="*/ 261 w 525"/>
              <a:gd name="T51" fmla="*/ 192 h 241"/>
              <a:gd name="T52" fmla="*/ 263 w 525"/>
              <a:gd name="T53" fmla="*/ 203 h 241"/>
              <a:gd name="T54" fmla="*/ 273 w 525"/>
              <a:gd name="T55" fmla="*/ 222 h 241"/>
              <a:gd name="T56" fmla="*/ 219 w 525"/>
              <a:gd name="T57" fmla="*/ 228 h 241"/>
              <a:gd name="T58" fmla="*/ 112 w 525"/>
              <a:gd name="T59" fmla="*/ 234 h 241"/>
              <a:gd name="T60" fmla="*/ 20 w 525"/>
              <a:gd name="T61" fmla="*/ 222 h 241"/>
              <a:gd name="T62" fmla="*/ 53 w 525"/>
              <a:gd name="T63" fmla="*/ 166 h 24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46" name="Freeform 352">
            <a:extLst>
              <a:ext uri="{FF2B5EF4-FFF2-40B4-BE49-F238E27FC236}">
                <a16:creationId xmlns:a16="http://schemas.microsoft.com/office/drawing/2014/main" id="{F3B3E7D4-4564-4B76-AA81-7FF4CA97604E}"/>
              </a:ext>
            </a:extLst>
          </p:cNvPr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8925714" y="2650422"/>
            <a:ext cx="330007" cy="227012"/>
          </a:xfrm>
          <a:custGeom>
            <a:avLst/>
            <a:gdLst>
              <a:gd name="T0" fmla="*/ 768 w 784"/>
              <a:gd name="T1" fmla="*/ 292 h 430"/>
              <a:gd name="T2" fmla="*/ 751 w 784"/>
              <a:gd name="T3" fmla="*/ 293 h 430"/>
              <a:gd name="T4" fmla="*/ 731 w 784"/>
              <a:gd name="T5" fmla="*/ 302 h 430"/>
              <a:gd name="T6" fmla="*/ 723 w 784"/>
              <a:gd name="T7" fmla="*/ 308 h 430"/>
              <a:gd name="T8" fmla="*/ 717 w 784"/>
              <a:gd name="T9" fmla="*/ 332 h 430"/>
              <a:gd name="T10" fmla="*/ 713 w 784"/>
              <a:gd name="T11" fmla="*/ 360 h 430"/>
              <a:gd name="T12" fmla="*/ 704 w 784"/>
              <a:gd name="T13" fmla="*/ 376 h 430"/>
              <a:gd name="T14" fmla="*/ 671 w 784"/>
              <a:gd name="T15" fmla="*/ 402 h 430"/>
              <a:gd name="T16" fmla="*/ 633 w 784"/>
              <a:gd name="T17" fmla="*/ 420 h 430"/>
              <a:gd name="T18" fmla="*/ 612 w 784"/>
              <a:gd name="T19" fmla="*/ 424 h 430"/>
              <a:gd name="T20" fmla="*/ 587 w 784"/>
              <a:gd name="T21" fmla="*/ 429 h 430"/>
              <a:gd name="T22" fmla="*/ 567 w 784"/>
              <a:gd name="T23" fmla="*/ 428 h 430"/>
              <a:gd name="T24" fmla="*/ 545 w 784"/>
              <a:gd name="T25" fmla="*/ 388 h 430"/>
              <a:gd name="T26" fmla="*/ 515 w 784"/>
              <a:gd name="T27" fmla="*/ 344 h 430"/>
              <a:gd name="T28" fmla="*/ 478 w 784"/>
              <a:gd name="T29" fmla="*/ 334 h 430"/>
              <a:gd name="T30" fmla="*/ 448 w 784"/>
              <a:gd name="T31" fmla="*/ 315 h 430"/>
              <a:gd name="T32" fmla="*/ 417 w 784"/>
              <a:gd name="T33" fmla="*/ 294 h 430"/>
              <a:gd name="T34" fmla="*/ 373 w 784"/>
              <a:gd name="T35" fmla="*/ 274 h 430"/>
              <a:gd name="T36" fmla="*/ 306 w 784"/>
              <a:gd name="T37" fmla="*/ 258 h 430"/>
              <a:gd name="T38" fmla="*/ 182 w 784"/>
              <a:gd name="T39" fmla="*/ 283 h 430"/>
              <a:gd name="T40" fmla="*/ 151 w 784"/>
              <a:gd name="T41" fmla="*/ 306 h 430"/>
              <a:gd name="T42" fmla="*/ 127 w 784"/>
              <a:gd name="T43" fmla="*/ 308 h 430"/>
              <a:gd name="T44" fmla="*/ 66 w 784"/>
              <a:gd name="T45" fmla="*/ 252 h 430"/>
              <a:gd name="T46" fmla="*/ 66 w 784"/>
              <a:gd name="T47" fmla="*/ 204 h 430"/>
              <a:gd name="T48" fmla="*/ 40 w 784"/>
              <a:gd name="T49" fmla="*/ 179 h 430"/>
              <a:gd name="T50" fmla="*/ 42 w 784"/>
              <a:gd name="T51" fmla="*/ 199 h 430"/>
              <a:gd name="T52" fmla="*/ 36 w 784"/>
              <a:gd name="T53" fmla="*/ 218 h 430"/>
              <a:gd name="T54" fmla="*/ 30 w 784"/>
              <a:gd name="T55" fmla="*/ 221 h 430"/>
              <a:gd name="T56" fmla="*/ 31 w 784"/>
              <a:gd name="T57" fmla="*/ 203 h 430"/>
              <a:gd name="T58" fmla="*/ 27 w 784"/>
              <a:gd name="T59" fmla="*/ 174 h 430"/>
              <a:gd name="T60" fmla="*/ 33 w 784"/>
              <a:gd name="T61" fmla="*/ 163 h 430"/>
              <a:gd name="T62" fmla="*/ 40 w 784"/>
              <a:gd name="T63" fmla="*/ 152 h 430"/>
              <a:gd name="T64" fmla="*/ 27 w 784"/>
              <a:gd name="T65" fmla="*/ 129 h 430"/>
              <a:gd name="T66" fmla="*/ 7 w 784"/>
              <a:gd name="T67" fmla="*/ 126 h 430"/>
              <a:gd name="T68" fmla="*/ 0 w 784"/>
              <a:gd name="T69" fmla="*/ 117 h 430"/>
              <a:gd name="T70" fmla="*/ 3 w 784"/>
              <a:gd name="T71" fmla="*/ 104 h 430"/>
              <a:gd name="T72" fmla="*/ 11 w 784"/>
              <a:gd name="T73" fmla="*/ 94 h 430"/>
              <a:gd name="T74" fmla="*/ 27 w 784"/>
              <a:gd name="T75" fmla="*/ 92 h 430"/>
              <a:gd name="T76" fmla="*/ 41 w 784"/>
              <a:gd name="T77" fmla="*/ 99 h 430"/>
              <a:gd name="T78" fmla="*/ 57 w 784"/>
              <a:gd name="T79" fmla="*/ 104 h 430"/>
              <a:gd name="T80" fmla="*/ 71 w 784"/>
              <a:gd name="T81" fmla="*/ 92 h 430"/>
              <a:gd name="T82" fmla="*/ 83 w 784"/>
              <a:gd name="T83" fmla="*/ 77 h 430"/>
              <a:gd name="T84" fmla="*/ 87 w 784"/>
              <a:gd name="T85" fmla="*/ 64 h 430"/>
              <a:gd name="T86" fmla="*/ 78 w 784"/>
              <a:gd name="T87" fmla="*/ 55 h 430"/>
              <a:gd name="T88" fmla="*/ 55 w 784"/>
              <a:gd name="T89" fmla="*/ 49 h 430"/>
              <a:gd name="T90" fmla="*/ 47 w 784"/>
              <a:gd name="T91" fmla="*/ 40 h 430"/>
              <a:gd name="T92" fmla="*/ 41 w 784"/>
              <a:gd name="T93" fmla="*/ 28 h 430"/>
              <a:gd name="T94" fmla="*/ 107 w 784"/>
              <a:gd name="T95" fmla="*/ 43 h 430"/>
              <a:gd name="T96" fmla="*/ 219 w 784"/>
              <a:gd name="T97" fmla="*/ 74 h 430"/>
              <a:gd name="T98" fmla="*/ 273 w 784"/>
              <a:gd name="T99" fmla="*/ 0 h 430"/>
              <a:gd name="T100" fmla="*/ 373 w 784"/>
              <a:gd name="T101" fmla="*/ 43 h 430"/>
              <a:gd name="T102" fmla="*/ 465 w 784"/>
              <a:gd name="T103" fmla="*/ 92 h 430"/>
              <a:gd name="T104" fmla="*/ 591 w 784"/>
              <a:gd name="T105" fmla="*/ 210 h 430"/>
              <a:gd name="T106" fmla="*/ 724 w 784"/>
              <a:gd name="T107" fmla="*/ 265 h 430"/>
              <a:gd name="T108" fmla="*/ 778 w 784"/>
              <a:gd name="T109" fmla="*/ 295 h 4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47" name="Freeform 353">
            <a:extLst>
              <a:ext uri="{FF2B5EF4-FFF2-40B4-BE49-F238E27FC236}">
                <a16:creationId xmlns:a16="http://schemas.microsoft.com/office/drawing/2014/main" id="{CE389281-0B78-4884-94CF-8BD528DB51E4}"/>
              </a:ext>
            </a:extLst>
          </p:cNvPr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8164864" y="2537710"/>
            <a:ext cx="103891" cy="149225"/>
          </a:xfrm>
          <a:custGeom>
            <a:avLst/>
            <a:gdLst>
              <a:gd name="T0" fmla="*/ 30 w 246"/>
              <a:gd name="T1" fmla="*/ 27 h 284"/>
              <a:gd name="T2" fmla="*/ 28 w 246"/>
              <a:gd name="T3" fmla="*/ 24 h 284"/>
              <a:gd name="T4" fmla="*/ 24 w 246"/>
              <a:gd name="T5" fmla="*/ 17 h 284"/>
              <a:gd name="T6" fmla="*/ 35 w 246"/>
              <a:gd name="T7" fmla="*/ 5 h 284"/>
              <a:gd name="T8" fmla="*/ 67 w 246"/>
              <a:gd name="T9" fmla="*/ 1 h 284"/>
              <a:gd name="T10" fmla="*/ 126 w 246"/>
              <a:gd name="T11" fmla="*/ 12 h 284"/>
              <a:gd name="T12" fmla="*/ 131 w 246"/>
              <a:gd name="T13" fmla="*/ 30 h 284"/>
              <a:gd name="T14" fmla="*/ 139 w 246"/>
              <a:gd name="T15" fmla="*/ 46 h 284"/>
              <a:gd name="T16" fmla="*/ 151 w 246"/>
              <a:gd name="T17" fmla="*/ 57 h 284"/>
              <a:gd name="T18" fmla="*/ 165 w 246"/>
              <a:gd name="T19" fmla="*/ 67 h 284"/>
              <a:gd name="T20" fmla="*/ 191 w 246"/>
              <a:gd name="T21" fmla="*/ 87 h 284"/>
              <a:gd name="T22" fmla="*/ 203 w 246"/>
              <a:gd name="T23" fmla="*/ 101 h 284"/>
              <a:gd name="T24" fmla="*/ 212 w 246"/>
              <a:gd name="T25" fmla="*/ 117 h 284"/>
              <a:gd name="T26" fmla="*/ 226 w 246"/>
              <a:gd name="T27" fmla="*/ 117 h 284"/>
              <a:gd name="T28" fmla="*/ 221 w 246"/>
              <a:gd name="T29" fmla="*/ 124 h 284"/>
              <a:gd name="T30" fmla="*/ 221 w 246"/>
              <a:gd name="T31" fmla="*/ 129 h 284"/>
              <a:gd name="T32" fmla="*/ 228 w 246"/>
              <a:gd name="T33" fmla="*/ 140 h 284"/>
              <a:gd name="T34" fmla="*/ 239 w 246"/>
              <a:gd name="T35" fmla="*/ 154 h 284"/>
              <a:gd name="T36" fmla="*/ 244 w 246"/>
              <a:gd name="T37" fmla="*/ 162 h 284"/>
              <a:gd name="T38" fmla="*/ 246 w 246"/>
              <a:gd name="T39" fmla="*/ 173 h 284"/>
              <a:gd name="T40" fmla="*/ 241 w 246"/>
              <a:gd name="T41" fmla="*/ 184 h 284"/>
              <a:gd name="T42" fmla="*/ 233 w 246"/>
              <a:gd name="T43" fmla="*/ 192 h 284"/>
              <a:gd name="T44" fmla="*/ 223 w 246"/>
              <a:gd name="T45" fmla="*/ 198 h 284"/>
              <a:gd name="T46" fmla="*/ 220 w 246"/>
              <a:gd name="T47" fmla="*/ 204 h 284"/>
              <a:gd name="T48" fmla="*/ 189 w 246"/>
              <a:gd name="T49" fmla="*/ 215 h 284"/>
              <a:gd name="T50" fmla="*/ 164 w 246"/>
              <a:gd name="T51" fmla="*/ 230 h 284"/>
              <a:gd name="T52" fmla="*/ 113 w 246"/>
              <a:gd name="T53" fmla="*/ 265 h 284"/>
              <a:gd name="T54" fmla="*/ 88 w 246"/>
              <a:gd name="T55" fmla="*/ 231 h 284"/>
              <a:gd name="T56" fmla="*/ 79 w 246"/>
              <a:gd name="T57" fmla="*/ 220 h 284"/>
              <a:gd name="T58" fmla="*/ 72 w 246"/>
              <a:gd name="T59" fmla="*/ 216 h 284"/>
              <a:gd name="T60" fmla="*/ 60 w 246"/>
              <a:gd name="T61" fmla="*/ 217 h 284"/>
              <a:gd name="T62" fmla="*/ 54 w 246"/>
              <a:gd name="T63" fmla="*/ 221 h 284"/>
              <a:gd name="T64" fmla="*/ 49 w 246"/>
              <a:gd name="T65" fmla="*/ 228 h 284"/>
              <a:gd name="T66" fmla="*/ 48 w 246"/>
              <a:gd name="T67" fmla="*/ 236 h 284"/>
              <a:gd name="T68" fmla="*/ 45 w 246"/>
              <a:gd name="T69" fmla="*/ 257 h 284"/>
              <a:gd name="T70" fmla="*/ 41 w 246"/>
              <a:gd name="T71" fmla="*/ 270 h 284"/>
              <a:gd name="T72" fmla="*/ 33 w 246"/>
              <a:gd name="T73" fmla="*/ 284 h 284"/>
              <a:gd name="T74" fmla="*/ 26 w 246"/>
              <a:gd name="T75" fmla="*/ 243 h 284"/>
              <a:gd name="T76" fmla="*/ 17 w 246"/>
              <a:gd name="T77" fmla="*/ 227 h 284"/>
              <a:gd name="T78" fmla="*/ 11 w 246"/>
              <a:gd name="T79" fmla="*/ 221 h 284"/>
              <a:gd name="T80" fmla="*/ 0 w 246"/>
              <a:gd name="T81" fmla="*/ 216 h 284"/>
              <a:gd name="T82" fmla="*/ 1 w 246"/>
              <a:gd name="T83" fmla="*/ 204 h 284"/>
              <a:gd name="T84" fmla="*/ 4 w 246"/>
              <a:gd name="T85" fmla="*/ 193 h 284"/>
              <a:gd name="T86" fmla="*/ 15 w 246"/>
              <a:gd name="T87" fmla="*/ 176 h 284"/>
              <a:gd name="T88" fmla="*/ 31 w 246"/>
              <a:gd name="T89" fmla="*/ 161 h 284"/>
              <a:gd name="T90" fmla="*/ 46 w 246"/>
              <a:gd name="T91" fmla="*/ 141 h 284"/>
              <a:gd name="T92" fmla="*/ 33 w 246"/>
              <a:gd name="T93" fmla="*/ 44 h 28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8" name="Freeform 354">
            <a:extLst>
              <a:ext uri="{FF2B5EF4-FFF2-40B4-BE49-F238E27FC236}">
                <a16:creationId xmlns:a16="http://schemas.microsoft.com/office/drawing/2014/main" id="{C0FC03A4-0FB9-40E6-BB22-3795F1CEBD49}"/>
              </a:ext>
            </a:extLst>
          </p:cNvPr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8210699" y="2645660"/>
            <a:ext cx="65696" cy="60325"/>
          </a:xfrm>
          <a:custGeom>
            <a:avLst/>
            <a:gdLst>
              <a:gd name="T0" fmla="*/ 114 w 160"/>
              <a:gd name="T1" fmla="*/ 0 h 117"/>
              <a:gd name="T2" fmla="*/ 114 w 160"/>
              <a:gd name="T3" fmla="*/ 9 h 117"/>
              <a:gd name="T4" fmla="*/ 114 w 160"/>
              <a:gd name="T5" fmla="*/ 18 h 117"/>
              <a:gd name="T6" fmla="*/ 115 w 160"/>
              <a:gd name="T7" fmla="*/ 25 h 117"/>
              <a:gd name="T8" fmla="*/ 117 w 160"/>
              <a:gd name="T9" fmla="*/ 32 h 117"/>
              <a:gd name="T10" fmla="*/ 119 w 160"/>
              <a:gd name="T11" fmla="*/ 34 h 117"/>
              <a:gd name="T12" fmla="*/ 121 w 160"/>
              <a:gd name="T13" fmla="*/ 37 h 117"/>
              <a:gd name="T14" fmla="*/ 123 w 160"/>
              <a:gd name="T15" fmla="*/ 38 h 117"/>
              <a:gd name="T16" fmla="*/ 127 w 160"/>
              <a:gd name="T17" fmla="*/ 39 h 117"/>
              <a:gd name="T18" fmla="*/ 131 w 160"/>
              <a:gd name="T19" fmla="*/ 40 h 117"/>
              <a:gd name="T20" fmla="*/ 135 w 160"/>
              <a:gd name="T21" fmla="*/ 39 h 117"/>
              <a:gd name="T22" fmla="*/ 140 w 160"/>
              <a:gd name="T23" fmla="*/ 38 h 117"/>
              <a:gd name="T24" fmla="*/ 146 w 160"/>
              <a:gd name="T25" fmla="*/ 36 h 117"/>
              <a:gd name="T26" fmla="*/ 149 w 160"/>
              <a:gd name="T27" fmla="*/ 43 h 117"/>
              <a:gd name="T28" fmla="*/ 153 w 160"/>
              <a:gd name="T29" fmla="*/ 52 h 117"/>
              <a:gd name="T30" fmla="*/ 157 w 160"/>
              <a:gd name="T31" fmla="*/ 64 h 117"/>
              <a:gd name="T32" fmla="*/ 160 w 160"/>
              <a:gd name="T33" fmla="*/ 74 h 117"/>
              <a:gd name="T34" fmla="*/ 133 w 160"/>
              <a:gd name="T35" fmla="*/ 88 h 117"/>
              <a:gd name="T36" fmla="*/ 106 w 160"/>
              <a:gd name="T37" fmla="*/ 102 h 117"/>
              <a:gd name="T38" fmla="*/ 92 w 160"/>
              <a:gd name="T39" fmla="*/ 107 h 117"/>
              <a:gd name="T40" fmla="*/ 76 w 160"/>
              <a:gd name="T41" fmla="*/ 113 h 117"/>
              <a:gd name="T42" fmla="*/ 62 w 160"/>
              <a:gd name="T43" fmla="*/ 116 h 117"/>
              <a:gd name="T44" fmla="*/ 47 w 160"/>
              <a:gd name="T45" fmla="*/ 117 h 117"/>
              <a:gd name="T46" fmla="*/ 32 w 160"/>
              <a:gd name="T47" fmla="*/ 99 h 117"/>
              <a:gd name="T48" fmla="*/ 21 w 160"/>
              <a:gd name="T49" fmla="*/ 83 h 117"/>
              <a:gd name="T50" fmla="*/ 10 w 160"/>
              <a:gd name="T51" fmla="*/ 69 h 117"/>
              <a:gd name="T52" fmla="*/ 0 w 160"/>
              <a:gd name="T53" fmla="*/ 55 h 117"/>
              <a:gd name="T54" fmla="*/ 13 w 160"/>
              <a:gd name="T55" fmla="*/ 48 h 117"/>
              <a:gd name="T56" fmla="*/ 41 w 160"/>
              <a:gd name="T57" fmla="*/ 32 h 117"/>
              <a:gd name="T58" fmla="*/ 60 w 160"/>
              <a:gd name="T59" fmla="*/ 23 h 117"/>
              <a:gd name="T60" fmla="*/ 78 w 160"/>
              <a:gd name="T61" fmla="*/ 14 h 117"/>
              <a:gd name="T62" fmla="*/ 97 w 160"/>
              <a:gd name="T63" fmla="*/ 6 h 117"/>
              <a:gd name="T64" fmla="*/ 114 w 160"/>
              <a:gd name="T65" fmla="*/ 0 h 11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49" name="Freeform 355">
            <a:extLst>
              <a:ext uri="{FF2B5EF4-FFF2-40B4-BE49-F238E27FC236}">
                <a16:creationId xmlns:a16="http://schemas.microsoft.com/office/drawing/2014/main" id="{EBB1F6F8-65B4-431A-9621-8CAD5EA67883}"/>
              </a:ext>
            </a:extLst>
          </p:cNvPr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8291672" y="3269548"/>
            <a:ext cx="395703" cy="611187"/>
          </a:xfrm>
          <a:custGeom>
            <a:avLst/>
            <a:gdLst>
              <a:gd name="T0" fmla="*/ 742 w 943"/>
              <a:gd name="T1" fmla="*/ 5 h 1172"/>
              <a:gd name="T2" fmla="*/ 765 w 943"/>
              <a:gd name="T3" fmla="*/ 23 h 1172"/>
              <a:gd name="T4" fmla="*/ 803 w 943"/>
              <a:gd name="T5" fmla="*/ 30 h 1172"/>
              <a:gd name="T6" fmla="*/ 814 w 943"/>
              <a:gd name="T7" fmla="*/ 55 h 1172"/>
              <a:gd name="T8" fmla="*/ 835 w 943"/>
              <a:gd name="T9" fmla="*/ 109 h 1172"/>
              <a:gd name="T10" fmla="*/ 837 w 943"/>
              <a:gd name="T11" fmla="*/ 187 h 1172"/>
              <a:gd name="T12" fmla="*/ 857 w 943"/>
              <a:gd name="T13" fmla="*/ 243 h 1172"/>
              <a:gd name="T14" fmla="*/ 922 w 943"/>
              <a:gd name="T15" fmla="*/ 292 h 1172"/>
              <a:gd name="T16" fmla="*/ 879 w 943"/>
              <a:gd name="T17" fmla="*/ 361 h 1172"/>
              <a:gd name="T18" fmla="*/ 851 w 943"/>
              <a:gd name="T19" fmla="*/ 410 h 1172"/>
              <a:gd name="T20" fmla="*/ 809 w 943"/>
              <a:gd name="T21" fmla="*/ 635 h 1172"/>
              <a:gd name="T22" fmla="*/ 770 w 943"/>
              <a:gd name="T23" fmla="*/ 677 h 1172"/>
              <a:gd name="T24" fmla="*/ 763 w 943"/>
              <a:gd name="T25" fmla="*/ 721 h 1172"/>
              <a:gd name="T26" fmla="*/ 745 w 943"/>
              <a:gd name="T27" fmla="*/ 735 h 1172"/>
              <a:gd name="T28" fmla="*/ 723 w 943"/>
              <a:gd name="T29" fmla="*/ 798 h 1172"/>
              <a:gd name="T30" fmla="*/ 692 w 943"/>
              <a:gd name="T31" fmla="*/ 877 h 1172"/>
              <a:gd name="T32" fmla="*/ 662 w 943"/>
              <a:gd name="T33" fmla="*/ 903 h 1172"/>
              <a:gd name="T34" fmla="*/ 664 w 943"/>
              <a:gd name="T35" fmla="*/ 934 h 1172"/>
              <a:gd name="T36" fmla="*/ 686 w 943"/>
              <a:gd name="T37" fmla="*/ 939 h 1172"/>
              <a:gd name="T38" fmla="*/ 709 w 943"/>
              <a:gd name="T39" fmla="*/ 950 h 1172"/>
              <a:gd name="T40" fmla="*/ 742 w 943"/>
              <a:gd name="T41" fmla="*/ 971 h 1172"/>
              <a:gd name="T42" fmla="*/ 756 w 943"/>
              <a:gd name="T43" fmla="*/ 1007 h 1172"/>
              <a:gd name="T44" fmla="*/ 775 w 943"/>
              <a:gd name="T45" fmla="*/ 1043 h 1172"/>
              <a:gd name="T46" fmla="*/ 803 w 943"/>
              <a:gd name="T47" fmla="*/ 1053 h 1172"/>
              <a:gd name="T48" fmla="*/ 809 w 943"/>
              <a:gd name="T49" fmla="*/ 1094 h 1172"/>
              <a:gd name="T50" fmla="*/ 718 w 943"/>
              <a:gd name="T51" fmla="*/ 1115 h 1172"/>
              <a:gd name="T52" fmla="*/ 687 w 943"/>
              <a:gd name="T53" fmla="*/ 1157 h 1172"/>
              <a:gd name="T54" fmla="*/ 598 w 943"/>
              <a:gd name="T55" fmla="*/ 1170 h 1172"/>
              <a:gd name="T56" fmla="*/ 515 w 943"/>
              <a:gd name="T57" fmla="*/ 1158 h 1172"/>
              <a:gd name="T58" fmla="*/ 464 w 943"/>
              <a:gd name="T59" fmla="*/ 1123 h 1172"/>
              <a:gd name="T60" fmla="*/ 390 w 943"/>
              <a:gd name="T61" fmla="*/ 1125 h 1172"/>
              <a:gd name="T62" fmla="*/ 319 w 943"/>
              <a:gd name="T63" fmla="*/ 1120 h 1172"/>
              <a:gd name="T64" fmla="*/ 297 w 943"/>
              <a:gd name="T65" fmla="*/ 1104 h 1172"/>
              <a:gd name="T66" fmla="*/ 294 w 943"/>
              <a:gd name="T67" fmla="*/ 1075 h 1172"/>
              <a:gd name="T68" fmla="*/ 274 w 943"/>
              <a:gd name="T69" fmla="*/ 1029 h 1172"/>
              <a:gd name="T70" fmla="*/ 216 w 943"/>
              <a:gd name="T71" fmla="*/ 974 h 1172"/>
              <a:gd name="T72" fmla="*/ 193 w 943"/>
              <a:gd name="T73" fmla="*/ 925 h 1172"/>
              <a:gd name="T74" fmla="*/ 152 w 943"/>
              <a:gd name="T75" fmla="*/ 903 h 1172"/>
              <a:gd name="T76" fmla="*/ 120 w 943"/>
              <a:gd name="T77" fmla="*/ 846 h 1172"/>
              <a:gd name="T78" fmla="*/ 97 w 943"/>
              <a:gd name="T79" fmla="*/ 788 h 1172"/>
              <a:gd name="T80" fmla="*/ 65 w 943"/>
              <a:gd name="T81" fmla="*/ 758 h 1172"/>
              <a:gd name="T82" fmla="*/ 33 w 943"/>
              <a:gd name="T83" fmla="*/ 676 h 1172"/>
              <a:gd name="T84" fmla="*/ 4 w 943"/>
              <a:gd name="T85" fmla="*/ 611 h 1172"/>
              <a:gd name="T86" fmla="*/ 18 w 943"/>
              <a:gd name="T87" fmla="*/ 577 h 1172"/>
              <a:gd name="T88" fmla="*/ 29 w 943"/>
              <a:gd name="T89" fmla="*/ 521 h 1172"/>
              <a:gd name="T90" fmla="*/ 64 w 943"/>
              <a:gd name="T91" fmla="*/ 474 h 1172"/>
              <a:gd name="T92" fmla="*/ 113 w 943"/>
              <a:gd name="T93" fmla="*/ 222 h 1172"/>
              <a:gd name="T94" fmla="*/ 123 w 943"/>
              <a:gd name="T95" fmla="*/ 179 h 1172"/>
              <a:gd name="T96" fmla="*/ 153 w 943"/>
              <a:gd name="T97" fmla="*/ 171 h 1172"/>
              <a:gd name="T98" fmla="*/ 160 w 943"/>
              <a:gd name="T99" fmla="*/ 122 h 1172"/>
              <a:gd name="T100" fmla="*/ 159 w 943"/>
              <a:gd name="T101" fmla="*/ 67 h 1172"/>
              <a:gd name="T102" fmla="*/ 679 w 943"/>
              <a:gd name="T103" fmla="*/ 69 h 1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50" name="Freeform 356">
            <a:extLst>
              <a:ext uri="{FF2B5EF4-FFF2-40B4-BE49-F238E27FC236}">
                <a16:creationId xmlns:a16="http://schemas.microsoft.com/office/drawing/2014/main" id="{D3450E4E-0050-4364-B518-8317FD5E232B}"/>
              </a:ext>
            </a:extLst>
          </p:cNvPr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8757655" y="3609272"/>
            <a:ext cx="235283" cy="431800"/>
          </a:xfrm>
          <a:custGeom>
            <a:avLst/>
            <a:gdLst>
              <a:gd name="T0" fmla="*/ 98 w 556"/>
              <a:gd name="T1" fmla="*/ 62 h 819"/>
              <a:gd name="T2" fmla="*/ 112 w 556"/>
              <a:gd name="T3" fmla="*/ 56 h 819"/>
              <a:gd name="T4" fmla="*/ 129 w 556"/>
              <a:gd name="T5" fmla="*/ 69 h 819"/>
              <a:gd name="T6" fmla="*/ 149 w 556"/>
              <a:gd name="T7" fmla="*/ 85 h 819"/>
              <a:gd name="T8" fmla="*/ 171 w 556"/>
              <a:gd name="T9" fmla="*/ 92 h 819"/>
              <a:gd name="T10" fmla="*/ 215 w 556"/>
              <a:gd name="T11" fmla="*/ 88 h 819"/>
              <a:gd name="T12" fmla="*/ 257 w 556"/>
              <a:gd name="T13" fmla="*/ 82 h 819"/>
              <a:gd name="T14" fmla="*/ 291 w 556"/>
              <a:gd name="T15" fmla="*/ 79 h 819"/>
              <a:gd name="T16" fmla="*/ 301 w 556"/>
              <a:gd name="T17" fmla="*/ 74 h 819"/>
              <a:gd name="T18" fmla="*/ 301 w 556"/>
              <a:gd name="T19" fmla="*/ 68 h 819"/>
              <a:gd name="T20" fmla="*/ 355 w 556"/>
              <a:gd name="T21" fmla="*/ 63 h 819"/>
              <a:gd name="T22" fmla="*/ 434 w 556"/>
              <a:gd name="T23" fmla="*/ 45 h 819"/>
              <a:gd name="T24" fmla="*/ 479 w 556"/>
              <a:gd name="T25" fmla="*/ 28 h 819"/>
              <a:gd name="T26" fmla="*/ 514 w 556"/>
              <a:gd name="T27" fmla="*/ 8 h 819"/>
              <a:gd name="T28" fmla="*/ 547 w 556"/>
              <a:gd name="T29" fmla="*/ 31 h 819"/>
              <a:gd name="T30" fmla="*/ 555 w 556"/>
              <a:gd name="T31" fmla="*/ 57 h 819"/>
              <a:gd name="T32" fmla="*/ 552 w 556"/>
              <a:gd name="T33" fmla="*/ 113 h 819"/>
              <a:gd name="T34" fmla="*/ 532 w 556"/>
              <a:gd name="T35" fmla="*/ 174 h 819"/>
              <a:gd name="T36" fmla="*/ 502 w 556"/>
              <a:gd name="T37" fmla="*/ 231 h 819"/>
              <a:gd name="T38" fmla="*/ 447 w 556"/>
              <a:gd name="T39" fmla="*/ 321 h 819"/>
              <a:gd name="T40" fmla="*/ 423 w 556"/>
              <a:gd name="T41" fmla="*/ 375 h 819"/>
              <a:gd name="T42" fmla="*/ 410 w 556"/>
              <a:gd name="T43" fmla="*/ 415 h 819"/>
              <a:gd name="T44" fmla="*/ 379 w 556"/>
              <a:gd name="T45" fmla="*/ 473 h 819"/>
              <a:gd name="T46" fmla="*/ 330 w 556"/>
              <a:gd name="T47" fmla="*/ 531 h 819"/>
              <a:gd name="T48" fmla="*/ 288 w 556"/>
              <a:gd name="T49" fmla="*/ 566 h 819"/>
              <a:gd name="T50" fmla="*/ 239 w 556"/>
              <a:gd name="T51" fmla="*/ 600 h 819"/>
              <a:gd name="T52" fmla="*/ 168 w 556"/>
              <a:gd name="T53" fmla="*/ 651 h 819"/>
              <a:gd name="T54" fmla="*/ 143 w 556"/>
              <a:gd name="T55" fmla="*/ 680 h 819"/>
              <a:gd name="T56" fmla="*/ 131 w 556"/>
              <a:gd name="T57" fmla="*/ 700 h 819"/>
              <a:gd name="T58" fmla="*/ 116 w 556"/>
              <a:gd name="T59" fmla="*/ 717 h 819"/>
              <a:gd name="T60" fmla="*/ 71 w 556"/>
              <a:gd name="T61" fmla="*/ 745 h 819"/>
              <a:gd name="T62" fmla="*/ 19 w 556"/>
              <a:gd name="T63" fmla="*/ 801 h 819"/>
              <a:gd name="T64" fmla="*/ 2 w 556"/>
              <a:gd name="T65" fmla="*/ 564 h 819"/>
              <a:gd name="T66" fmla="*/ 3 w 556"/>
              <a:gd name="T67" fmla="*/ 554 h 819"/>
              <a:gd name="T68" fmla="*/ 27 w 556"/>
              <a:gd name="T69" fmla="*/ 533 h 819"/>
              <a:gd name="T70" fmla="*/ 42 w 556"/>
              <a:gd name="T71" fmla="*/ 516 h 819"/>
              <a:gd name="T72" fmla="*/ 60 w 556"/>
              <a:gd name="T73" fmla="*/ 497 h 819"/>
              <a:gd name="T74" fmla="*/ 111 w 556"/>
              <a:gd name="T75" fmla="*/ 480 h 819"/>
              <a:gd name="T76" fmla="*/ 119 w 556"/>
              <a:gd name="T77" fmla="*/ 470 h 819"/>
              <a:gd name="T78" fmla="*/ 129 w 556"/>
              <a:gd name="T79" fmla="*/ 452 h 819"/>
              <a:gd name="T80" fmla="*/ 152 w 556"/>
              <a:gd name="T81" fmla="*/ 440 h 819"/>
              <a:gd name="T82" fmla="*/ 174 w 556"/>
              <a:gd name="T83" fmla="*/ 439 h 819"/>
              <a:gd name="T84" fmla="*/ 196 w 556"/>
              <a:gd name="T85" fmla="*/ 439 h 819"/>
              <a:gd name="T86" fmla="*/ 228 w 556"/>
              <a:gd name="T87" fmla="*/ 429 h 819"/>
              <a:gd name="T88" fmla="*/ 251 w 556"/>
              <a:gd name="T89" fmla="*/ 405 h 819"/>
              <a:gd name="T90" fmla="*/ 265 w 556"/>
              <a:gd name="T91" fmla="*/ 379 h 819"/>
              <a:gd name="T92" fmla="*/ 296 w 556"/>
              <a:gd name="T93" fmla="*/ 347 h 819"/>
              <a:gd name="T94" fmla="*/ 354 w 556"/>
              <a:gd name="T95" fmla="*/ 293 h 819"/>
              <a:gd name="T96" fmla="*/ 377 w 556"/>
              <a:gd name="T97" fmla="*/ 266 h 819"/>
              <a:gd name="T98" fmla="*/ 324 w 556"/>
              <a:gd name="T99" fmla="*/ 246 h 819"/>
              <a:gd name="T100" fmla="*/ 257 w 556"/>
              <a:gd name="T101" fmla="*/ 228 h 819"/>
              <a:gd name="T102" fmla="*/ 184 w 556"/>
              <a:gd name="T103" fmla="*/ 209 h 819"/>
              <a:gd name="T104" fmla="*/ 149 w 556"/>
              <a:gd name="T105" fmla="*/ 187 h 819"/>
              <a:gd name="T106" fmla="*/ 112 w 556"/>
              <a:gd name="T107" fmla="*/ 154 h 819"/>
              <a:gd name="T108" fmla="*/ 89 w 556"/>
              <a:gd name="T109" fmla="*/ 121 h 819"/>
              <a:gd name="T110" fmla="*/ 77 w 556"/>
              <a:gd name="T111" fmla="*/ 80 h 819"/>
              <a:gd name="T112" fmla="*/ 65 w 556"/>
              <a:gd name="T113" fmla="*/ 87 h 819"/>
              <a:gd name="T114" fmla="*/ 84 w 556"/>
              <a:gd name="T115" fmla="*/ 68 h 8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51" name="Freeform 357">
            <a:extLst>
              <a:ext uri="{FF2B5EF4-FFF2-40B4-BE49-F238E27FC236}">
                <a16:creationId xmlns:a16="http://schemas.microsoft.com/office/drawing/2014/main" id="{77746536-F579-456B-BFA2-D12810A32975}"/>
              </a:ext>
            </a:extLst>
          </p:cNvPr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8765294" y="3596573"/>
            <a:ext cx="36667" cy="58737"/>
          </a:xfrm>
          <a:custGeom>
            <a:avLst/>
            <a:gdLst>
              <a:gd name="T0" fmla="*/ 59 w 86"/>
              <a:gd name="T1" fmla="*/ 0 h 97"/>
              <a:gd name="T2" fmla="*/ 56 w 86"/>
              <a:gd name="T3" fmla="*/ 2 h 97"/>
              <a:gd name="T4" fmla="*/ 52 w 86"/>
              <a:gd name="T5" fmla="*/ 3 h 97"/>
              <a:gd name="T6" fmla="*/ 46 w 86"/>
              <a:gd name="T7" fmla="*/ 3 h 97"/>
              <a:gd name="T8" fmla="*/ 40 w 86"/>
              <a:gd name="T9" fmla="*/ 3 h 97"/>
              <a:gd name="T10" fmla="*/ 33 w 86"/>
              <a:gd name="T11" fmla="*/ 3 h 97"/>
              <a:gd name="T12" fmla="*/ 27 w 86"/>
              <a:gd name="T13" fmla="*/ 3 h 97"/>
              <a:gd name="T14" fmla="*/ 23 w 86"/>
              <a:gd name="T15" fmla="*/ 4 h 97"/>
              <a:gd name="T16" fmla="*/ 20 w 86"/>
              <a:gd name="T17" fmla="*/ 6 h 97"/>
              <a:gd name="T18" fmla="*/ 16 w 86"/>
              <a:gd name="T19" fmla="*/ 9 h 97"/>
              <a:gd name="T20" fmla="*/ 13 w 86"/>
              <a:gd name="T21" fmla="*/ 12 h 97"/>
              <a:gd name="T22" fmla="*/ 11 w 86"/>
              <a:gd name="T23" fmla="*/ 15 h 97"/>
              <a:gd name="T24" fmla="*/ 8 w 86"/>
              <a:gd name="T25" fmla="*/ 20 h 97"/>
              <a:gd name="T26" fmla="*/ 4 w 86"/>
              <a:gd name="T27" fmla="*/ 29 h 97"/>
              <a:gd name="T28" fmla="*/ 2 w 86"/>
              <a:gd name="T29" fmla="*/ 38 h 97"/>
              <a:gd name="T30" fmla="*/ 0 w 86"/>
              <a:gd name="T31" fmla="*/ 57 h 97"/>
              <a:gd name="T32" fmla="*/ 0 w 86"/>
              <a:gd name="T33" fmla="*/ 75 h 97"/>
              <a:gd name="T34" fmla="*/ 0 w 86"/>
              <a:gd name="T35" fmla="*/ 81 h 97"/>
              <a:gd name="T36" fmla="*/ 1 w 86"/>
              <a:gd name="T37" fmla="*/ 86 h 97"/>
              <a:gd name="T38" fmla="*/ 3 w 86"/>
              <a:gd name="T39" fmla="*/ 90 h 97"/>
              <a:gd name="T40" fmla="*/ 7 w 86"/>
              <a:gd name="T41" fmla="*/ 93 h 97"/>
              <a:gd name="T42" fmla="*/ 10 w 86"/>
              <a:gd name="T43" fmla="*/ 95 h 97"/>
              <a:gd name="T44" fmla="*/ 13 w 86"/>
              <a:gd name="T45" fmla="*/ 96 h 97"/>
              <a:gd name="T46" fmla="*/ 18 w 86"/>
              <a:gd name="T47" fmla="*/ 97 h 97"/>
              <a:gd name="T48" fmla="*/ 21 w 86"/>
              <a:gd name="T49" fmla="*/ 97 h 97"/>
              <a:gd name="T50" fmla="*/ 40 w 86"/>
              <a:gd name="T51" fmla="*/ 95 h 97"/>
              <a:gd name="T52" fmla="*/ 53 w 86"/>
              <a:gd name="T53" fmla="*/ 93 h 97"/>
              <a:gd name="T54" fmla="*/ 86 w 86"/>
              <a:gd name="T55" fmla="*/ 68 h 97"/>
              <a:gd name="T56" fmla="*/ 59 w 86"/>
              <a:gd name="T57" fmla="*/ 0 h 9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</a:cxnLst>
            <a:rect l="0" t="0" r="r" b="b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52" name="Freeform 358">
            <a:extLst>
              <a:ext uri="{FF2B5EF4-FFF2-40B4-BE49-F238E27FC236}">
                <a16:creationId xmlns:a16="http://schemas.microsoft.com/office/drawing/2014/main" id="{659D3807-BE70-4F89-B256-F058A9F6FE9B}"/>
              </a:ext>
            </a:extLst>
          </p:cNvPr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8571261" y="3507673"/>
            <a:ext cx="349869" cy="376237"/>
          </a:xfrm>
          <a:custGeom>
            <a:avLst/>
            <a:gdLst>
              <a:gd name="T0" fmla="*/ 182 w 845"/>
              <a:gd name="T1" fmla="*/ 36 h 720"/>
              <a:gd name="T2" fmla="*/ 205 w 845"/>
              <a:gd name="T3" fmla="*/ 28 h 720"/>
              <a:gd name="T4" fmla="*/ 247 w 845"/>
              <a:gd name="T5" fmla="*/ 0 h 720"/>
              <a:gd name="T6" fmla="*/ 273 w 845"/>
              <a:gd name="T7" fmla="*/ 12 h 720"/>
              <a:gd name="T8" fmla="*/ 327 w 845"/>
              <a:gd name="T9" fmla="*/ 37 h 720"/>
              <a:gd name="T10" fmla="*/ 380 w 845"/>
              <a:gd name="T11" fmla="*/ 67 h 720"/>
              <a:gd name="T12" fmla="*/ 426 w 845"/>
              <a:gd name="T13" fmla="*/ 98 h 720"/>
              <a:gd name="T14" fmla="*/ 442 w 845"/>
              <a:gd name="T15" fmla="*/ 125 h 720"/>
              <a:gd name="T16" fmla="*/ 443 w 845"/>
              <a:gd name="T17" fmla="*/ 140 h 720"/>
              <a:gd name="T18" fmla="*/ 458 w 845"/>
              <a:gd name="T19" fmla="*/ 147 h 720"/>
              <a:gd name="T20" fmla="*/ 499 w 845"/>
              <a:gd name="T21" fmla="*/ 178 h 720"/>
              <a:gd name="T22" fmla="*/ 506 w 845"/>
              <a:gd name="T23" fmla="*/ 172 h 720"/>
              <a:gd name="T24" fmla="*/ 488 w 845"/>
              <a:gd name="T25" fmla="*/ 184 h 720"/>
              <a:gd name="T26" fmla="*/ 481 w 845"/>
              <a:gd name="T27" fmla="*/ 202 h 720"/>
              <a:gd name="T28" fmla="*/ 481 w 845"/>
              <a:gd name="T29" fmla="*/ 252 h 720"/>
              <a:gd name="T30" fmla="*/ 493 w 845"/>
              <a:gd name="T31" fmla="*/ 264 h 720"/>
              <a:gd name="T32" fmla="*/ 526 w 845"/>
              <a:gd name="T33" fmla="*/ 265 h 720"/>
              <a:gd name="T34" fmla="*/ 545 w 845"/>
              <a:gd name="T35" fmla="*/ 319 h 720"/>
              <a:gd name="T36" fmla="*/ 583 w 845"/>
              <a:gd name="T37" fmla="*/ 361 h 720"/>
              <a:gd name="T38" fmla="*/ 645 w 845"/>
              <a:gd name="T39" fmla="*/ 400 h 720"/>
              <a:gd name="T40" fmla="*/ 738 w 845"/>
              <a:gd name="T41" fmla="*/ 430 h 720"/>
              <a:gd name="T42" fmla="*/ 845 w 845"/>
              <a:gd name="T43" fmla="*/ 449 h 720"/>
              <a:gd name="T44" fmla="*/ 811 w 845"/>
              <a:gd name="T45" fmla="*/ 482 h 720"/>
              <a:gd name="T46" fmla="*/ 731 w 845"/>
              <a:gd name="T47" fmla="*/ 547 h 720"/>
              <a:gd name="T48" fmla="*/ 712 w 845"/>
              <a:gd name="T49" fmla="*/ 579 h 720"/>
              <a:gd name="T50" fmla="*/ 697 w 845"/>
              <a:gd name="T51" fmla="*/ 617 h 720"/>
              <a:gd name="T52" fmla="*/ 674 w 845"/>
              <a:gd name="T53" fmla="*/ 629 h 720"/>
              <a:gd name="T54" fmla="*/ 580 w 845"/>
              <a:gd name="T55" fmla="*/ 655 h 720"/>
              <a:gd name="T56" fmla="*/ 559 w 845"/>
              <a:gd name="T57" fmla="*/ 671 h 720"/>
              <a:gd name="T58" fmla="*/ 525 w 845"/>
              <a:gd name="T59" fmla="*/ 681 h 720"/>
              <a:gd name="T60" fmla="*/ 482 w 845"/>
              <a:gd name="T61" fmla="*/ 693 h 720"/>
              <a:gd name="T62" fmla="*/ 461 w 845"/>
              <a:gd name="T63" fmla="*/ 680 h 720"/>
              <a:gd name="T64" fmla="*/ 427 w 845"/>
              <a:gd name="T65" fmla="*/ 679 h 720"/>
              <a:gd name="T66" fmla="*/ 405 w 845"/>
              <a:gd name="T67" fmla="*/ 699 h 720"/>
              <a:gd name="T68" fmla="*/ 390 w 845"/>
              <a:gd name="T69" fmla="*/ 714 h 720"/>
              <a:gd name="T70" fmla="*/ 360 w 845"/>
              <a:gd name="T71" fmla="*/ 720 h 720"/>
              <a:gd name="T72" fmla="*/ 318 w 845"/>
              <a:gd name="T73" fmla="*/ 714 h 720"/>
              <a:gd name="T74" fmla="*/ 289 w 845"/>
              <a:gd name="T75" fmla="*/ 698 h 720"/>
              <a:gd name="T76" fmla="*/ 246 w 845"/>
              <a:gd name="T77" fmla="*/ 671 h 720"/>
              <a:gd name="T78" fmla="*/ 181 w 845"/>
              <a:gd name="T79" fmla="*/ 661 h 720"/>
              <a:gd name="T80" fmla="*/ 140 w 845"/>
              <a:gd name="T81" fmla="*/ 653 h 720"/>
              <a:gd name="T82" fmla="*/ 151 w 845"/>
              <a:gd name="T83" fmla="*/ 614 h 720"/>
              <a:gd name="T84" fmla="*/ 127 w 845"/>
              <a:gd name="T85" fmla="*/ 596 h 720"/>
              <a:gd name="T86" fmla="*/ 108 w 845"/>
              <a:gd name="T87" fmla="*/ 583 h 720"/>
              <a:gd name="T88" fmla="*/ 93 w 845"/>
              <a:gd name="T89" fmla="*/ 551 h 720"/>
              <a:gd name="T90" fmla="*/ 77 w 845"/>
              <a:gd name="T91" fmla="*/ 511 h 720"/>
              <a:gd name="T92" fmla="*/ 49 w 845"/>
              <a:gd name="T93" fmla="*/ 489 h 720"/>
              <a:gd name="T94" fmla="*/ 16 w 845"/>
              <a:gd name="T95" fmla="*/ 477 h 720"/>
              <a:gd name="T96" fmla="*/ 5 w 845"/>
              <a:gd name="T97" fmla="*/ 472 h 720"/>
              <a:gd name="T98" fmla="*/ 2 w 845"/>
              <a:gd name="T99" fmla="*/ 448 h 720"/>
              <a:gd name="T100" fmla="*/ 21 w 845"/>
              <a:gd name="T101" fmla="*/ 422 h 720"/>
              <a:gd name="T102" fmla="*/ 55 w 845"/>
              <a:gd name="T103" fmla="*/ 413 h 720"/>
              <a:gd name="T104" fmla="*/ 67 w 845"/>
              <a:gd name="T105" fmla="*/ 321 h 720"/>
              <a:gd name="T106" fmla="*/ 82 w 845"/>
              <a:gd name="T107" fmla="*/ 275 h 720"/>
              <a:gd name="T108" fmla="*/ 95 w 845"/>
              <a:gd name="T109" fmla="*/ 260 h 720"/>
              <a:gd name="T110" fmla="*/ 103 w 845"/>
              <a:gd name="T111" fmla="*/ 236 h 720"/>
              <a:gd name="T112" fmla="*/ 116 w 845"/>
              <a:gd name="T113" fmla="*/ 206 h 720"/>
              <a:gd name="T114" fmla="*/ 148 w 845"/>
              <a:gd name="T115" fmla="*/ 178 h 720"/>
              <a:gd name="T116" fmla="*/ 167 w 845"/>
              <a:gd name="T117" fmla="*/ 160 h 72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53" name="Line 359">
            <a:extLst>
              <a:ext uri="{FF2B5EF4-FFF2-40B4-BE49-F238E27FC236}">
                <a16:creationId xmlns:a16="http://schemas.microsoft.com/office/drawing/2014/main" id="{D53F2342-98F7-4C5F-BA6A-6B3E5BEA1408}"/>
              </a:ext>
            </a:extLst>
          </p:cNvPr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5549251" y="4026784"/>
            <a:ext cx="4584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54" name="Freeform 360">
            <a:extLst>
              <a:ext uri="{FF2B5EF4-FFF2-40B4-BE49-F238E27FC236}">
                <a16:creationId xmlns:a16="http://schemas.microsoft.com/office/drawing/2014/main" id="{ADD66C7D-079C-438E-8C7A-3DCBFD91B2C6}"/>
              </a:ext>
            </a:extLst>
          </p:cNvPr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5549250" y="4034723"/>
            <a:ext cx="12222" cy="58737"/>
          </a:xfrm>
          <a:custGeom>
            <a:avLst/>
            <a:gdLst>
              <a:gd name="T0" fmla="*/ 0 w 33"/>
              <a:gd name="T1" fmla="*/ 0 h 6"/>
              <a:gd name="T2" fmla="*/ 7 w 33"/>
              <a:gd name="T3" fmla="*/ 1 h 6"/>
              <a:gd name="T4" fmla="*/ 15 w 33"/>
              <a:gd name="T5" fmla="*/ 3 h 6"/>
              <a:gd name="T6" fmla="*/ 23 w 33"/>
              <a:gd name="T7" fmla="*/ 5 h 6"/>
              <a:gd name="T8" fmla="*/ 33 w 33"/>
              <a:gd name="T9" fmla="*/ 6 h 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55" name="Freeform 361">
            <a:extLst>
              <a:ext uri="{FF2B5EF4-FFF2-40B4-BE49-F238E27FC236}">
                <a16:creationId xmlns:a16="http://schemas.microsoft.com/office/drawing/2014/main" id="{2954F4FF-06B6-4581-985C-A69C8B91F286}"/>
              </a:ext>
            </a:extLst>
          </p:cNvPr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5556890" y="4022022"/>
            <a:ext cx="4583" cy="57150"/>
          </a:xfrm>
          <a:custGeom>
            <a:avLst/>
            <a:gdLst>
              <a:gd name="T0" fmla="*/ 13 w 13"/>
              <a:gd name="T1" fmla="*/ 30 h 30"/>
              <a:gd name="T2" fmla="*/ 13 w 13"/>
              <a:gd name="T3" fmla="*/ 0 h 30"/>
              <a:gd name="T4" fmla="*/ 0 w 13"/>
              <a:gd name="T5" fmla="*/ 0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356" name="Group 362">
            <a:extLst>
              <a:ext uri="{FF2B5EF4-FFF2-40B4-BE49-F238E27FC236}">
                <a16:creationId xmlns:a16="http://schemas.microsoft.com/office/drawing/2014/main" id="{C3D24F0A-BF5A-48A2-9679-AE9CF5A0035F}"/>
              </a:ext>
            </a:extLst>
          </p:cNvPr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5549251" y="3956935"/>
            <a:ext cx="401815" cy="201613"/>
            <a:chOff x="912" y="2626"/>
            <a:chExt cx="311" cy="127"/>
          </a:xfrm>
        </p:grpSpPr>
        <p:sp>
          <p:nvSpPr>
            <p:cNvPr id="357" name="Freeform 363">
              <a:extLst>
                <a:ext uri="{FF2B5EF4-FFF2-40B4-BE49-F238E27FC236}">
                  <a16:creationId xmlns:a16="http://schemas.microsoft.com/office/drawing/2014/main" id="{9829B8A8-E331-48CA-884D-FD1D413C0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312 w 352"/>
                <a:gd name="T1" fmla="*/ 79 h 387"/>
                <a:gd name="T2" fmla="*/ 286 w 352"/>
                <a:gd name="T3" fmla="*/ 79 h 387"/>
                <a:gd name="T4" fmla="*/ 265 w 352"/>
                <a:gd name="T5" fmla="*/ 79 h 387"/>
                <a:gd name="T6" fmla="*/ 249 w 352"/>
                <a:gd name="T7" fmla="*/ 74 h 387"/>
                <a:gd name="T8" fmla="*/ 222 w 352"/>
                <a:gd name="T9" fmla="*/ 59 h 387"/>
                <a:gd name="T10" fmla="*/ 168 w 352"/>
                <a:gd name="T11" fmla="*/ 20 h 387"/>
                <a:gd name="T12" fmla="*/ 137 w 352"/>
                <a:gd name="T13" fmla="*/ 6 h 387"/>
                <a:gd name="T14" fmla="*/ 129 w 352"/>
                <a:gd name="T15" fmla="*/ 19 h 387"/>
                <a:gd name="T16" fmla="*/ 119 w 352"/>
                <a:gd name="T17" fmla="*/ 29 h 387"/>
                <a:gd name="T18" fmla="*/ 107 w 352"/>
                <a:gd name="T19" fmla="*/ 35 h 387"/>
                <a:gd name="T20" fmla="*/ 86 w 352"/>
                <a:gd name="T21" fmla="*/ 56 h 387"/>
                <a:gd name="T22" fmla="*/ 53 w 352"/>
                <a:gd name="T23" fmla="*/ 97 h 387"/>
                <a:gd name="T24" fmla="*/ 30 w 352"/>
                <a:gd name="T25" fmla="*/ 131 h 387"/>
                <a:gd name="T26" fmla="*/ 17 w 352"/>
                <a:gd name="T27" fmla="*/ 154 h 387"/>
                <a:gd name="T28" fmla="*/ 7 w 352"/>
                <a:gd name="T29" fmla="*/ 177 h 387"/>
                <a:gd name="T30" fmla="*/ 0 w 352"/>
                <a:gd name="T31" fmla="*/ 198 h 387"/>
                <a:gd name="T32" fmla="*/ 0 w 352"/>
                <a:gd name="T33" fmla="*/ 213 h 387"/>
                <a:gd name="T34" fmla="*/ 3 w 352"/>
                <a:gd name="T35" fmla="*/ 222 h 387"/>
                <a:gd name="T36" fmla="*/ 9 w 352"/>
                <a:gd name="T37" fmla="*/ 231 h 387"/>
                <a:gd name="T38" fmla="*/ 24 w 352"/>
                <a:gd name="T39" fmla="*/ 241 h 387"/>
                <a:gd name="T40" fmla="*/ 39 w 352"/>
                <a:gd name="T41" fmla="*/ 245 h 387"/>
                <a:gd name="T42" fmla="*/ 52 w 352"/>
                <a:gd name="T43" fmla="*/ 245 h 387"/>
                <a:gd name="T44" fmla="*/ 63 w 352"/>
                <a:gd name="T45" fmla="*/ 241 h 387"/>
                <a:gd name="T46" fmla="*/ 73 w 352"/>
                <a:gd name="T47" fmla="*/ 236 h 387"/>
                <a:gd name="T48" fmla="*/ 78 w 352"/>
                <a:gd name="T49" fmla="*/ 236 h 387"/>
                <a:gd name="T50" fmla="*/ 80 w 352"/>
                <a:gd name="T51" fmla="*/ 238 h 387"/>
                <a:gd name="T52" fmla="*/ 80 w 352"/>
                <a:gd name="T53" fmla="*/ 257 h 387"/>
                <a:gd name="T54" fmla="*/ 76 w 352"/>
                <a:gd name="T55" fmla="*/ 279 h 387"/>
                <a:gd name="T56" fmla="*/ 71 w 352"/>
                <a:gd name="T57" fmla="*/ 290 h 387"/>
                <a:gd name="T58" fmla="*/ 73 w 352"/>
                <a:gd name="T59" fmla="*/ 307 h 387"/>
                <a:gd name="T60" fmla="*/ 80 w 352"/>
                <a:gd name="T61" fmla="*/ 331 h 387"/>
                <a:gd name="T62" fmla="*/ 89 w 352"/>
                <a:gd name="T63" fmla="*/ 351 h 387"/>
                <a:gd name="T64" fmla="*/ 122 w 352"/>
                <a:gd name="T65" fmla="*/ 373 h 387"/>
                <a:gd name="T66" fmla="*/ 142 w 352"/>
                <a:gd name="T67" fmla="*/ 385 h 387"/>
                <a:gd name="T68" fmla="*/ 152 w 352"/>
                <a:gd name="T69" fmla="*/ 386 h 387"/>
                <a:gd name="T70" fmla="*/ 163 w 352"/>
                <a:gd name="T71" fmla="*/ 377 h 387"/>
                <a:gd name="T72" fmla="*/ 173 w 352"/>
                <a:gd name="T73" fmla="*/ 363 h 387"/>
                <a:gd name="T74" fmla="*/ 178 w 352"/>
                <a:gd name="T75" fmla="*/ 350 h 387"/>
                <a:gd name="T76" fmla="*/ 181 w 352"/>
                <a:gd name="T77" fmla="*/ 338 h 387"/>
                <a:gd name="T78" fmla="*/ 184 w 352"/>
                <a:gd name="T79" fmla="*/ 323 h 387"/>
                <a:gd name="T80" fmla="*/ 195 w 352"/>
                <a:gd name="T81" fmla="*/ 304 h 387"/>
                <a:gd name="T82" fmla="*/ 216 w 352"/>
                <a:gd name="T83" fmla="*/ 281 h 387"/>
                <a:gd name="T84" fmla="*/ 238 w 352"/>
                <a:gd name="T85" fmla="*/ 263 h 387"/>
                <a:gd name="T86" fmla="*/ 264 w 352"/>
                <a:gd name="T87" fmla="*/ 249 h 387"/>
                <a:gd name="T88" fmla="*/ 300 w 352"/>
                <a:gd name="T89" fmla="*/ 229 h 387"/>
                <a:gd name="T90" fmla="*/ 324 w 352"/>
                <a:gd name="T91" fmla="*/ 212 h 387"/>
                <a:gd name="T92" fmla="*/ 338 w 352"/>
                <a:gd name="T93" fmla="*/ 199 h 387"/>
                <a:gd name="T94" fmla="*/ 346 w 352"/>
                <a:gd name="T95" fmla="*/ 185 h 387"/>
                <a:gd name="T96" fmla="*/ 352 w 352"/>
                <a:gd name="T97" fmla="*/ 169 h 387"/>
                <a:gd name="T98" fmla="*/ 351 w 352"/>
                <a:gd name="T99" fmla="*/ 149 h 387"/>
                <a:gd name="T100" fmla="*/ 344 w 352"/>
                <a:gd name="T101" fmla="*/ 125 h 387"/>
                <a:gd name="T102" fmla="*/ 330 w 352"/>
                <a:gd name="T103" fmla="*/ 91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8" name="Freeform 364">
              <a:extLst>
                <a:ext uri="{FF2B5EF4-FFF2-40B4-BE49-F238E27FC236}">
                  <a16:creationId xmlns:a16="http://schemas.microsoft.com/office/drawing/2014/main" id="{952C9770-1373-4921-BE7F-0923D03583E1}"/>
                </a:ext>
              </a:extLst>
            </p:cNvPr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14 w 52"/>
                <a:gd name="T1" fmla="*/ 0 h 78"/>
                <a:gd name="T2" fmla="*/ 20 w 52"/>
                <a:gd name="T3" fmla="*/ 0 h 78"/>
                <a:gd name="T4" fmla="*/ 25 w 52"/>
                <a:gd name="T5" fmla="*/ 2 h 78"/>
                <a:gd name="T6" fmla="*/ 30 w 52"/>
                <a:gd name="T7" fmla="*/ 6 h 78"/>
                <a:gd name="T8" fmla="*/ 36 w 52"/>
                <a:gd name="T9" fmla="*/ 9 h 78"/>
                <a:gd name="T10" fmla="*/ 40 w 52"/>
                <a:gd name="T11" fmla="*/ 13 h 78"/>
                <a:gd name="T12" fmla="*/ 45 w 52"/>
                <a:gd name="T13" fmla="*/ 17 h 78"/>
                <a:gd name="T14" fmla="*/ 47 w 52"/>
                <a:gd name="T15" fmla="*/ 21 h 78"/>
                <a:gd name="T16" fmla="*/ 48 w 52"/>
                <a:gd name="T17" fmla="*/ 24 h 78"/>
                <a:gd name="T18" fmla="*/ 51 w 52"/>
                <a:gd name="T19" fmla="*/ 34 h 78"/>
                <a:gd name="T20" fmla="*/ 52 w 52"/>
                <a:gd name="T21" fmla="*/ 41 h 78"/>
                <a:gd name="T22" fmla="*/ 51 w 52"/>
                <a:gd name="T23" fmla="*/ 46 h 78"/>
                <a:gd name="T24" fmla="*/ 49 w 52"/>
                <a:gd name="T25" fmla="*/ 50 h 78"/>
                <a:gd name="T26" fmla="*/ 47 w 52"/>
                <a:gd name="T27" fmla="*/ 54 h 78"/>
                <a:gd name="T28" fmla="*/ 44 w 52"/>
                <a:gd name="T29" fmla="*/ 60 h 78"/>
                <a:gd name="T30" fmla="*/ 41 w 52"/>
                <a:gd name="T31" fmla="*/ 65 h 78"/>
                <a:gd name="T32" fmla="*/ 41 w 52"/>
                <a:gd name="T33" fmla="*/ 73 h 78"/>
                <a:gd name="T34" fmla="*/ 29 w 52"/>
                <a:gd name="T35" fmla="*/ 75 h 78"/>
                <a:gd name="T36" fmla="*/ 16 w 52"/>
                <a:gd name="T37" fmla="*/ 78 h 78"/>
                <a:gd name="T38" fmla="*/ 11 w 52"/>
                <a:gd name="T39" fmla="*/ 78 h 78"/>
                <a:gd name="T40" fmla="*/ 5 w 52"/>
                <a:gd name="T41" fmla="*/ 78 h 78"/>
                <a:gd name="T42" fmla="*/ 4 w 52"/>
                <a:gd name="T43" fmla="*/ 78 h 78"/>
                <a:gd name="T44" fmla="*/ 2 w 52"/>
                <a:gd name="T45" fmla="*/ 77 h 78"/>
                <a:gd name="T46" fmla="*/ 2 w 52"/>
                <a:gd name="T47" fmla="*/ 75 h 78"/>
                <a:gd name="T48" fmla="*/ 1 w 52"/>
                <a:gd name="T49" fmla="*/ 73 h 78"/>
                <a:gd name="T50" fmla="*/ 0 w 52"/>
                <a:gd name="T51" fmla="*/ 69 h 78"/>
                <a:gd name="T52" fmla="*/ 1 w 52"/>
                <a:gd name="T53" fmla="*/ 64 h 78"/>
                <a:gd name="T54" fmla="*/ 3 w 52"/>
                <a:gd name="T55" fmla="*/ 60 h 78"/>
                <a:gd name="T56" fmla="*/ 7 w 52"/>
                <a:gd name="T57" fmla="*/ 56 h 78"/>
                <a:gd name="T58" fmla="*/ 17 w 52"/>
                <a:gd name="T59" fmla="*/ 47 h 78"/>
                <a:gd name="T60" fmla="*/ 28 w 52"/>
                <a:gd name="T61" fmla="*/ 42 h 78"/>
                <a:gd name="T62" fmla="*/ 24 w 52"/>
                <a:gd name="T63" fmla="*/ 32 h 78"/>
                <a:gd name="T64" fmla="*/ 21 w 52"/>
                <a:gd name="T65" fmla="*/ 21 h 78"/>
                <a:gd name="T66" fmla="*/ 18 w 52"/>
                <a:gd name="T67" fmla="*/ 10 h 78"/>
                <a:gd name="T68" fmla="*/ 14 w 52"/>
                <a:gd name="T69" fmla="*/ 0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59" name="Freeform 365">
              <a:extLst>
                <a:ext uri="{FF2B5EF4-FFF2-40B4-BE49-F238E27FC236}">
                  <a16:creationId xmlns:a16="http://schemas.microsoft.com/office/drawing/2014/main" id="{D31D1F8F-DD83-485C-984B-4A7C9CA8B8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13 w 33"/>
                <a:gd name="T1" fmla="*/ 6 h 30"/>
                <a:gd name="T2" fmla="*/ 0 w 33"/>
                <a:gd name="T3" fmla="*/ 24 h 30"/>
                <a:gd name="T4" fmla="*/ 7 w 33"/>
                <a:gd name="T5" fmla="*/ 25 h 30"/>
                <a:gd name="T6" fmla="*/ 15 w 33"/>
                <a:gd name="T7" fmla="*/ 27 h 30"/>
                <a:gd name="T8" fmla="*/ 23 w 33"/>
                <a:gd name="T9" fmla="*/ 29 h 30"/>
                <a:gd name="T10" fmla="*/ 33 w 33"/>
                <a:gd name="T11" fmla="*/ 30 h 30"/>
                <a:gd name="T12" fmla="*/ 33 w 33"/>
                <a:gd name="T13" fmla="*/ 0 h 30"/>
                <a:gd name="T14" fmla="*/ 20 w 33"/>
                <a:gd name="T15" fmla="*/ 0 h 30"/>
                <a:gd name="T16" fmla="*/ 13 w 33"/>
                <a:gd name="T17" fmla="*/ 6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60" name="Freeform 366">
            <a:extLst>
              <a:ext uri="{FF2B5EF4-FFF2-40B4-BE49-F238E27FC236}">
                <a16:creationId xmlns:a16="http://schemas.microsoft.com/office/drawing/2014/main" id="{61229BC6-49A0-48A4-BCD0-4D41C32163B3}"/>
              </a:ext>
            </a:extLst>
          </p:cNvPr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9060161" y="4674484"/>
            <a:ext cx="18334" cy="58738"/>
          </a:xfrm>
          <a:custGeom>
            <a:avLst/>
            <a:gdLst>
              <a:gd name="T0" fmla="*/ 13 w 47"/>
              <a:gd name="T1" fmla="*/ 0 h 28"/>
              <a:gd name="T2" fmla="*/ 25 w 47"/>
              <a:gd name="T3" fmla="*/ 0 h 28"/>
              <a:gd name="T4" fmla="*/ 31 w 47"/>
              <a:gd name="T5" fmla="*/ 2 h 28"/>
              <a:gd name="T6" fmla="*/ 33 w 47"/>
              <a:gd name="T7" fmla="*/ 4 h 28"/>
              <a:gd name="T8" fmla="*/ 33 w 47"/>
              <a:gd name="T9" fmla="*/ 6 h 28"/>
              <a:gd name="T10" fmla="*/ 32 w 47"/>
              <a:gd name="T11" fmla="*/ 8 h 28"/>
              <a:gd name="T12" fmla="*/ 33 w 47"/>
              <a:gd name="T13" fmla="*/ 10 h 28"/>
              <a:gd name="T14" fmla="*/ 37 w 47"/>
              <a:gd name="T15" fmla="*/ 12 h 28"/>
              <a:gd name="T16" fmla="*/ 47 w 47"/>
              <a:gd name="T17" fmla="*/ 12 h 28"/>
              <a:gd name="T18" fmla="*/ 42 w 47"/>
              <a:gd name="T19" fmla="*/ 19 h 28"/>
              <a:gd name="T20" fmla="*/ 37 w 47"/>
              <a:gd name="T21" fmla="*/ 25 h 28"/>
              <a:gd name="T22" fmla="*/ 33 w 47"/>
              <a:gd name="T23" fmla="*/ 27 h 28"/>
              <a:gd name="T24" fmla="*/ 28 w 47"/>
              <a:gd name="T25" fmla="*/ 28 h 28"/>
              <a:gd name="T26" fmla="*/ 16 w 47"/>
              <a:gd name="T27" fmla="*/ 27 h 28"/>
              <a:gd name="T28" fmla="*/ 0 w 47"/>
              <a:gd name="T29" fmla="*/ 25 h 28"/>
              <a:gd name="T30" fmla="*/ 1 w 47"/>
              <a:gd name="T31" fmla="*/ 19 h 28"/>
              <a:gd name="T32" fmla="*/ 2 w 47"/>
              <a:gd name="T33" fmla="*/ 15 h 28"/>
              <a:gd name="T34" fmla="*/ 4 w 47"/>
              <a:gd name="T35" fmla="*/ 13 h 28"/>
              <a:gd name="T36" fmla="*/ 6 w 47"/>
              <a:gd name="T37" fmla="*/ 12 h 28"/>
              <a:gd name="T38" fmla="*/ 9 w 47"/>
              <a:gd name="T39" fmla="*/ 11 h 28"/>
              <a:gd name="T40" fmla="*/ 11 w 47"/>
              <a:gd name="T41" fmla="*/ 9 h 28"/>
              <a:gd name="T42" fmla="*/ 13 w 47"/>
              <a:gd name="T43" fmla="*/ 5 h 28"/>
              <a:gd name="T44" fmla="*/ 13 w 47"/>
              <a:gd name="T45" fmla="*/ 0 h 2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61" name="Freeform 367">
            <a:extLst>
              <a:ext uri="{FF2B5EF4-FFF2-40B4-BE49-F238E27FC236}">
                <a16:creationId xmlns:a16="http://schemas.microsoft.com/office/drawing/2014/main" id="{862EBAD3-F603-407F-BFE9-4A0812B89513}"/>
              </a:ext>
            </a:extLst>
          </p:cNvPr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9032661" y="4701472"/>
            <a:ext cx="22918" cy="57150"/>
          </a:xfrm>
          <a:custGeom>
            <a:avLst/>
            <a:gdLst>
              <a:gd name="T0" fmla="*/ 13 w 53"/>
              <a:gd name="T1" fmla="*/ 0 h 33"/>
              <a:gd name="T2" fmla="*/ 26 w 53"/>
              <a:gd name="T3" fmla="*/ 1 h 33"/>
              <a:gd name="T4" fmla="*/ 34 w 53"/>
              <a:gd name="T5" fmla="*/ 1 h 33"/>
              <a:gd name="T6" fmla="*/ 37 w 53"/>
              <a:gd name="T7" fmla="*/ 3 h 33"/>
              <a:gd name="T8" fmla="*/ 37 w 53"/>
              <a:gd name="T9" fmla="*/ 4 h 33"/>
              <a:gd name="T10" fmla="*/ 37 w 53"/>
              <a:gd name="T11" fmla="*/ 6 h 33"/>
              <a:gd name="T12" fmla="*/ 39 w 53"/>
              <a:gd name="T13" fmla="*/ 8 h 33"/>
              <a:gd name="T14" fmla="*/ 44 w 53"/>
              <a:gd name="T15" fmla="*/ 10 h 33"/>
              <a:gd name="T16" fmla="*/ 53 w 53"/>
              <a:gd name="T17" fmla="*/ 12 h 33"/>
              <a:gd name="T18" fmla="*/ 48 w 53"/>
              <a:gd name="T19" fmla="*/ 22 h 33"/>
              <a:gd name="T20" fmla="*/ 44 w 53"/>
              <a:gd name="T21" fmla="*/ 28 h 33"/>
              <a:gd name="T22" fmla="*/ 42 w 53"/>
              <a:gd name="T23" fmla="*/ 31 h 33"/>
              <a:gd name="T24" fmla="*/ 38 w 53"/>
              <a:gd name="T25" fmla="*/ 32 h 33"/>
              <a:gd name="T26" fmla="*/ 36 w 53"/>
              <a:gd name="T27" fmla="*/ 33 h 33"/>
              <a:gd name="T28" fmla="*/ 34 w 53"/>
              <a:gd name="T29" fmla="*/ 33 h 33"/>
              <a:gd name="T30" fmla="*/ 20 w 53"/>
              <a:gd name="T31" fmla="*/ 30 h 33"/>
              <a:gd name="T32" fmla="*/ 0 w 53"/>
              <a:gd name="T33" fmla="*/ 24 h 33"/>
              <a:gd name="T34" fmla="*/ 0 w 53"/>
              <a:gd name="T35" fmla="*/ 19 h 33"/>
              <a:gd name="T36" fmla="*/ 2 w 53"/>
              <a:gd name="T37" fmla="*/ 16 h 33"/>
              <a:gd name="T38" fmla="*/ 4 w 53"/>
              <a:gd name="T39" fmla="*/ 14 h 33"/>
              <a:gd name="T40" fmla="*/ 7 w 53"/>
              <a:gd name="T41" fmla="*/ 12 h 33"/>
              <a:gd name="T42" fmla="*/ 9 w 53"/>
              <a:gd name="T43" fmla="*/ 11 h 33"/>
              <a:gd name="T44" fmla="*/ 11 w 53"/>
              <a:gd name="T45" fmla="*/ 9 h 33"/>
              <a:gd name="T46" fmla="*/ 12 w 53"/>
              <a:gd name="T47" fmla="*/ 6 h 33"/>
              <a:gd name="T48" fmla="*/ 13 w 53"/>
              <a:gd name="T49" fmla="*/ 0 h 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362" name="Group 368">
            <a:extLst>
              <a:ext uri="{FF2B5EF4-FFF2-40B4-BE49-F238E27FC236}">
                <a16:creationId xmlns:a16="http://schemas.microsoft.com/office/drawing/2014/main" id="{3A59EB7B-ED42-44F5-9E99-84638A178A47}"/>
              </a:ext>
            </a:extLst>
          </p:cNvPr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8879880" y="4193473"/>
            <a:ext cx="161948" cy="103187"/>
            <a:chOff x="3481" y="2773"/>
            <a:chExt cx="125" cy="65"/>
          </a:xfrm>
        </p:grpSpPr>
        <p:sp>
          <p:nvSpPr>
            <p:cNvPr id="363" name="Freeform 369">
              <a:extLst>
                <a:ext uri="{FF2B5EF4-FFF2-40B4-BE49-F238E27FC236}">
                  <a16:creationId xmlns:a16="http://schemas.microsoft.com/office/drawing/2014/main" id="{A3705D3E-94DB-468A-931C-70487322228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13 w 13"/>
                <a:gd name="T1" fmla="*/ 0 h 18"/>
                <a:gd name="T2" fmla="*/ 10 w 13"/>
                <a:gd name="T3" fmla="*/ 9 h 18"/>
                <a:gd name="T4" fmla="*/ 6 w 13"/>
                <a:gd name="T5" fmla="*/ 18 h 18"/>
                <a:gd name="T6" fmla="*/ 5 w 13"/>
                <a:gd name="T7" fmla="*/ 17 h 18"/>
                <a:gd name="T8" fmla="*/ 3 w 13"/>
                <a:gd name="T9" fmla="*/ 14 h 18"/>
                <a:gd name="T10" fmla="*/ 1 w 13"/>
                <a:gd name="T11" fmla="*/ 10 h 18"/>
                <a:gd name="T12" fmla="*/ 0 w 13"/>
                <a:gd name="T13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4" name="Line 370">
              <a:extLst>
                <a:ext uri="{FF2B5EF4-FFF2-40B4-BE49-F238E27FC236}">
                  <a16:creationId xmlns:a16="http://schemas.microsoft.com/office/drawing/2014/main" id="{3CF7F538-5B83-4C67-B883-315A9C5D0A3B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5" name="Freeform 371">
              <a:extLst>
                <a:ext uri="{FF2B5EF4-FFF2-40B4-BE49-F238E27FC236}">
                  <a16:creationId xmlns:a16="http://schemas.microsoft.com/office/drawing/2014/main" id="{4F53B72D-7CAE-4ACA-B34C-4F52FA1CE5F7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14 w 14"/>
                <a:gd name="T1" fmla="*/ 19 h 19"/>
                <a:gd name="T2" fmla="*/ 0 w 14"/>
                <a:gd name="T3" fmla="*/ 0 h 19"/>
                <a:gd name="T4" fmla="*/ 14 w 14"/>
                <a:gd name="T5" fmla="*/ 19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6" name="Freeform 372">
              <a:extLst>
                <a:ext uri="{FF2B5EF4-FFF2-40B4-BE49-F238E27FC236}">
                  <a16:creationId xmlns:a16="http://schemas.microsoft.com/office/drawing/2014/main" id="{063FC671-CF05-436F-857B-D5F3660D2A68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6 h 18"/>
                <a:gd name="T2" fmla="*/ 7 w 7"/>
                <a:gd name="T3" fmla="*/ 18 h 18"/>
                <a:gd name="T4" fmla="*/ 0 w 7"/>
                <a:gd name="T5" fmla="*/ 18 h 18"/>
                <a:gd name="T6" fmla="*/ 0 w 7"/>
                <a:gd name="T7" fmla="*/ 0 h 18"/>
                <a:gd name="T8" fmla="*/ 7 w 7"/>
                <a:gd name="T9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7" name="Freeform 373">
              <a:extLst>
                <a:ext uri="{FF2B5EF4-FFF2-40B4-BE49-F238E27FC236}">
                  <a16:creationId xmlns:a16="http://schemas.microsoft.com/office/drawing/2014/main" id="{213FA0F0-E276-4774-BCF4-465E9A97F70D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20 w 20"/>
                <a:gd name="T1" fmla="*/ 12 h 12"/>
                <a:gd name="T2" fmla="*/ 10 w 20"/>
                <a:gd name="T3" fmla="*/ 9 h 12"/>
                <a:gd name="T4" fmla="*/ 0 w 20"/>
                <a:gd name="T5" fmla="*/ 6 h 12"/>
                <a:gd name="T6" fmla="*/ 1 w 20"/>
                <a:gd name="T7" fmla="*/ 5 h 12"/>
                <a:gd name="T8" fmla="*/ 3 w 20"/>
                <a:gd name="T9" fmla="*/ 3 h 12"/>
                <a:gd name="T10" fmla="*/ 8 w 20"/>
                <a:gd name="T11" fmla="*/ 1 h 12"/>
                <a:gd name="T12" fmla="*/ 13 w 20"/>
                <a:gd name="T13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68" name="Line 374">
              <a:extLst>
                <a:ext uri="{FF2B5EF4-FFF2-40B4-BE49-F238E27FC236}">
                  <a16:creationId xmlns:a16="http://schemas.microsoft.com/office/drawing/2014/main" id="{F2756D9A-41EF-4651-ADCD-2A41B22EC563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369" name="Freeform 375">
              <a:extLst>
                <a:ext uri="{FF2B5EF4-FFF2-40B4-BE49-F238E27FC236}">
                  <a16:creationId xmlns:a16="http://schemas.microsoft.com/office/drawing/2014/main" id="{8405CC51-687B-438C-9A0F-681F4B76161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18 h 18"/>
                <a:gd name="T4" fmla="*/ 20 w 20"/>
                <a:gd name="T5" fmla="*/ 18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0" name="Freeform 376">
              <a:extLst>
                <a:ext uri="{FF2B5EF4-FFF2-40B4-BE49-F238E27FC236}">
                  <a16:creationId xmlns:a16="http://schemas.microsoft.com/office/drawing/2014/main" id="{8D07076D-233E-41FF-B472-103032DF48F3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7 w 7"/>
                <a:gd name="T1" fmla="*/ 12 h 12"/>
                <a:gd name="T2" fmla="*/ 4 w 7"/>
                <a:gd name="T3" fmla="*/ 6 h 12"/>
                <a:gd name="T4" fmla="*/ 0 w 7"/>
                <a:gd name="T5" fmla="*/ 0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1" name="Freeform 377">
              <a:extLst>
                <a:ext uri="{FF2B5EF4-FFF2-40B4-BE49-F238E27FC236}">
                  <a16:creationId xmlns:a16="http://schemas.microsoft.com/office/drawing/2014/main" id="{896D38E5-A43C-4C8C-8FCD-81DC2879B55F}"/>
                </a:ext>
              </a:extLst>
            </p:cNvPr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18 h 18"/>
                <a:gd name="T4" fmla="*/ 20 w 20"/>
                <a:gd name="T5" fmla="*/ 18 h 18"/>
                <a:gd name="T6" fmla="*/ 17 w 20"/>
                <a:gd name="T7" fmla="*/ 12 h 18"/>
                <a:gd name="T8" fmla="*/ 13 w 20"/>
                <a:gd name="T9" fmla="*/ 6 h 18"/>
                <a:gd name="T10" fmla="*/ 0 w 20"/>
                <a:gd name="T11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2" name="Freeform 378">
              <a:extLst>
                <a:ext uri="{FF2B5EF4-FFF2-40B4-BE49-F238E27FC236}">
                  <a16:creationId xmlns:a16="http://schemas.microsoft.com/office/drawing/2014/main" id="{AEBFB3F1-D1D4-4DA8-AEB8-7BB7C7BFCA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6 h 18"/>
                <a:gd name="T2" fmla="*/ 7 w 7"/>
                <a:gd name="T3" fmla="*/ 18 h 18"/>
                <a:gd name="T4" fmla="*/ 0 w 7"/>
                <a:gd name="T5" fmla="*/ 18 h 18"/>
                <a:gd name="T6" fmla="*/ 0 w 7"/>
                <a:gd name="T7" fmla="*/ 0 h 18"/>
                <a:gd name="T8" fmla="*/ 7 w 7"/>
                <a:gd name="T9" fmla="*/ 0 h 18"/>
                <a:gd name="T10" fmla="*/ 0 w 7"/>
                <a:gd name="T11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73" name="Freeform 379">
              <a:extLst>
                <a:ext uri="{FF2B5EF4-FFF2-40B4-BE49-F238E27FC236}">
                  <a16:creationId xmlns:a16="http://schemas.microsoft.com/office/drawing/2014/main" id="{710384A6-E40C-4D70-86B1-99C428D66206}"/>
                </a:ext>
              </a:extLst>
            </p:cNvPr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13 w 13"/>
                <a:gd name="T1" fmla="*/ 0 h 18"/>
                <a:gd name="T2" fmla="*/ 10 w 13"/>
                <a:gd name="T3" fmla="*/ 9 h 18"/>
                <a:gd name="T4" fmla="*/ 6 w 13"/>
                <a:gd name="T5" fmla="*/ 18 h 18"/>
                <a:gd name="T6" fmla="*/ 5 w 13"/>
                <a:gd name="T7" fmla="*/ 17 h 18"/>
                <a:gd name="T8" fmla="*/ 3 w 13"/>
                <a:gd name="T9" fmla="*/ 14 h 18"/>
                <a:gd name="T10" fmla="*/ 1 w 13"/>
                <a:gd name="T11" fmla="*/ 10 h 18"/>
                <a:gd name="T12" fmla="*/ 0 w 13"/>
                <a:gd name="T13" fmla="*/ 6 h 18"/>
                <a:gd name="T14" fmla="*/ 6 w 13"/>
                <a:gd name="T15" fmla="*/ 6 h 18"/>
                <a:gd name="T16" fmla="*/ 13 w 13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374" name="Freeform 380">
            <a:extLst>
              <a:ext uri="{FF2B5EF4-FFF2-40B4-BE49-F238E27FC236}">
                <a16:creationId xmlns:a16="http://schemas.microsoft.com/office/drawing/2014/main" id="{00350B61-DF91-44E2-999D-D70966DFBAA3}"/>
              </a:ext>
            </a:extLst>
          </p:cNvPr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8041112" y="4185535"/>
            <a:ext cx="307090" cy="379413"/>
          </a:xfrm>
          <a:custGeom>
            <a:avLst/>
            <a:gdLst>
              <a:gd name="T0" fmla="*/ 60 w 736"/>
              <a:gd name="T1" fmla="*/ 685 h 721"/>
              <a:gd name="T2" fmla="*/ 91 w 736"/>
              <a:gd name="T3" fmla="*/ 668 h 721"/>
              <a:gd name="T4" fmla="*/ 126 w 736"/>
              <a:gd name="T5" fmla="*/ 668 h 721"/>
              <a:gd name="T6" fmla="*/ 196 w 736"/>
              <a:gd name="T7" fmla="*/ 692 h 721"/>
              <a:gd name="T8" fmla="*/ 245 w 736"/>
              <a:gd name="T9" fmla="*/ 705 h 721"/>
              <a:gd name="T10" fmla="*/ 292 w 736"/>
              <a:gd name="T11" fmla="*/ 703 h 721"/>
              <a:gd name="T12" fmla="*/ 611 w 736"/>
              <a:gd name="T13" fmla="*/ 717 h 721"/>
              <a:gd name="T14" fmla="*/ 651 w 736"/>
              <a:gd name="T15" fmla="*/ 707 h 721"/>
              <a:gd name="T16" fmla="*/ 627 w 736"/>
              <a:gd name="T17" fmla="*/ 657 h 721"/>
              <a:gd name="T18" fmla="*/ 664 w 736"/>
              <a:gd name="T19" fmla="*/ 433 h 721"/>
              <a:gd name="T20" fmla="*/ 709 w 736"/>
              <a:gd name="T21" fmla="*/ 429 h 721"/>
              <a:gd name="T22" fmla="*/ 723 w 736"/>
              <a:gd name="T23" fmla="*/ 416 h 721"/>
              <a:gd name="T24" fmla="*/ 734 w 736"/>
              <a:gd name="T25" fmla="*/ 360 h 721"/>
              <a:gd name="T26" fmla="*/ 722 w 736"/>
              <a:gd name="T27" fmla="*/ 302 h 721"/>
              <a:gd name="T28" fmla="*/ 708 w 736"/>
              <a:gd name="T29" fmla="*/ 304 h 721"/>
              <a:gd name="T30" fmla="*/ 676 w 736"/>
              <a:gd name="T31" fmla="*/ 300 h 721"/>
              <a:gd name="T32" fmla="*/ 634 w 736"/>
              <a:gd name="T33" fmla="*/ 299 h 721"/>
              <a:gd name="T34" fmla="*/ 623 w 736"/>
              <a:gd name="T35" fmla="*/ 290 h 721"/>
              <a:gd name="T36" fmla="*/ 617 w 736"/>
              <a:gd name="T37" fmla="*/ 253 h 721"/>
              <a:gd name="T38" fmla="*/ 607 w 736"/>
              <a:gd name="T39" fmla="*/ 219 h 721"/>
              <a:gd name="T40" fmla="*/ 597 w 736"/>
              <a:gd name="T41" fmla="*/ 186 h 721"/>
              <a:gd name="T42" fmla="*/ 607 w 736"/>
              <a:gd name="T43" fmla="*/ 167 h 721"/>
              <a:gd name="T44" fmla="*/ 617 w 736"/>
              <a:gd name="T45" fmla="*/ 148 h 721"/>
              <a:gd name="T46" fmla="*/ 611 w 736"/>
              <a:gd name="T47" fmla="*/ 100 h 721"/>
              <a:gd name="T48" fmla="*/ 544 w 736"/>
              <a:gd name="T49" fmla="*/ 70 h 721"/>
              <a:gd name="T50" fmla="*/ 477 w 736"/>
              <a:gd name="T51" fmla="*/ 66 h 721"/>
              <a:gd name="T52" fmla="*/ 471 w 736"/>
              <a:gd name="T53" fmla="*/ 81 h 721"/>
              <a:gd name="T54" fmla="*/ 463 w 736"/>
              <a:gd name="T55" fmla="*/ 101 h 721"/>
              <a:gd name="T56" fmla="*/ 440 w 736"/>
              <a:gd name="T57" fmla="*/ 122 h 721"/>
              <a:gd name="T58" fmla="*/ 392 w 736"/>
              <a:gd name="T59" fmla="*/ 130 h 721"/>
              <a:gd name="T60" fmla="*/ 364 w 736"/>
              <a:gd name="T61" fmla="*/ 115 h 721"/>
              <a:gd name="T62" fmla="*/ 339 w 736"/>
              <a:gd name="T63" fmla="*/ 82 h 721"/>
              <a:gd name="T64" fmla="*/ 319 w 736"/>
              <a:gd name="T65" fmla="*/ 39 h 721"/>
              <a:gd name="T66" fmla="*/ 312 w 736"/>
              <a:gd name="T67" fmla="*/ 0 h 721"/>
              <a:gd name="T68" fmla="*/ 30 w 736"/>
              <a:gd name="T69" fmla="*/ 15 h 721"/>
              <a:gd name="T70" fmla="*/ 47 w 736"/>
              <a:gd name="T71" fmla="*/ 29 h 721"/>
              <a:gd name="T72" fmla="*/ 75 w 736"/>
              <a:gd name="T73" fmla="*/ 75 h 721"/>
              <a:gd name="T74" fmla="*/ 102 w 736"/>
              <a:gd name="T75" fmla="*/ 130 h 721"/>
              <a:gd name="T76" fmla="*/ 103 w 736"/>
              <a:gd name="T77" fmla="*/ 171 h 721"/>
              <a:gd name="T78" fmla="*/ 93 w 736"/>
              <a:gd name="T79" fmla="*/ 203 h 721"/>
              <a:gd name="T80" fmla="*/ 96 w 736"/>
              <a:gd name="T81" fmla="*/ 229 h 721"/>
              <a:gd name="T82" fmla="*/ 119 w 736"/>
              <a:gd name="T83" fmla="*/ 272 h 721"/>
              <a:gd name="T84" fmla="*/ 131 w 736"/>
              <a:gd name="T85" fmla="*/ 307 h 721"/>
              <a:gd name="T86" fmla="*/ 127 w 736"/>
              <a:gd name="T87" fmla="*/ 352 h 721"/>
              <a:gd name="T88" fmla="*/ 106 w 736"/>
              <a:gd name="T89" fmla="*/ 403 h 721"/>
              <a:gd name="T90" fmla="*/ 77 w 736"/>
              <a:gd name="T91" fmla="*/ 446 h 721"/>
              <a:gd name="T92" fmla="*/ 41 w 736"/>
              <a:gd name="T93" fmla="*/ 477 h 721"/>
              <a:gd name="T94" fmla="*/ 25 w 736"/>
              <a:gd name="T95" fmla="*/ 591 h 721"/>
              <a:gd name="T96" fmla="*/ 11 w 736"/>
              <a:gd name="T97" fmla="*/ 627 h 72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75" name="Freeform 381">
            <a:extLst>
              <a:ext uri="{FF2B5EF4-FFF2-40B4-BE49-F238E27FC236}">
                <a16:creationId xmlns:a16="http://schemas.microsoft.com/office/drawing/2014/main" id="{5A42B345-9888-44F3-ADA2-A3300F907313}"/>
              </a:ext>
            </a:extLst>
          </p:cNvPr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8051806" y="4158548"/>
            <a:ext cx="15278" cy="60325"/>
          </a:xfrm>
          <a:custGeom>
            <a:avLst/>
            <a:gdLst>
              <a:gd name="T0" fmla="*/ 0 w 39"/>
              <a:gd name="T1" fmla="*/ 31 h 31"/>
              <a:gd name="T2" fmla="*/ 12 w 39"/>
              <a:gd name="T3" fmla="*/ 28 h 31"/>
              <a:gd name="T4" fmla="*/ 22 w 39"/>
              <a:gd name="T5" fmla="*/ 28 h 31"/>
              <a:gd name="T6" fmla="*/ 26 w 39"/>
              <a:gd name="T7" fmla="*/ 28 h 31"/>
              <a:gd name="T8" fmla="*/ 30 w 39"/>
              <a:gd name="T9" fmla="*/ 28 h 31"/>
              <a:gd name="T10" fmla="*/ 35 w 39"/>
              <a:gd name="T11" fmla="*/ 27 h 31"/>
              <a:gd name="T12" fmla="*/ 39 w 39"/>
              <a:gd name="T13" fmla="*/ 25 h 31"/>
              <a:gd name="T14" fmla="*/ 39 w 39"/>
              <a:gd name="T15" fmla="*/ 0 h 31"/>
              <a:gd name="T16" fmla="*/ 26 w 39"/>
              <a:gd name="T17" fmla="*/ 0 h 31"/>
              <a:gd name="T18" fmla="*/ 17 w 39"/>
              <a:gd name="T19" fmla="*/ 0 h 31"/>
              <a:gd name="T20" fmla="*/ 8 w 39"/>
              <a:gd name="T21" fmla="*/ 0 h 31"/>
              <a:gd name="T22" fmla="*/ 0 w 39"/>
              <a:gd name="T23" fmla="*/ 0 h 31"/>
              <a:gd name="T24" fmla="*/ 0 w 39"/>
              <a:gd name="T25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376" name="Freeform 382">
            <a:extLst>
              <a:ext uri="{FF2B5EF4-FFF2-40B4-BE49-F238E27FC236}">
                <a16:creationId xmlns:a16="http://schemas.microsoft.com/office/drawing/2014/main" id="{18B28479-F395-4BB1-AC27-966D2BA4E65F}"/>
              </a:ext>
            </a:extLst>
          </p:cNvPr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8149586" y="4701472"/>
            <a:ext cx="381953" cy="398462"/>
          </a:xfrm>
          <a:custGeom>
            <a:avLst/>
            <a:gdLst>
              <a:gd name="T0" fmla="*/ 899 w 903"/>
              <a:gd name="T1" fmla="*/ 291 h 759"/>
              <a:gd name="T2" fmla="*/ 863 w 903"/>
              <a:gd name="T3" fmla="*/ 388 h 759"/>
              <a:gd name="T4" fmla="*/ 832 w 903"/>
              <a:gd name="T5" fmla="*/ 414 h 759"/>
              <a:gd name="T6" fmla="*/ 761 w 903"/>
              <a:gd name="T7" fmla="*/ 507 h 759"/>
              <a:gd name="T8" fmla="*/ 720 w 903"/>
              <a:gd name="T9" fmla="*/ 561 h 759"/>
              <a:gd name="T10" fmla="*/ 647 w 903"/>
              <a:gd name="T11" fmla="*/ 613 h 759"/>
              <a:gd name="T12" fmla="*/ 583 w 903"/>
              <a:gd name="T13" fmla="*/ 666 h 759"/>
              <a:gd name="T14" fmla="*/ 557 w 903"/>
              <a:gd name="T15" fmla="*/ 698 h 759"/>
              <a:gd name="T16" fmla="*/ 520 w 903"/>
              <a:gd name="T17" fmla="*/ 705 h 759"/>
              <a:gd name="T18" fmla="*/ 496 w 903"/>
              <a:gd name="T19" fmla="*/ 710 h 759"/>
              <a:gd name="T20" fmla="*/ 485 w 903"/>
              <a:gd name="T21" fmla="*/ 727 h 759"/>
              <a:gd name="T22" fmla="*/ 372 w 903"/>
              <a:gd name="T23" fmla="*/ 727 h 759"/>
              <a:gd name="T24" fmla="*/ 339 w 903"/>
              <a:gd name="T25" fmla="*/ 732 h 759"/>
              <a:gd name="T26" fmla="*/ 316 w 903"/>
              <a:gd name="T27" fmla="*/ 732 h 759"/>
              <a:gd name="T28" fmla="*/ 286 w 903"/>
              <a:gd name="T29" fmla="*/ 727 h 759"/>
              <a:gd name="T30" fmla="*/ 263 w 903"/>
              <a:gd name="T31" fmla="*/ 737 h 759"/>
              <a:gd name="T32" fmla="*/ 146 w 903"/>
              <a:gd name="T33" fmla="*/ 759 h 759"/>
              <a:gd name="T34" fmla="*/ 116 w 903"/>
              <a:gd name="T35" fmla="*/ 753 h 759"/>
              <a:gd name="T36" fmla="*/ 90 w 903"/>
              <a:gd name="T37" fmla="*/ 739 h 759"/>
              <a:gd name="T38" fmla="*/ 76 w 903"/>
              <a:gd name="T39" fmla="*/ 719 h 759"/>
              <a:gd name="T40" fmla="*/ 79 w 903"/>
              <a:gd name="T41" fmla="*/ 697 h 759"/>
              <a:gd name="T42" fmla="*/ 75 w 903"/>
              <a:gd name="T43" fmla="*/ 628 h 759"/>
              <a:gd name="T44" fmla="*/ 79 w 903"/>
              <a:gd name="T45" fmla="*/ 608 h 759"/>
              <a:gd name="T46" fmla="*/ 68 w 903"/>
              <a:gd name="T47" fmla="*/ 572 h 759"/>
              <a:gd name="T48" fmla="*/ 22 w 903"/>
              <a:gd name="T49" fmla="*/ 516 h 759"/>
              <a:gd name="T50" fmla="*/ 12 w 903"/>
              <a:gd name="T51" fmla="*/ 484 h 759"/>
              <a:gd name="T52" fmla="*/ 10 w 903"/>
              <a:gd name="T53" fmla="*/ 439 h 759"/>
              <a:gd name="T54" fmla="*/ 0 w 903"/>
              <a:gd name="T55" fmla="*/ 377 h 759"/>
              <a:gd name="T56" fmla="*/ 39 w 903"/>
              <a:gd name="T57" fmla="*/ 377 h 759"/>
              <a:gd name="T58" fmla="*/ 57 w 903"/>
              <a:gd name="T59" fmla="*/ 396 h 759"/>
              <a:gd name="T60" fmla="*/ 94 w 903"/>
              <a:gd name="T61" fmla="*/ 410 h 759"/>
              <a:gd name="T62" fmla="*/ 135 w 903"/>
              <a:gd name="T63" fmla="*/ 411 h 759"/>
              <a:gd name="T64" fmla="*/ 160 w 903"/>
              <a:gd name="T65" fmla="*/ 400 h 759"/>
              <a:gd name="T66" fmla="*/ 182 w 903"/>
              <a:gd name="T67" fmla="*/ 372 h 759"/>
              <a:gd name="T68" fmla="*/ 197 w 903"/>
              <a:gd name="T69" fmla="*/ 229 h 759"/>
              <a:gd name="T70" fmla="*/ 204 w 903"/>
              <a:gd name="T71" fmla="*/ 184 h 759"/>
              <a:gd name="T72" fmla="*/ 210 w 903"/>
              <a:gd name="T73" fmla="*/ 168 h 759"/>
              <a:gd name="T74" fmla="*/ 239 w 903"/>
              <a:gd name="T75" fmla="*/ 178 h 759"/>
              <a:gd name="T76" fmla="*/ 245 w 903"/>
              <a:gd name="T77" fmla="*/ 238 h 759"/>
              <a:gd name="T78" fmla="*/ 247 w 903"/>
              <a:gd name="T79" fmla="*/ 274 h 759"/>
              <a:gd name="T80" fmla="*/ 256 w 903"/>
              <a:gd name="T81" fmla="*/ 287 h 759"/>
              <a:gd name="T82" fmla="*/ 287 w 903"/>
              <a:gd name="T83" fmla="*/ 295 h 759"/>
              <a:gd name="T84" fmla="*/ 312 w 903"/>
              <a:gd name="T85" fmla="*/ 293 h 759"/>
              <a:gd name="T86" fmla="*/ 333 w 903"/>
              <a:gd name="T87" fmla="*/ 272 h 759"/>
              <a:gd name="T88" fmla="*/ 350 w 903"/>
              <a:gd name="T89" fmla="*/ 234 h 759"/>
              <a:gd name="T90" fmla="*/ 368 w 903"/>
              <a:gd name="T91" fmla="*/ 201 h 759"/>
              <a:gd name="T92" fmla="*/ 387 w 903"/>
              <a:gd name="T93" fmla="*/ 191 h 759"/>
              <a:gd name="T94" fmla="*/ 414 w 903"/>
              <a:gd name="T95" fmla="*/ 193 h 759"/>
              <a:gd name="T96" fmla="*/ 451 w 903"/>
              <a:gd name="T97" fmla="*/ 208 h 759"/>
              <a:gd name="T98" fmla="*/ 478 w 903"/>
              <a:gd name="T99" fmla="*/ 216 h 759"/>
              <a:gd name="T100" fmla="*/ 512 w 903"/>
              <a:gd name="T101" fmla="*/ 213 h 759"/>
              <a:gd name="T102" fmla="*/ 531 w 903"/>
              <a:gd name="T103" fmla="*/ 200 h 759"/>
              <a:gd name="T104" fmla="*/ 564 w 903"/>
              <a:gd name="T105" fmla="*/ 127 h 759"/>
              <a:gd name="T106" fmla="*/ 620 w 903"/>
              <a:gd name="T107" fmla="*/ 80 h 759"/>
              <a:gd name="T108" fmla="*/ 732 w 903"/>
              <a:gd name="T109" fmla="*/ 11 h 759"/>
              <a:gd name="T110" fmla="*/ 806 w 903"/>
              <a:gd name="T111" fmla="*/ 3 h 759"/>
              <a:gd name="T112" fmla="*/ 830 w 903"/>
              <a:gd name="T113" fmla="*/ 6 h 759"/>
              <a:gd name="T114" fmla="*/ 854 w 903"/>
              <a:gd name="T115" fmla="*/ 35 h 759"/>
              <a:gd name="T116" fmla="*/ 873 w 903"/>
              <a:gd name="T117" fmla="*/ 71 h 759"/>
              <a:gd name="T118" fmla="*/ 883 w 903"/>
              <a:gd name="T119" fmla="*/ 107 h 759"/>
              <a:gd name="T120" fmla="*/ 868 w 903"/>
              <a:gd name="T121" fmla="*/ 207 h 759"/>
              <a:gd name="T122" fmla="*/ 830 w 903"/>
              <a:gd name="T123" fmla="*/ 204 h 759"/>
              <a:gd name="T124" fmla="*/ 826 w 903"/>
              <a:gd name="T125" fmla="*/ 281 h 75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endParaRPr lang="en-US"/>
          </a:p>
        </p:txBody>
      </p:sp>
      <p:sp>
        <p:nvSpPr>
          <p:cNvPr id="377" name="Freeform 383">
            <a:extLst>
              <a:ext uri="{FF2B5EF4-FFF2-40B4-BE49-F238E27FC236}">
                <a16:creationId xmlns:a16="http://schemas.microsoft.com/office/drawing/2014/main" id="{39108346-1D5B-446A-BE94-ECE0CDA620B1}"/>
              </a:ext>
            </a:extLst>
          </p:cNvPr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8291672" y="3269548"/>
            <a:ext cx="395703" cy="611187"/>
          </a:xfrm>
          <a:custGeom>
            <a:avLst/>
            <a:gdLst>
              <a:gd name="T0" fmla="*/ 742 w 943"/>
              <a:gd name="T1" fmla="*/ 5 h 1172"/>
              <a:gd name="T2" fmla="*/ 765 w 943"/>
              <a:gd name="T3" fmla="*/ 23 h 1172"/>
              <a:gd name="T4" fmla="*/ 803 w 943"/>
              <a:gd name="T5" fmla="*/ 30 h 1172"/>
              <a:gd name="T6" fmla="*/ 814 w 943"/>
              <a:gd name="T7" fmla="*/ 55 h 1172"/>
              <a:gd name="T8" fmla="*/ 835 w 943"/>
              <a:gd name="T9" fmla="*/ 109 h 1172"/>
              <a:gd name="T10" fmla="*/ 837 w 943"/>
              <a:gd name="T11" fmla="*/ 187 h 1172"/>
              <a:gd name="T12" fmla="*/ 857 w 943"/>
              <a:gd name="T13" fmla="*/ 243 h 1172"/>
              <a:gd name="T14" fmla="*/ 922 w 943"/>
              <a:gd name="T15" fmla="*/ 292 h 1172"/>
              <a:gd name="T16" fmla="*/ 879 w 943"/>
              <a:gd name="T17" fmla="*/ 361 h 1172"/>
              <a:gd name="T18" fmla="*/ 851 w 943"/>
              <a:gd name="T19" fmla="*/ 410 h 1172"/>
              <a:gd name="T20" fmla="*/ 809 w 943"/>
              <a:gd name="T21" fmla="*/ 635 h 1172"/>
              <a:gd name="T22" fmla="*/ 770 w 943"/>
              <a:gd name="T23" fmla="*/ 677 h 1172"/>
              <a:gd name="T24" fmla="*/ 763 w 943"/>
              <a:gd name="T25" fmla="*/ 721 h 1172"/>
              <a:gd name="T26" fmla="*/ 745 w 943"/>
              <a:gd name="T27" fmla="*/ 735 h 1172"/>
              <a:gd name="T28" fmla="*/ 723 w 943"/>
              <a:gd name="T29" fmla="*/ 798 h 1172"/>
              <a:gd name="T30" fmla="*/ 692 w 943"/>
              <a:gd name="T31" fmla="*/ 877 h 1172"/>
              <a:gd name="T32" fmla="*/ 662 w 943"/>
              <a:gd name="T33" fmla="*/ 903 h 1172"/>
              <a:gd name="T34" fmla="*/ 664 w 943"/>
              <a:gd name="T35" fmla="*/ 934 h 1172"/>
              <a:gd name="T36" fmla="*/ 686 w 943"/>
              <a:gd name="T37" fmla="*/ 939 h 1172"/>
              <a:gd name="T38" fmla="*/ 709 w 943"/>
              <a:gd name="T39" fmla="*/ 950 h 1172"/>
              <a:gd name="T40" fmla="*/ 742 w 943"/>
              <a:gd name="T41" fmla="*/ 971 h 1172"/>
              <a:gd name="T42" fmla="*/ 756 w 943"/>
              <a:gd name="T43" fmla="*/ 1007 h 1172"/>
              <a:gd name="T44" fmla="*/ 775 w 943"/>
              <a:gd name="T45" fmla="*/ 1043 h 1172"/>
              <a:gd name="T46" fmla="*/ 803 w 943"/>
              <a:gd name="T47" fmla="*/ 1053 h 1172"/>
              <a:gd name="T48" fmla="*/ 809 w 943"/>
              <a:gd name="T49" fmla="*/ 1094 h 1172"/>
              <a:gd name="T50" fmla="*/ 718 w 943"/>
              <a:gd name="T51" fmla="*/ 1115 h 1172"/>
              <a:gd name="T52" fmla="*/ 687 w 943"/>
              <a:gd name="T53" fmla="*/ 1157 h 1172"/>
              <a:gd name="T54" fmla="*/ 598 w 943"/>
              <a:gd name="T55" fmla="*/ 1170 h 1172"/>
              <a:gd name="T56" fmla="*/ 515 w 943"/>
              <a:gd name="T57" fmla="*/ 1158 h 1172"/>
              <a:gd name="T58" fmla="*/ 464 w 943"/>
              <a:gd name="T59" fmla="*/ 1123 h 1172"/>
              <a:gd name="T60" fmla="*/ 390 w 943"/>
              <a:gd name="T61" fmla="*/ 1125 h 1172"/>
              <a:gd name="T62" fmla="*/ 319 w 943"/>
              <a:gd name="T63" fmla="*/ 1120 h 1172"/>
              <a:gd name="T64" fmla="*/ 297 w 943"/>
              <a:gd name="T65" fmla="*/ 1104 h 1172"/>
              <a:gd name="T66" fmla="*/ 294 w 943"/>
              <a:gd name="T67" fmla="*/ 1075 h 1172"/>
              <a:gd name="T68" fmla="*/ 274 w 943"/>
              <a:gd name="T69" fmla="*/ 1029 h 1172"/>
              <a:gd name="T70" fmla="*/ 216 w 943"/>
              <a:gd name="T71" fmla="*/ 974 h 1172"/>
              <a:gd name="T72" fmla="*/ 193 w 943"/>
              <a:gd name="T73" fmla="*/ 925 h 1172"/>
              <a:gd name="T74" fmla="*/ 152 w 943"/>
              <a:gd name="T75" fmla="*/ 903 h 1172"/>
              <a:gd name="T76" fmla="*/ 120 w 943"/>
              <a:gd name="T77" fmla="*/ 846 h 1172"/>
              <a:gd name="T78" fmla="*/ 97 w 943"/>
              <a:gd name="T79" fmla="*/ 788 h 1172"/>
              <a:gd name="T80" fmla="*/ 65 w 943"/>
              <a:gd name="T81" fmla="*/ 758 h 1172"/>
              <a:gd name="T82" fmla="*/ 33 w 943"/>
              <a:gd name="T83" fmla="*/ 676 h 1172"/>
              <a:gd name="T84" fmla="*/ 4 w 943"/>
              <a:gd name="T85" fmla="*/ 611 h 1172"/>
              <a:gd name="T86" fmla="*/ 18 w 943"/>
              <a:gd name="T87" fmla="*/ 577 h 1172"/>
              <a:gd name="T88" fmla="*/ 29 w 943"/>
              <a:gd name="T89" fmla="*/ 521 h 1172"/>
              <a:gd name="T90" fmla="*/ 64 w 943"/>
              <a:gd name="T91" fmla="*/ 474 h 1172"/>
              <a:gd name="T92" fmla="*/ 113 w 943"/>
              <a:gd name="T93" fmla="*/ 222 h 1172"/>
              <a:gd name="T94" fmla="*/ 123 w 943"/>
              <a:gd name="T95" fmla="*/ 179 h 1172"/>
              <a:gd name="T96" fmla="*/ 153 w 943"/>
              <a:gd name="T97" fmla="*/ 171 h 1172"/>
              <a:gd name="T98" fmla="*/ 160 w 943"/>
              <a:gd name="T99" fmla="*/ 122 h 1172"/>
              <a:gd name="T100" fmla="*/ 159 w 943"/>
              <a:gd name="T101" fmla="*/ 67 h 1172"/>
              <a:gd name="T102" fmla="*/ 679 w 943"/>
              <a:gd name="T103" fmla="*/ 69 h 11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378" name="Group 384">
            <a:extLst>
              <a:ext uri="{FF2B5EF4-FFF2-40B4-BE49-F238E27FC236}">
                <a16:creationId xmlns:a16="http://schemas.microsoft.com/office/drawing/2014/main" id="{65B96C43-2AD4-4B40-A3E5-E5CBD3508F94}"/>
              </a:ext>
            </a:extLst>
          </p:cNvPr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7121369" y="3471159"/>
            <a:ext cx="77918" cy="82550"/>
            <a:chOff x="2352" y="2343"/>
            <a:chExt cx="65" cy="53"/>
          </a:xfrm>
        </p:grpSpPr>
        <p:sp>
          <p:nvSpPr>
            <p:cNvPr id="379" name="Freeform 385">
              <a:extLst>
                <a:ext uri="{FF2B5EF4-FFF2-40B4-BE49-F238E27FC236}">
                  <a16:creationId xmlns:a16="http://schemas.microsoft.com/office/drawing/2014/main" id="{CCCD896C-B0CF-49B1-85E8-DD98CE82448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46 w 51"/>
                <a:gd name="T1" fmla="*/ 0 h 33"/>
                <a:gd name="T2" fmla="*/ 0 w 51"/>
                <a:gd name="T3" fmla="*/ 5 h 33"/>
                <a:gd name="T4" fmla="*/ 4 w 51"/>
                <a:gd name="T5" fmla="*/ 28 h 33"/>
                <a:gd name="T6" fmla="*/ 10 w 51"/>
                <a:gd name="T7" fmla="*/ 33 h 33"/>
                <a:gd name="T8" fmla="*/ 35 w 51"/>
                <a:gd name="T9" fmla="*/ 25 h 33"/>
                <a:gd name="T10" fmla="*/ 48 w 51"/>
                <a:gd name="T11" fmla="*/ 15 h 33"/>
                <a:gd name="T12" fmla="*/ 51 w 51"/>
                <a:gd name="T13" fmla="*/ 8 h 33"/>
                <a:gd name="T14" fmla="*/ 46 w 51"/>
                <a:gd name="T15" fmla="*/ 0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0" name="Freeform 386">
              <a:extLst>
                <a:ext uri="{FF2B5EF4-FFF2-40B4-BE49-F238E27FC236}">
                  <a16:creationId xmlns:a16="http://schemas.microsoft.com/office/drawing/2014/main" id="{A370AFAE-A14D-471D-978E-CF00C58C80DE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61 w 61"/>
                <a:gd name="T1" fmla="*/ 6 h 20"/>
                <a:gd name="T2" fmla="*/ 53 w 61"/>
                <a:gd name="T3" fmla="*/ 2 h 20"/>
                <a:gd name="T4" fmla="*/ 0 w 61"/>
                <a:gd name="T5" fmla="*/ 0 h 20"/>
                <a:gd name="T6" fmla="*/ 2 w 61"/>
                <a:gd name="T7" fmla="*/ 14 h 20"/>
                <a:gd name="T8" fmla="*/ 7 w 61"/>
                <a:gd name="T9" fmla="*/ 20 h 20"/>
                <a:gd name="T10" fmla="*/ 18 w 61"/>
                <a:gd name="T11" fmla="*/ 13 h 20"/>
                <a:gd name="T12" fmla="*/ 61 w 61"/>
                <a:gd name="T13" fmla="*/ 6 h 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1" name="Freeform 387">
              <a:extLst>
                <a:ext uri="{FF2B5EF4-FFF2-40B4-BE49-F238E27FC236}">
                  <a16:creationId xmlns:a16="http://schemas.microsoft.com/office/drawing/2014/main" id="{8B1DFF87-39CB-4EE8-8883-D1577BD48FB6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2 w 15"/>
                <a:gd name="T1" fmla="*/ 0 h 36"/>
                <a:gd name="T2" fmla="*/ 0 w 15"/>
                <a:gd name="T3" fmla="*/ 20 h 36"/>
                <a:gd name="T4" fmla="*/ 0 w 15"/>
                <a:gd name="T5" fmla="*/ 36 h 36"/>
                <a:gd name="T6" fmla="*/ 11 w 15"/>
                <a:gd name="T7" fmla="*/ 35 h 36"/>
                <a:gd name="T8" fmla="*/ 15 w 15"/>
                <a:gd name="T9" fmla="*/ 14 h 36"/>
                <a:gd name="T10" fmla="*/ 2 w 15"/>
                <a:gd name="T11" fmla="*/ 0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2" name="Freeform 388">
              <a:extLst>
                <a:ext uri="{FF2B5EF4-FFF2-40B4-BE49-F238E27FC236}">
                  <a16:creationId xmlns:a16="http://schemas.microsoft.com/office/drawing/2014/main" id="{834306B7-425C-4D4F-AF5F-D605BF1474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4 w 37"/>
                <a:gd name="T1" fmla="*/ 4 h 33"/>
                <a:gd name="T2" fmla="*/ 22 w 37"/>
                <a:gd name="T3" fmla="*/ 0 h 33"/>
                <a:gd name="T4" fmla="*/ 35 w 37"/>
                <a:gd name="T5" fmla="*/ 6 h 33"/>
                <a:gd name="T6" fmla="*/ 37 w 37"/>
                <a:gd name="T7" fmla="*/ 22 h 33"/>
                <a:gd name="T8" fmla="*/ 24 w 37"/>
                <a:gd name="T9" fmla="*/ 33 h 33"/>
                <a:gd name="T10" fmla="*/ 11 w 37"/>
                <a:gd name="T11" fmla="*/ 33 h 33"/>
                <a:gd name="T12" fmla="*/ 2 w 37"/>
                <a:gd name="T13" fmla="*/ 24 h 33"/>
                <a:gd name="T14" fmla="*/ 0 w 37"/>
                <a:gd name="T15" fmla="*/ 16 h 33"/>
                <a:gd name="T16" fmla="*/ 4 w 37"/>
                <a:gd name="T17" fmla="*/ 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3" name="Freeform 389">
              <a:extLst>
                <a:ext uri="{FF2B5EF4-FFF2-40B4-BE49-F238E27FC236}">
                  <a16:creationId xmlns:a16="http://schemas.microsoft.com/office/drawing/2014/main" id="{3CC4339E-A933-47D2-B518-237E76E2F8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2 w 49"/>
                <a:gd name="T1" fmla="*/ 0 h 54"/>
                <a:gd name="T2" fmla="*/ 0 w 49"/>
                <a:gd name="T3" fmla="*/ 0 h 54"/>
                <a:gd name="T4" fmla="*/ 2 w 49"/>
                <a:gd name="T5" fmla="*/ 50 h 54"/>
                <a:gd name="T6" fmla="*/ 18 w 49"/>
                <a:gd name="T7" fmla="*/ 54 h 54"/>
                <a:gd name="T8" fmla="*/ 44 w 49"/>
                <a:gd name="T9" fmla="*/ 45 h 54"/>
                <a:gd name="T10" fmla="*/ 49 w 49"/>
                <a:gd name="T11" fmla="*/ 31 h 54"/>
                <a:gd name="T12" fmla="*/ 40 w 49"/>
                <a:gd name="T13" fmla="*/ 21 h 54"/>
                <a:gd name="T14" fmla="*/ 19 w 49"/>
                <a:gd name="T15" fmla="*/ 8 h 54"/>
                <a:gd name="T16" fmla="*/ 2 w 49"/>
                <a:gd name="T17" fmla="*/ 0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384" name="Freeform 390">
              <a:extLst>
                <a:ext uri="{FF2B5EF4-FFF2-40B4-BE49-F238E27FC236}">
                  <a16:creationId xmlns:a16="http://schemas.microsoft.com/office/drawing/2014/main" id="{9151C699-C182-44C7-8750-B4C1010847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18 w 26"/>
                <a:gd name="T1" fmla="*/ 0 h 22"/>
                <a:gd name="T2" fmla="*/ 3 w 26"/>
                <a:gd name="T3" fmla="*/ 2 h 22"/>
                <a:gd name="T4" fmla="*/ 0 w 26"/>
                <a:gd name="T5" fmla="*/ 15 h 22"/>
                <a:gd name="T6" fmla="*/ 6 w 26"/>
                <a:gd name="T7" fmla="*/ 21 h 22"/>
                <a:gd name="T8" fmla="*/ 19 w 26"/>
                <a:gd name="T9" fmla="*/ 22 h 22"/>
                <a:gd name="T10" fmla="*/ 26 w 26"/>
                <a:gd name="T11" fmla="*/ 11 h 22"/>
                <a:gd name="T12" fmla="*/ 18 w 26"/>
                <a:gd name="T13" fmla="*/ 0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28" name="Freeform 434">
            <a:extLst>
              <a:ext uri="{FF2B5EF4-FFF2-40B4-BE49-F238E27FC236}">
                <a16:creationId xmlns:a16="http://schemas.microsoft.com/office/drawing/2014/main" id="{57CF8AA6-F198-4A91-B725-FEC1D964E659}"/>
              </a:ext>
            </a:extLst>
          </p:cNvPr>
          <p:cNvSpPr>
            <a:spLocks/>
          </p:cNvSpPr>
          <p:nvPr>
            <p:custDataLst>
              <p:tags r:id="rId274"/>
            </p:custDataLst>
          </p:nvPr>
        </p:nvSpPr>
        <p:spPr bwMode="auto">
          <a:xfrm>
            <a:off x="8484177" y="3875972"/>
            <a:ext cx="122225" cy="158750"/>
          </a:xfrm>
          <a:custGeom>
            <a:avLst/>
            <a:gdLst>
              <a:gd name="T0" fmla="*/ 265 w 292"/>
              <a:gd name="T1" fmla="*/ 10 h 308"/>
              <a:gd name="T2" fmla="*/ 276 w 292"/>
              <a:gd name="T3" fmla="*/ 37 h 308"/>
              <a:gd name="T4" fmla="*/ 286 w 292"/>
              <a:gd name="T5" fmla="*/ 91 h 308"/>
              <a:gd name="T6" fmla="*/ 292 w 292"/>
              <a:gd name="T7" fmla="*/ 144 h 308"/>
              <a:gd name="T8" fmla="*/ 291 w 292"/>
              <a:gd name="T9" fmla="*/ 161 h 308"/>
              <a:gd name="T10" fmla="*/ 286 w 292"/>
              <a:gd name="T11" fmla="*/ 179 h 308"/>
              <a:gd name="T12" fmla="*/ 269 w 292"/>
              <a:gd name="T13" fmla="*/ 206 h 308"/>
              <a:gd name="T14" fmla="*/ 231 w 292"/>
              <a:gd name="T15" fmla="*/ 185 h 308"/>
              <a:gd name="T16" fmla="*/ 165 w 292"/>
              <a:gd name="T17" fmla="*/ 258 h 308"/>
              <a:gd name="T18" fmla="*/ 132 w 292"/>
              <a:gd name="T19" fmla="*/ 278 h 308"/>
              <a:gd name="T20" fmla="*/ 59 w 292"/>
              <a:gd name="T21" fmla="*/ 296 h 308"/>
              <a:gd name="T22" fmla="*/ 32 w 292"/>
              <a:gd name="T23" fmla="*/ 308 h 308"/>
              <a:gd name="T24" fmla="*/ 6 w 292"/>
              <a:gd name="T25" fmla="*/ 308 h 308"/>
              <a:gd name="T26" fmla="*/ 9 w 292"/>
              <a:gd name="T27" fmla="*/ 297 h 308"/>
              <a:gd name="T28" fmla="*/ 11 w 292"/>
              <a:gd name="T29" fmla="*/ 286 h 308"/>
              <a:gd name="T30" fmla="*/ 7 w 292"/>
              <a:gd name="T31" fmla="*/ 265 h 308"/>
              <a:gd name="T32" fmla="*/ 2 w 292"/>
              <a:gd name="T33" fmla="*/ 246 h 308"/>
              <a:gd name="T34" fmla="*/ 0 w 292"/>
              <a:gd name="T35" fmla="*/ 228 h 308"/>
              <a:gd name="T36" fmla="*/ 3 w 292"/>
              <a:gd name="T37" fmla="*/ 205 h 308"/>
              <a:gd name="T38" fmla="*/ 12 w 292"/>
              <a:gd name="T39" fmla="*/ 188 h 308"/>
              <a:gd name="T40" fmla="*/ 26 w 292"/>
              <a:gd name="T41" fmla="*/ 174 h 308"/>
              <a:gd name="T42" fmla="*/ 42 w 292"/>
              <a:gd name="T43" fmla="*/ 161 h 308"/>
              <a:gd name="T44" fmla="*/ 77 w 292"/>
              <a:gd name="T45" fmla="*/ 135 h 308"/>
              <a:gd name="T46" fmla="*/ 93 w 292"/>
              <a:gd name="T47" fmla="*/ 119 h 308"/>
              <a:gd name="T48" fmla="*/ 105 w 292"/>
              <a:gd name="T49" fmla="*/ 98 h 308"/>
              <a:gd name="T50" fmla="*/ 98 w 292"/>
              <a:gd name="T51" fmla="*/ 96 h 308"/>
              <a:gd name="T52" fmla="*/ 92 w 292"/>
              <a:gd name="T53" fmla="*/ 91 h 308"/>
              <a:gd name="T54" fmla="*/ 82 w 292"/>
              <a:gd name="T55" fmla="*/ 73 h 308"/>
              <a:gd name="T56" fmla="*/ 74 w 292"/>
              <a:gd name="T57" fmla="*/ 50 h 308"/>
              <a:gd name="T58" fmla="*/ 72 w 292"/>
              <a:gd name="T59" fmla="*/ 24 h 308"/>
              <a:gd name="T60" fmla="*/ 90 w 292"/>
              <a:gd name="T61" fmla="*/ 19 h 308"/>
              <a:gd name="T62" fmla="*/ 105 w 292"/>
              <a:gd name="T63" fmla="*/ 20 h 308"/>
              <a:gd name="T64" fmla="*/ 132 w 292"/>
              <a:gd name="T65" fmla="*/ 24 h 308"/>
              <a:gd name="T66" fmla="*/ 169 w 292"/>
              <a:gd name="T67" fmla="*/ 21 h 308"/>
              <a:gd name="T68" fmla="*/ 210 w 292"/>
              <a:gd name="T69" fmla="*/ 12 h 308"/>
              <a:gd name="T70" fmla="*/ 259 w 292"/>
              <a:gd name="T71" fmla="*/ 0 h 30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29" name="Freeform 435">
            <a:extLst>
              <a:ext uri="{FF2B5EF4-FFF2-40B4-BE49-F238E27FC236}">
                <a16:creationId xmlns:a16="http://schemas.microsoft.com/office/drawing/2014/main" id="{23337122-4564-4FAE-8E27-1EA6EC963278}"/>
              </a:ext>
            </a:extLst>
          </p:cNvPr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8586540" y="4026784"/>
            <a:ext cx="6111" cy="57150"/>
          </a:xfrm>
          <a:custGeom>
            <a:avLst/>
            <a:gdLst>
              <a:gd name="T0" fmla="*/ 11 w 14"/>
              <a:gd name="T1" fmla="*/ 0 h 7"/>
              <a:gd name="T2" fmla="*/ 13 w 14"/>
              <a:gd name="T3" fmla="*/ 3 h 7"/>
              <a:gd name="T4" fmla="*/ 14 w 14"/>
              <a:gd name="T5" fmla="*/ 7 h 7"/>
              <a:gd name="T6" fmla="*/ 0 w 14"/>
              <a:gd name="T7" fmla="*/ 7 h 7"/>
              <a:gd name="T8" fmla="*/ 11 w 14"/>
              <a:gd name="T9" fmla="*/ 0 h 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30" name="Freeform 436">
            <a:extLst>
              <a:ext uri="{FF2B5EF4-FFF2-40B4-BE49-F238E27FC236}">
                <a16:creationId xmlns:a16="http://schemas.microsoft.com/office/drawing/2014/main" id="{E131E8BE-9F48-46D9-B056-AB46D398025B}"/>
              </a:ext>
            </a:extLst>
          </p:cNvPr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8096114" y="3263197"/>
            <a:ext cx="239866" cy="500062"/>
          </a:xfrm>
          <a:custGeom>
            <a:avLst/>
            <a:gdLst>
              <a:gd name="T0" fmla="*/ 81 w 581"/>
              <a:gd name="T1" fmla="*/ 115 h 955"/>
              <a:gd name="T2" fmla="*/ 104 w 581"/>
              <a:gd name="T3" fmla="*/ 152 h 955"/>
              <a:gd name="T4" fmla="*/ 111 w 581"/>
              <a:gd name="T5" fmla="*/ 180 h 955"/>
              <a:gd name="T6" fmla="*/ 95 w 581"/>
              <a:gd name="T7" fmla="*/ 234 h 955"/>
              <a:gd name="T8" fmla="*/ 96 w 581"/>
              <a:gd name="T9" fmla="*/ 325 h 955"/>
              <a:gd name="T10" fmla="*/ 93 w 581"/>
              <a:gd name="T11" fmla="*/ 363 h 955"/>
              <a:gd name="T12" fmla="*/ 82 w 581"/>
              <a:gd name="T13" fmla="*/ 396 h 955"/>
              <a:gd name="T14" fmla="*/ 59 w 581"/>
              <a:gd name="T15" fmla="*/ 429 h 955"/>
              <a:gd name="T16" fmla="*/ 31 w 581"/>
              <a:gd name="T17" fmla="*/ 461 h 955"/>
              <a:gd name="T18" fmla="*/ 17 w 581"/>
              <a:gd name="T19" fmla="*/ 481 h 955"/>
              <a:gd name="T20" fmla="*/ 2 w 581"/>
              <a:gd name="T21" fmla="*/ 542 h 955"/>
              <a:gd name="T22" fmla="*/ 69 w 581"/>
              <a:gd name="T23" fmla="*/ 616 h 955"/>
              <a:gd name="T24" fmla="*/ 69 w 581"/>
              <a:gd name="T25" fmla="*/ 634 h 955"/>
              <a:gd name="T26" fmla="*/ 74 w 581"/>
              <a:gd name="T27" fmla="*/ 665 h 955"/>
              <a:gd name="T28" fmla="*/ 74 w 581"/>
              <a:gd name="T29" fmla="*/ 696 h 955"/>
              <a:gd name="T30" fmla="*/ 78 w 581"/>
              <a:gd name="T31" fmla="*/ 733 h 955"/>
              <a:gd name="T32" fmla="*/ 94 w 581"/>
              <a:gd name="T33" fmla="*/ 778 h 955"/>
              <a:gd name="T34" fmla="*/ 105 w 581"/>
              <a:gd name="T35" fmla="*/ 792 h 955"/>
              <a:gd name="T36" fmla="*/ 68 w 581"/>
              <a:gd name="T37" fmla="*/ 794 h 955"/>
              <a:gd name="T38" fmla="*/ 42 w 581"/>
              <a:gd name="T39" fmla="*/ 802 h 955"/>
              <a:gd name="T40" fmla="*/ 36 w 581"/>
              <a:gd name="T41" fmla="*/ 812 h 955"/>
              <a:gd name="T42" fmla="*/ 42 w 581"/>
              <a:gd name="T43" fmla="*/ 842 h 955"/>
              <a:gd name="T44" fmla="*/ 69 w 581"/>
              <a:gd name="T45" fmla="*/ 876 h 955"/>
              <a:gd name="T46" fmla="*/ 87 w 581"/>
              <a:gd name="T47" fmla="*/ 899 h 955"/>
              <a:gd name="T48" fmla="*/ 100 w 581"/>
              <a:gd name="T49" fmla="*/ 927 h 955"/>
              <a:gd name="T50" fmla="*/ 156 w 581"/>
              <a:gd name="T51" fmla="*/ 955 h 955"/>
              <a:gd name="T52" fmla="*/ 189 w 581"/>
              <a:gd name="T53" fmla="*/ 942 h 955"/>
              <a:gd name="T54" fmla="*/ 248 w 581"/>
              <a:gd name="T55" fmla="*/ 929 h 955"/>
              <a:gd name="T56" fmla="*/ 279 w 581"/>
              <a:gd name="T57" fmla="*/ 921 h 955"/>
              <a:gd name="T58" fmla="*/ 297 w 581"/>
              <a:gd name="T59" fmla="*/ 904 h 955"/>
              <a:gd name="T60" fmla="*/ 302 w 581"/>
              <a:gd name="T61" fmla="*/ 892 h 955"/>
              <a:gd name="T62" fmla="*/ 302 w 581"/>
              <a:gd name="T63" fmla="*/ 868 h 955"/>
              <a:gd name="T64" fmla="*/ 338 w 581"/>
              <a:gd name="T65" fmla="*/ 871 h 955"/>
              <a:gd name="T66" fmla="*/ 367 w 581"/>
              <a:gd name="T67" fmla="*/ 866 h 955"/>
              <a:gd name="T68" fmla="*/ 389 w 581"/>
              <a:gd name="T69" fmla="*/ 856 h 955"/>
              <a:gd name="T70" fmla="*/ 405 w 581"/>
              <a:gd name="T71" fmla="*/ 842 h 955"/>
              <a:gd name="T72" fmla="*/ 432 w 581"/>
              <a:gd name="T73" fmla="*/ 807 h 955"/>
              <a:gd name="T74" fmla="*/ 460 w 581"/>
              <a:gd name="T75" fmla="*/ 773 h 955"/>
              <a:gd name="T76" fmla="*/ 477 w 581"/>
              <a:gd name="T77" fmla="*/ 760 h 955"/>
              <a:gd name="T78" fmla="*/ 502 w 581"/>
              <a:gd name="T79" fmla="*/ 752 h 955"/>
              <a:gd name="T80" fmla="*/ 521 w 581"/>
              <a:gd name="T81" fmla="*/ 745 h 955"/>
              <a:gd name="T82" fmla="*/ 499 w 581"/>
              <a:gd name="T83" fmla="*/ 697 h 955"/>
              <a:gd name="T84" fmla="*/ 484 w 581"/>
              <a:gd name="T85" fmla="*/ 653 h 955"/>
              <a:gd name="T86" fmla="*/ 472 w 581"/>
              <a:gd name="T87" fmla="*/ 623 h 955"/>
              <a:gd name="T88" fmla="*/ 481 w 581"/>
              <a:gd name="T89" fmla="*/ 610 h 955"/>
              <a:gd name="T90" fmla="*/ 487 w 581"/>
              <a:gd name="T91" fmla="*/ 579 h 955"/>
              <a:gd name="T92" fmla="*/ 494 w 581"/>
              <a:gd name="T93" fmla="*/ 541 h 955"/>
              <a:gd name="T94" fmla="*/ 505 w 581"/>
              <a:gd name="T95" fmla="*/ 519 h 955"/>
              <a:gd name="T96" fmla="*/ 532 w 581"/>
              <a:gd name="T97" fmla="*/ 486 h 955"/>
              <a:gd name="T98" fmla="*/ 570 w 581"/>
              <a:gd name="T99" fmla="*/ 461 h 955"/>
              <a:gd name="T100" fmla="*/ 129 w 581"/>
              <a:gd name="T101" fmla="*/ 0 h 955"/>
              <a:gd name="T102" fmla="*/ 98 w 581"/>
              <a:gd name="T103" fmla="*/ 5 h 955"/>
              <a:gd name="T104" fmla="*/ 69 w 581"/>
              <a:gd name="T105" fmla="*/ 24 h 9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31" name="Freeform 437">
            <a:extLst>
              <a:ext uri="{FF2B5EF4-FFF2-40B4-BE49-F238E27FC236}">
                <a16:creationId xmlns:a16="http://schemas.microsoft.com/office/drawing/2014/main" id="{8FD860A8-E818-41E1-B30D-8A9CF24A5F07}"/>
              </a:ext>
            </a:extLst>
          </p:cNvPr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7784440" y="2645659"/>
            <a:ext cx="15278" cy="57150"/>
          </a:xfrm>
          <a:custGeom>
            <a:avLst/>
            <a:gdLst>
              <a:gd name="T0" fmla="*/ 26 w 45"/>
              <a:gd name="T1" fmla="*/ 0 h 36"/>
              <a:gd name="T2" fmla="*/ 0 w 45"/>
              <a:gd name="T3" fmla="*/ 18 h 36"/>
              <a:gd name="T4" fmla="*/ 23 w 45"/>
              <a:gd name="T5" fmla="*/ 36 h 36"/>
              <a:gd name="T6" fmla="*/ 45 w 45"/>
              <a:gd name="T7" fmla="*/ 15 h 36"/>
              <a:gd name="T8" fmla="*/ 26 w 45"/>
              <a:gd name="T9" fmla="*/ 0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432" name="Group 438">
            <a:extLst>
              <a:ext uri="{FF2B5EF4-FFF2-40B4-BE49-F238E27FC236}">
                <a16:creationId xmlns:a16="http://schemas.microsoft.com/office/drawing/2014/main" id="{E783D1B0-B3A2-44A8-9EAB-D7C02571B899}"/>
              </a:ext>
            </a:extLst>
          </p:cNvPr>
          <p:cNvGrpSpPr>
            <a:grpSpLocks/>
          </p:cNvGrpSpPr>
          <p:nvPr>
            <p:custDataLst>
              <p:tags r:id="rId278"/>
            </p:custDataLst>
          </p:nvPr>
        </p:nvGrpSpPr>
        <p:grpSpPr bwMode="auto">
          <a:xfrm>
            <a:off x="6148153" y="4706235"/>
            <a:ext cx="369730" cy="1031875"/>
            <a:chOff x="1589" y="3126"/>
            <a:chExt cx="290" cy="657"/>
          </a:xfrm>
        </p:grpSpPr>
        <p:sp>
          <p:nvSpPr>
            <p:cNvPr id="433" name="Freeform 439">
              <a:extLst>
                <a:ext uri="{FF2B5EF4-FFF2-40B4-BE49-F238E27FC236}">
                  <a16:creationId xmlns:a16="http://schemas.microsoft.com/office/drawing/2014/main" id="{FCCF87FA-E45F-43FF-B4C3-78C10CAC6CF2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>
                <a:gd name="T0" fmla="*/ 46 w 46"/>
                <a:gd name="T1" fmla="*/ 12 h 51"/>
                <a:gd name="T2" fmla="*/ 19 w 46"/>
                <a:gd name="T3" fmla="*/ 0 h 51"/>
                <a:gd name="T4" fmla="*/ 13 w 46"/>
                <a:gd name="T5" fmla="*/ 5 h 51"/>
                <a:gd name="T6" fmla="*/ 7 w 46"/>
                <a:gd name="T7" fmla="*/ 9 h 51"/>
                <a:gd name="T8" fmla="*/ 4 w 46"/>
                <a:gd name="T9" fmla="*/ 12 h 51"/>
                <a:gd name="T10" fmla="*/ 2 w 46"/>
                <a:gd name="T11" fmla="*/ 14 h 51"/>
                <a:gd name="T12" fmla="*/ 0 w 46"/>
                <a:gd name="T13" fmla="*/ 16 h 51"/>
                <a:gd name="T14" fmla="*/ 0 w 46"/>
                <a:gd name="T15" fmla="*/ 19 h 51"/>
                <a:gd name="T16" fmla="*/ 0 w 46"/>
                <a:gd name="T17" fmla="*/ 24 h 51"/>
                <a:gd name="T18" fmla="*/ 2 w 46"/>
                <a:gd name="T19" fmla="*/ 29 h 51"/>
                <a:gd name="T20" fmla="*/ 4 w 46"/>
                <a:gd name="T21" fmla="*/ 36 h 51"/>
                <a:gd name="T22" fmla="*/ 7 w 46"/>
                <a:gd name="T23" fmla="*/ 41 h 51"/>
                <a:gd name="T24" fmla="*/ 10 w 46"/>
                <a:gd name="T25" fmla="*/ 46 h 51"/>
                <a:gd name="T26" fmla="*/ 13 w 46"/>
                <a:gd name="T27" fmla="*/ 49 h 51"/>
                <a:gd name="T28" fmla="*/ 15 w 46"/>
                <a:gd name="T29" fmla="*/ 50 h 51"/>
                <a:gd name="T30" fmla="*/ 16 w 46"/>
                <a:gd name="T31" fmla="*/ 51 h 51"/>
                <a:gd name="T32" fmla="*/ 18 w 46"/>
                <a:gd name="T33" fmla="*/ 51 h 51"/>
                <a:gd name="T34" fmla="*/ 19 w 46"/>
                <a:gd name="T35" fmla="*/ 50 h 51"/>
                <a:gd name="T36" fmla="*/ 35 w 46"/>
                <a:gd name="T37" fmla="*/ 50 h 51"/>
                <a:gd name="T38" fmla="*/ 46 w 46"/>
                <a:gd name="T39" fmla="*/ 50 h 51"/>
                <a:gd name="T40" fmla="*/ 46 w 46"/>
                <a:gd name="T41" fmla="*/ 37 h 51"/>
                <a:gd name="T42" fmla="*/ 46 w 46"/>
                <a:gd name="T43" fmla="*/ 26 h 51"/>
                <a:gd name="T44" fmla="*/ 46 w 46"/>
                <a:gd name="T45" fmla="*/ 18 h 51"/>
                <a:gd name="T46" fmla="*/ 46 w 46"/>
                <a:gd name="T47" fmla="*/ 12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34" name="Freeform 440">
              <a:extLst>
                <a:ext uri="{FF2B5EF4-FFF2-40B4-BE49-F238E27FC236}">
                  <a16:creationId xmlns:a16="http://schemas.microsoft.com/office/drawing/2014/main" id="{4699AA26-4DBD-48D4-BAB2-102DC56EEBC4}"/>
                </a:ext>
              </a:extLst>
            </p:cNvPr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>
                <a:gd name="T0" fmla="*/ 0 w 192"/>
                <a:gd name="T1" fmla="*/ 0 h 158"/>
                <a:gd name="T2" fmla="*/ 0 w 192"/>
                <a:gd name="T3" fmla="*/ 14 h 158"/>
                <a:gd name="T4" fmla="*/ 2 w 192"/>
                <a:gd name="T5" fmla="*/ 26 h 158"/>
                <a:gd name="T6" fmla="*/ 4 w 192"/>
                <a:gd name="T7" fmla="*/ 38 h 158"/>
                <a:gd name="T8" fmla="*/ 7 w 192"/>
                <a:gd name="T9" fmla="*/ 50 h 158"/>
                <a:gd name="T10" fmla="*/ 11 w 192"/>
                <a:gd name="T11" fmla="*/ 61 h 158"/>
                <a:gd name="T12" fmla="*/ 15 w 192"/>
                <a:gd name="T13" fmla="*/ 71 h 158"/>
                <a:gd name="T14" fmla="*/ 21 w 192"/>
                <a:gd name="T15" fmla="*/ 81 h 158"/>
                <a:gd name="T16" fmla="*/ 25 w 192"/>
                <a:gd name="T17" fmla="*/ 90 h 158"/>
                <a:gd name="T18" fmla="*/ 47 w 192"/>
                <a:gd name="T19" fmla="*/ 122 h 158"/>
                <a:gd name="T20" fmla="*/ 66 w 192"/>
                <a:gd name="T21" fmla="*/ 148 h 158"/>
                <a:gd name="T22" fmla="*/ 72 w 192"/>
                <a:gd name="T23" fmla="*/ 151 h 158"/>
                <a:gd name="T24" fmla="*/ 79 w 192"/>
                <a:gd name="T25" fmla="*/ 153 h 158"/>
                <a:gd name="T26" fmla="*/ 85 w 192"/>
                <a:gd name="T27" fmla="*/ 155 h 158"/>
                <a:gd name="T28" fmla="*/ 92 w 192"/>
                <a:gd name="T29" fmla="*/ 156 h 158"/>
                <a:gd name="T30" fmla="*/ 105 w 192"/>
                <a:gd name="T31" fmla="*/ 158 h 158"/>
                <a:gd name="T32" fmla="*/ 119 w 192"/>
                <a:gd name="T33" fmla="*/ 158 h 158"/>
                <a:gd name="T34" fmla="*/ 152 w 192"/>
                <a:gd name="T35" fmla="*/ 155 h 158"/>
                <a:gd name="T36" fmla="*/ 192 w 192"/>
                <a:gd name="T37" fmla="*/ 154 h 158"/>
                <a:gd name="T38" fmla="*/ 184 w 192"/>
                <a:gd name="T39" fmla="*/ 153 h 158"/>
                <a:gd name="T40" fmla="*/ 176 w 192"/>
                <a:gd name="T41" fmla="*/ 152 h 158"/>
                <a:gd name="T42" fmla="*/ 168 w 192"/>
                <a:gd name="T43" fmla="*/ 151 h 158"/>
                <a:gd name="T44" fmla="*/ 160 w 192"/>
                <a:gd name="T45" fmla="*/ 149 h 158"/>
                <a:gd name="T46" fmla="*/ 145 w 192"/>
                <a:gd name="T47" fmla="*/ 144 h 158"/>
                <a:gd name="T48" fmla="*/ 129 w 192"/>
                <a:gd name="T49" fmla="*/ 138 h 158"/>
                <a:gd name="T50" fmla="*/ 115 w 192"/>
                <a:gd name="T51" fmla="*/ 130 h 158"/>
                <a:gd name="T52" fmla="*/ 101 w 192"/>
                <a:gd name="T53" fmla="*/ 120 h 158"/>
                <a:gd name="T54" fmla="*/ 87 w 192"/>
                <a:gd name="T55" fmla="*/ 110 h 158"/>
                <a:gd name="T56" fmla="*/ 75 w 192"/>
                <a:gd name="T57" fmla="*/ 98 h 158"/>
                <a:gd name="T58" fmla="*/ 63 w 192"/>
                <a:gd name="T59" fmla="*/ 87 h 158"/>
                <a:gd name="T60" fmla="*/ 52 w 192"/>
                <a:gd name="T61" fmla="*/ 75 h 158"/>
                <a:gd name="T62" fmla="*/ 42 w 192"/>
                <a:gd name="T63" fmla="*/ 63 h 158"/>
                <a:gd name="T64" fmla="*/ 35 w 192"/>
                <a:gd name="T65" fmla="*/ 50 h 158"/>
                <a:gd name="T66" fmla="*/ 27 w 192"/>
                <a:gd name="T67" fmla="*/ 38 h 158"/>
                <a:gd name="T68" fmla="*/ 21 w 192"/>
                <a:gd name="T69" fmla="*/ 26 h 158"/>
                <a:gd name="T70" fmla="*/ 16 w 192"/>
                <a:gd name="T71" fmla="*/ 16 h 158"/>
                <a:gd name="T72" fmla="*/ 13 w 192"/>
                <a:gd name="T73" fmla="*/ 6 h 158"/>
                <a:gd name="T74" fmla="*/ 0 w 192"/>
                <a:gd name="T75" fmla="*/ 0 h 1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435" name="Freeform 441">
              <a:extLst>
                <a:ext uri="{FF2B5EF4-FFF2-40B4-BE49-F238E27FC236}">
                  <a16:creationId xmlns:a16="http://schemas.microsoft.com/office/drawing/2014/main" id="{5F895AB1-AACC-42E8-B457-7782B0FE7F5E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>
                <a:gd name="T0" fmla="*/ 772 w 884"/>
                <a:gd name="T1" fmla="*/ 415 h 1818"/>
                <a:gd name="T2" fmla="*/ 873 w 884"/>
                <a:gd name="T3" fmla="*/ 342 h 1818"/>
                <a:gd name="T4" fmla="*/ 884 w 884"/>
                <a:gd name="T5" fmla="*/ 232 h 1818"/>
                <a:gd name="T6" fmla="*/ 840 w 884"/>
                <a:gd name="T7" fmla="*/ 192 h 1818"/>
                <a:gd name="T8" fmla="*/ 841 w 884"/>
                <a:gd name="T9" fmla="*/ 262 h 1818"/>
                <a:gd name="T10" fmla="*/ 774 w 884"/>
                <a:gd name="T11" fmla="*/ 328 h 1818"/>
                <a:gd name="T12" fmla="*/ 667 w 884"/>
                <a:gd name="T13" fmla="*/ 331 h 1818"/>
                <a:gd name="T14" fmla="*/ 625 w 884"/>
                <a:gd name="T15" fmla="*/ 290 h 1818"/>
                <a:gd name="T16" fmla="*/ 658 w 884"/>
                <a:gd name="T17" fmla="*/ 215 h 1818"/>
                <a:gd name="T18" fmla="*/ 544 w 884"/>
                <a:gd name="T19" fmla="*/ 148 h 1818"/>
                <a:gd name="T20" fmla="*/ 425 w 884"/>
                <a:gd name="T21" fmla="*/ 87 h 1818"/>
                <a:gd name="T22" fmla="*/ 373 w 884"/>
                <a:gd name="T23" fmla="*/ 10 h 1818"/>
                <a:gd name="T24" fmla="*/ 286 w 884"/>
                <a:gd name="T25" fmla="*/ 22 h 1818"/>
                <a:gd name="T26" fmla="*/ 234 w 884"/>
                <a:gd name="T27" fmla="*/ 24 h 1818"/>
                <a:gd name="T28" fmla="*/ 171 w 884"/>
                <a:gd name="T29" fmla="*/ 8 h 1818"/>
                <a:gd name="T30" fmla="*/ 98 w 884"/>
                <a:gd name="T31" fmla="*/ 54 h 1818"/>
                <a:gd name="T32" fmla="*/ 67 w 884"/>
                <a:gd name="T33" fmla="*/ 116 h 1818"/>
                <a:gd name="T34" fmla="*/ 27 w 884"/>
                <a:gd name="T35" fmla="*/ 179 h 1818"/>
                <a:gd name="T36" fmla="*/ 55 w 884"/>
                <a:gd name="T37" fmla="*/ 251 h 1818"/>
                <a:gd name="T38" fmla="*/ 51 w 884"/>
                <a:gd name="T39" fmla="*/ 319 h 1818"/>
                <a:gd name="T40" fmla="*/ 0 w 884"/>
                <a:gd name="T41" fmla="*/ 432 h 1818"/>
                <a:gd name="T42" fmla="*/ 12 w 884"/>
                <a:gd name="T43" fmla="*/ 609 h 1818"/>
                <a:gd name="T44" fmla="*/ 76 w 884"/>
                <a:gd name="T45" fmla="*/ 696 h 1818"/>
                <a:gd name="T46" fmla="*/ 60 w 884"/>
                <a:gd name="T47" fmla="*/ 753 h 1818"/>
                <a:gd name="T48" fmla="*/ 60 w 884"/>
                <a:gd name="T49" fmla="*/ 808 h 1818"/>
                <a:gd name="T50" fmla="*/ 81 w 884"/>
                <a:gd name="T51" fmla="*/ 850 h 1818"/>
                <a:gd name="T52" fmla="*/ 53 w 884"/>
                <a:gd name="T53" fmla="*/ 900 h 1818"/>
                <a:gd name="T54" fmla="*/ 82 w 884"/>
                <a:gd name="T55" fmla="*/ 983 h 1818"/>
                <a:gd name="T56" fmla="*/ 81 w 884"/>
                <a:gd name="T57" fmla="*/ 1055 h 1818"/>
                <a:gd name="T58" fmla="*/ 78 w 884"/>
                <a:gd name="T59" fmla="*/ 1152 h 1818"/>
                <a:gd name="T60" fmla="*/ 137 w 884"/>
                <a:gd name="T61" fmla="*/ 1265 h 1818"/>
                <a:gd name="T62" fmla="*/ 198 w 884"/>
                <a:gd name="T63" fmla="*/ 1394 h 1818"/>
                <a:gd name="T64" fmla="*/ 217 w 884"/>
                <a:gd name="T65" fmla="*/ 1463 h 1818"/>
                <a:gd name="T66" fmla="*/ 230 w 884"/>
                <a:gd name="T67" fmla="*/ 1526 h 1818"/>
                <a:gd name="T68" fmla="*/ 213 w 884"/>
                <a:gd name="T69" fmla="*/ 1590 h 1818"/>
                <a:gd name="T70" fmla="*/ 201 w 884"/>
                <a:gd name="T71" fmla="*/ 1644 h 1818"/>
                <a:gd name="T72" fmla="*/ 228 w 884"/>
                <a:gd name="T73" fmla="*/ 1718 h 1818"/>
                <a:gd name="T74" fmla="*/ 311 w 884"/>
                <a:gd name="T75" fmla="*/ 1772 h 1818"/>
                <a:gd name="T76" fmla="*/ 392 w 884"/>
                <a:gd name="T77" fmla="*/ 1798 h 1818"/>
                <a:gd name="T78" fmla="*/ 451 w 884"/>
                <a:gd name="T79" fmla="*/ 1786 h 1818"/>
                <a:gd name="T80" fmla="*/ 454 w 884"/>
                <a:gd name="T81" fmla="*/ 1703 h 1818"/>
                <a:gd name="T82" fmla="*/ 470 w 884"/>
                <a:gd name="T83" fmla="*/ 1612 h 1818"/>
                <a:gd name="T84" fmla="*/ 495 w 884"/>
                <a:gd name="T85" fmla="*/ 1509 h 1818"/>
                <a:gd name="T86" fmla="*/ 420 w 884"/>
                <a:gd name="T87" fmla="*/ 1486 h 1818"/>
                <a:gd name="T88" fmla="*/ 401 w 884"/>
                <a:gd name="T89" fmla="*/ 1430 h 1818"/>
                <a:gd name="T90" fmla="*/ 453 w 884"/>
                <a:gd name="T91" fmla="*/ 1395 h 1818"/>
                <a:gd name="T92" fmla="*/ 484 w 884"/>
                <a:gd name="T93" fmla="*/ 1332 h 1818"/>
                <a:gd name="T94" fmla="*/ 455 w 884"/>
                <a:gd name="T95" fmla="*/ 1224 h 1818"/>
                <a:gd name="T96" fmla="*/ 425 w 884"/>
                <a:gd name="T97" fmla="*/ 1141 h 1818"/>
                <a:gd name="T98" fmla="*/ 518 w 884"/>
                <a:gd name="T99" fmla="*/ 1166 h 1818"/>
                <a:gd name="T100" fmla="*/ 568 w 884"/>
                <a:gd name="T101" fmla="*/ 1151 h 1818"/>
                <a:gd name="T102" fmla="*/ 558 w 884"/>
                <a:gd name="T103" fmla="*/ 1078 h 1818"/>
                <a:gd name="T104" fmla="*/ 565 w 884"/>
                <a:gd name="T105" fmla="*/ 1030 h 1818"/>
                <a:gd name="T106" fmla="*/ 676 w 884"/>
                <a:gd name="T107" fmla="*/ 1023 h 1818"/>
                <a:gd name="T108" fmla="*/ 795 w 884"/>
                <a:gd name="T109" fmla="*/ 973 h 1818"/>
                <a:gd name="T110" fmla="*/ 816 w 884"/>
                <a:gd name="T111" fmla="*/ 882 h 1818"/>
                <a:gd name="T112" fmla="*/ 781 w 884"/>
                <a:gd name="T113" fmla="*/ 852 h 1818"/>
                <a:gd name="T114" fmla="*/ 758 w 884"/>
                <a:gd name="T115" fmla="*/ 810 h 1818"/>
                <a:gd name="T116" fmla="*/ 692 w 884"/>
                <a:gd name="T117" fmla="*/ 752 h 1818"/>
                <a:gd name="T118" fmla="*/ 701 w 884"/>
                <a:gd name="T119" fmla="*/ 532 h 18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436" name="Freeform 442">
            <a:extLst>
              <a:ext uri="{FF2B5EF4-FFF2-40B4-BE49-F238E27FC236}">
                <a16:creationId xmlns:a16="http://schemas.microsoft.com/office/drawing/2014/main" id="{C97852BA-4E07-44F1-A267-0580BA097304}"/>
              </a:ext>
            </a:extLst>
          </p:cNvPr>
          <p:cNvSpPr>
            <a:spLocks/>
          </p:cNvSpPr>
          <p:nvPr>
            <p:custDataLst>
              <p:tags r:id="rId279"/>
            </p:custDataLst>
          </p:nvPr>
        </p:nvSpPr>
        <p:spPr bwMode="auto">
          <a:xfrm>
            <a:off x="8756128" y="2658359"/>
            <a:ext cx="119169" cy="109538"/>
          </a:xfrm>
          <a:custGeom>
            <a:avLst/>
            <a:gdLst>
              <a:gd name="T0" fmla="*/ 33 w 279"/>
              <a:gd name="T1" fmla="*/ 87 h 204"/>
              <a:gd name="T2" fmla="*/ 59 w 279"/>
              <a:gd name="T3" fmla="*/ 142 h 204"/>
              <a:gd name="T4" fmla="*/ 59 w 279"/>
              <a:gd name="T5" fmla="*/ 179 h 204"/>
              <a:gd name="T6" fmla="*/ 102 w 279"/>
              <a:gd name="T7" fmla="*/ 196 h 204"/>
              <a:gd name="T8" fmla="*/ 122 w 279"/>
              <a:gd name="T9" fmla="*/ 202 h 204"/>
              <a:gd name="T10" fmla="*/ 139 w 279"/>
              <a:gd name="T11" fmla="*/ 204 h 204"/>
              <a:gd name="T12" fmla="*/ 146 w 279"/>
              <a:gd name="T13" fmla="*/ 201 h 204"/>
              <a:gd name="T14" fmla="*/ 151 w 279"/>
              <a:gd name="T15" fmla="*/ 194 h 204"/>
              <a:gd name="T16" fmla="*/ 160 w 279"/>
              <a:gd name="T17" fmla="*/ 172 h 204"/>
              <a:gd name="T18" fmla="*/ 172 w 279"/>
              <a:gd name="T19" fmla="*/ 149 h 204"/>
              <a:gd name="T20" fmla="*/ 181 w 279"/>
              <a:gd name="T21" fmla="*/ 141 h 204"/>
              <a:gd name="T22" fmla="*/ 192 w 279"/>
              <a:gd name="T23" fmla="*/ 136 h 204"/>
              <a:gd name="T24" fmla="*/ 209 w 279"/>
              <a:gd name="T25" fmla="*/ 138 h 204"/>
              <a:gd name="T26" fmla="*/ 220 w 279"/>
              <a:gd name="T27" fmla="*/ 142 h 204"/>
              <a:gd name="T28" fmla="*/ 228 w 279"/>
              <a:gd name="T29" fmla="*/ 148 h 204"/>
              <a:gd name="T30" fmla="*/ 231 w 279"/>
              <a:gd name="T31" fmla="*/ 154 h 204"/>
              <a:gd name="T32" fmla="*/ 234 w 279"/>
              <a:gd name="T33" fmla="*/ 164 h 204"/>
              <a:gd name="T34" fmla="*/ 231 w 279"/>
              <a:gd name="T35" fmla="*/ 167 h 204"/>
              <a:gd name="T36" fmla="*/ 234 w 279"/>
              <a:gd name="T37" fmla="*/ 153 h 204"/>
              <a:gd name="T38" fmla="*/ 238 w 279"/>
              <a:gd name="T39" fmla="*/ 140 h 204"/>
              <a:gd name="T40" fmla="*/ 245 w 279"/>
              <a:gd name="T41" fmla="*/ 117 h 204"/>
              <a:gd name="T42" fmla="*/ 254 w 279"/>
              <a:gd name="T43" fmla="*/ 115 h 204"/>
              <a:gd name="T44" fmla="*/ 264 w 279"/>
              <a:gd name="T45" fmla="*/ 110 h 204"/>
              <a:gd name="T46" fmla="*/ 279 w 279"/>
              <a:gd name="T47" fmla="*/ 99 h 204"/>
              <a:gd name="T48" fmla="*/ 252 w 279"/>
              <a:gd name="T49" fmla="*/ 75 h 204"/>
              <a:gd name="T50" fmla="*/ 227 w 279"/>
              <a:gd name="T51" fmla="*/ 58 h 204"/>
              <a:gd name="T52" fmla="*/ 204 w 279"/>
              <a:gd name="T53" fmla="*/ 44 h 204"/>
              <a:gd name="T54" fmla="*/ 185 w 279"/>
              <a:gd name="T55" fmla="*/ 31 h 204"/>
              <a:gd name="T56" fmla="*/ 146 w 279"/>
              <a:gd name="T57" fmla="*/ 68 h 204"/>
              <a:gd name="T58" fmla="*/ 79 w 279"/>
              <a:gd name="T59" fmla="*/ 25 h 204"/>
              <a:gd name="T60" fmla="*/ 52 w 279"/>
              <a:gd name="T61" fmla="*/ 12 h 204"/>
              <a:gd name="T62" fmla="*/ 46 w 279"/>
              <a:gd name="T63" fmla="*/ 62 h 204"/>
              <a:gd name="T64" fmla="*/ 0 w 279"/>
              <a:gd name="T65" fmla="*/ 56 h 2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37" name="Freeform 443">
            <a:extLst>
              <a:ext uri="{FF2B5EF4-FFF2-40B4-BE49-F238E27FC236}">
                <a16:creationId xmlns:a16="http://schemas.microsoft.com/office/drawing/2014/main" id="{1B7C7394-F683-4C22-AA62-D1434D9184D9}"/>
              </a:ext>
            </a:extLst>
          </p:cNvPr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8242782" y="2231322"/>
            <a:ext cx="201671" cy="150812"/>
          </a:xfrm>
          <a:custGeom>
            <a:avLst/>
            <a:gdLst>
              <a:gd name="T0" fmla="*/ 252 w 485"/>
              <a:gd name="T1" fmla="*/ 20 h 291"/>
              <a:gd name="T2" fmla="*/ 300 w 485"/>
              <a:gd name="T3" fmla="*/ 44 h 291"/>
              <a:gd name="T4" fmla="*/ 372 w 485"/>
              <a:gd name="T5" fmla="*/ 44 h 291"/>
              <a:gd name="T6" fmla="*/ 425 w 485"/>
              <a:gd name="T7" fmla="*/ 131 h 291"/>
              <a:gd name="T8" fmla="*/ 485 w 485"/>
              <a:gd name="T9" fmla="*/ 167 h 291"/>
              <a:gd name="T10" fmla="*/ 412 w 485"/>
              <a:gd name="T11" fmla="*/ 173 h 291"/>
              <a:gd name="T12" fmla="*/ 433 w 485"/>
              <a:gd name="T13" fmla="*/ 210 h 291"/>
              <a:gd name="T14" fmla="*/ 392 w 485"/>
              <a:gd name="T15" fmla="*/ 241 h 291"/>
              <a:gd name="T16" fmla="*/ 385 w 485"/>
              <a:gd name="T17" fmla="*/ 291 h 291"/>
              <a:gd name="T18" fmla="*/ 285 w 485"/>
              <a:gd name="T19" fmla="*/ 266 h 291"/>
              <a:gd name="T20" fmla="*/ 173 w 485"/>
              <a:gd name="T21" fmla="*/ 254 h 291"/>
              <a:gd name="T22" fmla="*/ 60 w 485"/>
              <a:gd name="T23" fmla="*/ 266 h 291"/>
              <a:gd name="T24" fmla="*/ 15 w 485"/>
              <a:gd name="T25" fmla="*/ 271 h 291"/>
              <a:gd name="T26" fmla="*/ 8 w 485"/>
              <a:gd name="T27" fmla="*/ 257 h 291"/>
              <a:gd name="T28" fmla="*/ 3 w 485"/>
              <a:gd name="T29" fmla="*/ 244 h 291"/>
              <a:gd name="T30" fmla="*/ 0 w 485"/>
              <a:gd name="T31" fmla="*/ 229 h 291"/>
              <a:gd name="T32" fmla="*/ 5 w 485"/>
              <a:gd name="T33" fmla="*/ 219 h 291"/>
              <a:gd name="T34" fmla="*/ 14 w 485"/>
              <a:gd name="T35" fmla="*/ 207 h 291"/>
              <a:gd name="T36" fmla="*/ 23 w 485"/>
              <a:gd name="T37" fmla="*/ 189 h 291"/>
              <a:gd name="T38" fmla="*/ 31 w 485"/>
              <a:gd name="T39" fmla="*/ 166 h 291"/>
              <a:gd name="T40" fmla="*/ 41 w 485"/>
              <a:gd name="T41" fmla="*/ 137 h 291"/>
              <a:gd name="T42" fmla="*/ 48 w 485"/>
              <a:gd name="T43" fmla="*/ 126 h 291"/>
              <a:gd name="T44" fmla="*/ 60 w 485"/>
              <a:gd name="T45" fmla="*/ 119 h 291"/>
              <a:gd name="T46" fmla="*/ 87 w 485"/>
              <a:gd name="T47" fmla="*/ 111 h 291"/>
              <a:gd name="T48" fmla="*/ 89 w 485"/>
              <a:gd name="T49" fmla="*/ 106 h 291"/>
              <a:gd name="T50" fmla="*/ 94 w 485"/>
              <a:gd name="T51" fmla="*/ 100 h 291"/>
              <a:gd name="T52" fmla="*/ 101 w 485"/>
              <a:gd name="T53" fmla="*/ 95 h 291"/>
              <a:gd name="T54" fmla="*/ 106 w 485"/>
              <a:gd name="T55" fmla="*/ 93 h 291"/>
              <a:gd name="T56" fmla="*/ 106 w 485"/>
              <a:gd name="T57" fmla="*/ 76 h 291"/>
              <a:gd name="T58" fmla="*/ 109 w 485"/>
              <a:gd name="T59" fmla="*/ 70 h 291"/>
              <a:gd name="T60" fmla="*/ 113 w 485"/>
              <a:gd name="T61" fmla="*/ 67 h 291"/>
              <a:gd name="T62" fmla="*/ 122 w 485"/>
              <a:gd name="T63" fmla="*/ 69 h 291"/>
              <a:gd name="T64" fmla="*/ 128 w 485"/>
              <a:gd name="T65" fmla="*/ 69 h 291"/>
              <a:gd name="T66" fmla="*/ 132 w 485"/>
              <a:gd name="T67" fmla="*/ 66 h 291"/>
              <a:gd name="T68" fmla="*/ 134 w 485"/>
              <a:gd name="T69" fmla="*/ 56 h 291"/>
              <a:gd name="T70" fmla="*/ 139 w 485"/>
              <a:gd name="T71" fmla="*/ 44 h 291"/>
              <a:gd name="T72" fmla="*/ 144 w 485"/>
              <a:gd name="T73" fmla="*/ 39 h 291"/>
              <a:gd name="T74" fmla="*/ 213 w 485"/>
              <a:gd name="T75" fmla="*/ 0 h 29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38" name="Freeform 444">
            <a:extLst>
              <a:ext uri="{FF2B5EF4-FFF2-40B4-BE49-F238E27FC236}">
                <a16:creationId xmlns:a16="http://schemas.microsoft.com/office/drawing/2014/main" id="{2218E12F-3FD7-475A-81C8-5B2A19D075E8}"/>
              </a:ext>
            </a:extLst>
          </p:cNvPr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8105279" y="2563110"/>
            <a:ext cx="79446" cy="87313"/>
          </a:xfrm>
          <a:custGeom>
            <a:avLst/>
            <a:gdLst>
              <a:gd name="T0" fmla="*/ 86 w 186"/>
              <a:gd name="T1" fmla="*/ 147 h 166"/>
              <a:gd name="T2" fmla="*/ 83 w 186"/>
              <a:gd name="T3" fmla="*/ 136 h 166"/>
              <a:gd name="T4" fmla="*/ 78 w 186"/>
              <a:gd name="T5" fmla="*/ 127 h 166"/>
              <a:gd name="T6" fmla="*/ 74 w 186"/>
              <a:gd name="T7" fmla="*/ 118 h 166"/>
              <a:gd name="T8" fmla="*/ 70 w 186"/>
              <a:gd name="T9" fmla="*/ 110 h 166"/>
              <a:gd name="T10" fmla="*/ 60 w 186"/>
              <a:gd name="T11" fmla="*/ 95 h 166"/>
              <a:gd name="T12" fmla="*/ 49 w 186"/>
              <a:gd name="T13" fmla="*/ 82 h 166"/>
              <a:gd name="T14" fmla="*/ 37 w 186"/>
              <a:gd name="T15" fmla="*/ 70 h 166"/>
              <a:gd name="T16" fmla="*/ 25 w 186"/>
              <a:gd name="T17" fmla="*/ 56 h 166"/>
              <a:gd name="T18" fmla="*/ 13 w 186"/>
              <a:gd name="T19" fmla="*/ 38 h 166"/>
              <a:gd name="T20" fmla="*/ 0 w 186"/>
              <a:gd name="T21" fmla="*/ 18 h 166"/>
              <a:gd name="T22" fmla="*/ 0 w 186"/>
              <a:gd name="T23" fmla="*/ 0 h 166"/>
              <a:gd name="T24" fmla="*/ 7 w 186"/>
              <a:gd name="T25" fmla="*/ 2 h 166"/>
              <a:gd name="T26" fmla="*/ 14 w 186"/>
              <a:gd name="T27" fmla="*/ 3 h 166"/>
              <a:gd name="T28" fmla="*/ 20 w 186"/>
              <a:gd name="T29" fmla="*/ 4 h 166"/>
              <a:gd name="T30" fmla="*/ 27 w 186"/>
              <a:gd name="T31" fmla="*/ 4 h 166"/>
              <a:gd name="T32" fmla="*/ 33 w 186"/>
              <a:gd name="T33" fmla="*/ 4 h 166"/>
              <a:gd name="T34" fmla="*/ 40 w 186"/>
              <a:gd name="T35" fmla="*/ 3 h 166"/>
              <a:gd name="T36" fmla="*/ 47 w 186"/>
              <a:gd name="T37" fmla="*/ 2 h 166"/>
              <a:gd name="T38" fmla="*/ 53 w 186"/>
              <a:gd name="T39" fmla="*/ 0 h 166"/>
              <a:gd name="T40" fmla="*/ 140 w 186"/>
              <a:gd name="T41" fmla="*/ 12 h 166"/>
              <a:gd name="T42" fmla="*/ 186 w 186"/>
              <a:gd name="T43" fmla="*/ 91 h 166"/>
              <a:gd name="T44" fmla="*/ 171 w 186"/>
              <a:gd name="T45" fmla="*/ 112 h 166"/>
              <a:gd name="T46" fmla="*/ 155 w 186"/>
              <a:gd name="T47" fmla="*/ 129 h 166"/>
              <a:gd name="T48" fmla="*/ 149 w 186"/>
              <a:gd name="T49" fmla="*/ 137 h 166"/>
              <a:gd name="T50" fmla="*/ 144 w 186"/>
              <a:gd name="T51" fmla="*/ 145 h 166"/>
              <a:gd name="T52" fmla="*/ 142 w 186"/>
              <a:gd name="T53" fmla="*/ 150 h 166"/>
              <a:gd name="T54" fmla="*/ 141 w 186"/>
              <a:gd name="T55" fmla="*/ 156 h 166"/>
              <a:gd name="T56" fmla="*/ 140 w 186"/>
              <a:gd name="T57" fmla="*/ 161 h 166"/>
              <a:gd name="T58" fmla="*/ 140 w 186"/>
              <a:gd name="T59" fmla="*/ 166 h 166"/>
              <a:gd name="T60" fmla="*/ 86 w 186"/>
              <a:gd name="T61" fmla="*/ 147 h 16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39" name="Freeform 445">
            <a:extLst>
              <a:ext uri="{FF2B5EF4-FFF2-40B4-BE49-F238E27FC236}">
                <a16:creationId xmlns:a16="http://schemas.microsoft.com/office/drawing/2014/main" id="{A1CAADFA-D87D-4729-B6A2-D8FA336F87E8}"/>
              </a:ext>
            </a:extLst>
          </p:cNvPr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6531634" y="3999797"/>
            <a:ext cx="79446" cy="57150"/>
          </a:xfrm>
          <a:custGeom>
            <a:avLst/>
            <a:gdLst>
              <a:gd name="T0" fmla="*/ 153 w 186"/>
              <a:gd name="T1" fmla="*/ 21 h 104"/>
              <a:gd name="T2" fmla="*/ 146 w 186"/>
              <a:gd name="T3" fmla="*/ 21 h 104"/>
              <a:gd name="T4" fmla="*/ 141 w 186"/>
              <a:gd name="T5" fmla="*/ 20 h 104"/>
              <a:gd name="T6" fmla="*/ 136 w 186"/>
              <a:gd name="T7" fmla="*/ 18 h 104"/>
              <a:gd name="T8" fmla="*/ 133 w 186"/>
              <a:gd name="T9" fmla="*/ 15 h 104"/>
              <a:gd name="T10" fmla="*/ 130 w 186"/>
              <a:gd name="T11" fmla="*/ 13 h 104"/>
              <a:gd name="T12" fmla="*/ 125 w 186"/>
              <a:gd name="T13" fmla="*/ 11 h 104"/>
              <a:gd name="T14" fmla="*/ 120 w 186"/>
              <a:gd name="T15" fmla="*/ 10 h 104"/>
              <a:gd name="T16" fmla="*/ 113 w 186"/>
              <a:gd name="T17" fmla="*/ 9 h 104"/>
              <a:gd name="T18" fmla="*/ 100 w 186"/>
              <a:gd name="T19" fmla="*/ 8 h 104"/>
              <a:gd name="T20" fmla="*/ 88 w 186"/>
              <a:gd name="T21" fmla="*/ 6 h 104"/>
              <a:gd name="T22" fmla="*/ 75 w 186"/>
              <a:gd name="T23" fmla="*/ 3 h 104"/>
              <a:gd name="T24" fmla="*/ 64 w 186"/>
              <a:gd name="T25" fmla="*/ 1 h 104"/>
              <a:gd name="T26" fmla="*/ 60 w 186"/>
              <a:gd name="T27" fmla="*/ 0 h 104"/>
              <a:gd name="T28" fmla="*/ 54 w 186"/>
              <a:gd name="T29" fmla="*/ 0 h 104"/>
              <a:gd name="T30" fmla="*/ 51 w 186"/>
              <a:gd name="T31" fmla="*/ 1 h 104"/>
              <a:gd name="T32" fmla="*/ 46 w 186"/>
              <a:gd name="T33" fmla="*/ 2 h 104"/>
              <a:gd name="T34" fmla="*/ 44 w 186"/>
              <a:gd name="T35" fmla="*/ 4 h 104"/>
              <a:gd name="T36" fmla="*/ 42 w 186"/>
              <a:gd name="T37" fmla="*/ 6 h 104"/>
              <a:gd name="T38" fmla="*/ 41 w 186"/>
              <a:gd name="T39" fmla="*/ 10 h 104"/>
              <a:gd name="T40" fmla="*/ 40 w 186"/>
              <a:gd name="T41" fmla="*/ 15 h 104"/>
              <a:gd name="T42" fmla="*/ 34 w 186"/>
              <a:gd name="T43" fmla="*/ 27 h 104"/>
              <a:gd name="T44" fmla="*/ 20 w 186"/>
              <a:gd name="T45" fmla="*/ 47 h 104"/>
              <a:gd name="T46" fmla="*/ 7 w 186"/>
              <a:gd name="T47" fmla="*/ 66 h 104"/>
              <a:gd name="T48" fmla="*/ 0 w 186"/>
              <a:gd name="T49" fmla="*/ 77 h 104"/>
              <a:gd name="T50" fmla="*/ 8 w 186"/>
              <a:gd name="T51" fmla="*/ 77 h 104"/>
              <a:gd name="T52" fmla="*/ 16 w 186"/>
              <a:gd name="T53" fmla="*/ 78 h 104"/>
              <a:gd name="T54" fmla="*/ 21 w 186"/>
              <a:gd name="T55" fmla="*/ 79 h 104"/>
              <a:gd name="T56" fmla="*/ 25 w 186"/>
              <a:gd name="T57" fmla="*/ 81 h 104"/>
              <a:gd name="T58" fmla="*/ 33 w 186"/>
              <a:gd name="T59" fmla="*/ 85 h 104"/>
              <a:gd name="T60" fmla="*/ 40 w 186"/>
              <a:gd name="T61" fmla="*/ 89 h 104"/>
              <a:gd name="T62" fmla="*/ 45 w 186"/>
              <a:gd name="T63" fmla="*/ 94 h 104"/>
              <a:gd name="T64" fmla="*/ 52 w 186"/>
              <a:gd name="T65" fmla="*/ 98 h 104"/>
              <a:gd name="T66" fmla="*/ 56 w 186"/>
              <a:gd name="T67" fmla="*/ 100 h 104"/>
              <a:gd name="T68" fmla="*/ 61 w 186"/>
              <a:gd name="T69" fmla="*/ 101 h 104"/>
              <a:gd name="T70" fmla="*/ 66 w 186"/>
              <a:gd name="T71" fmla="*/ 102 h 104"/>
              <a:gd name="T72" fmla="*/ 74 w 186"/>
              <a:gd name="T73" fmla="*/ 102 h 104"/>
              <a:gd name="T74" fmla="*/ 107 w 186"/>
              <a:gd name="T75" fmla="*/ 103 h 104"/>
              <a:gd name="T76" fmla="*/ 131 w 186"/>
              <a:gd name="T77" fmla="*/ 104 h 104"/>
              <a:gd name="T78" fmla="*/ 135 w 186"/>
              <a:gd name="T79" fmla="*/ 103 h 104"/>
              <a:gd name="T80" fmla="*/ 139 w 186"/>
              <a:gd name="T81" fmla="*/ 102 h 104"/>
              <a:gd name="T82" fmla="*/ 142 w 186"/>
              <a:gd name="T83" fmla="*/ 100 h 104"/>
              <a:gd name="T84" fmla="*/ 145 w 186"/>
              <a:gd name="T85" fmla="*/ 97 h 104"/>
              <a:gd name="T86" fmla="*/ 147 w 186"/>
              <a:gd name="T87" fmla="*/ 94 h 104"/>
              <a:gd name="T88" fmla="*/ 150 w 186"/>
              <a:gd name="T89" fmla="*/ 88 h 104"/>
              <a:gd name="T90" fmla="*/ 152 w 186"/>
              <a:gd name="T91" fmla="*/ 83 h 104"/>
              <a:gd name="T92" fmla="*/ 153 w 186"/>
              <a:gd name="T93" fmla="*/ 77 h 104"/>
              <a:gd name="T94" fmla="*/ 186 w 186"/>
              <a:gd name="T95" fmla="*/ 27 h 104"/>
              <a:gd name="T96" fmla="*/ 153 w 186"/>
              <a:gd name="T97" fmla="*/ 21 h 10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0" name="Freeform 446">
            <a:extLst>
              <a:ext uri="{FF2B5EF4-FFF2-40B4-BE49-F238E27FC236}">
                <a16:creationId xmlns:a16="http://schemas.microsoft.com/office/drawing/2014/main" id="{4061EDA3-DD02-4E21-B6C5-1D664B5548C7}"/>
              </a:ext>
            </a:extLst>
          </p:cNvPr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8258061" y="2598034"/>
            <a:ext cx="128336" cy="96838"/>
          </a:xfrm>
          <a:custGeom>
            <a:avLst/>
            <a:gdLst>
              <a:gd name="T0" fmla="*/ 79 w 311"/>
              <a:gd name="T1" fmla="*/ 38 h 179"/>
              <a:gd name="T2" fmla="*/ 115 w 311"/>
              <a:gd name="T3" fmla="*/ 26 h 179"/>
              <a:gd name="T4" fmla="*/ 148 w 311"/>
              <a:gd name="T5" fmla="*/ 14 h 179"/>
              <a:gd name="T6" fmla="*/ 178 w 311"/>
              <a:gd name="T7" fmla="*/ 4 h 179"/>
              <a:gd name="T8" fmla="*/ 211 w 311"/>
              <a:gd name="T9" fmla="*/ 0 h 179"/>
              <a:gd name="T10" fmla="*/ 236 w 311"/>
              <a:gd name="T11" fmla="*/ 2 h 179"/>
              <a:gd name="T12" fmla="*/ 256 w 311"/>
              <a:gd name="T13" fmla="*/ 6 h 179"/>
              <a:gd name="T14" fmla="*/ 292 w 311"/>
              <a:gd name="T15" fmla="*/ 12 h 179"/>
              <a:gd name="T16" fmla="*/ 287 w 311"/>
              <a:gd name="T17" fmla="*/ 28 h 179"/>
              <a:gd name="T18" fmla="*/ 278 w 311"/>
              <a:gd name="T19" fmla="*/ 42 h 179"/>
              <a:gd name="T20" fmla="*/ 269 w 311"/>
              <a:gd name="T21" fmla="*/ 53 h 179"/>
              <a:gd name="T22" fmla="*/ 265 w 311"/>
              <a:gd name="T23" fmla="*/ 62 h 179"/>
              <a:gd name="T24" fmla="*/ 266 w 311"/>
              <a:gd name="T25" fmla="*/ 66 h 179"/>
              <a:gd name="T26" fmla="*/ 271 w 311"/>
              <a:gd name="T27" fmla="*/ 71 h 179"/>
              <a:gd name="T28" fmla="*/ 285 w 311"/>
              <a:gd name="T29" fmla="*/ 79 h 179"/>
              <a:gd name="T30" fmla="*/ 311 w 311"/>
              <a:gd name="T31" fmla="*/ 93 h 179"/>
              <a:gd name="T32" fmla="*/ 287 w 311"/>
              <a:gd name="T33" fmla="*/ 107 h 179"/>
              <a:gd name="T34" fmla="*/ 281 w 311"/>
              <a:gd name="T35" fmla="*/ 115 h 179"/>
              <a:gd name="T36" fmla="*/ 278 w 311"/>
              <a:gd name="T37" fmla="*/ 129 h 179"/>
              <a:gd name="T38" fmla="*/ 252 w 311"/>
              <a:gd name="T39" fmla="*/ 136 h 179"/>
              <a:gd name="T40" fmla="*/ 211 w 311"/>
              <a:gd name="T41" fmla="*/ 148 h 179"/>
              <a:gd name="T42" fmla="*/ 191 w 311"/>
              <a:gd name="T43" fmla="*/ 168 h 179"/>
              <a:gd name="T44" fmla="*/ 178 w 311"/>
              <a:gd name="T45" fmla="*/ 176 h 179"/>
              <a:gd name="T46" fmla="*/ 165 w 311"/>
              <a:gd name="T47" fmla="*/ 179 h 179"/>
              <a:gd name="T48" fmla="*/ 151 w 311"/>
              <a:gd name="T49" fmla="*/ 175 h 179"/>
              <a:gd name="T50" fmla="*/ 137 w 311"/>
              <a:gd name="T51" fmla="*/ 167 h 179"/>
              <a:gd name="T52" fmla="*/ 120 w 311"/>
              <a:gd name="T53" fmla="*/ 158 h 179"/>
              <a:gd name="T54" fmla="*/ 98 w 311"/>
              <a:gd name="T55" fmla="*/ 155 h 179"/>
              <a:gd name="T56" fmla="*/ 66 w 311"/>
              <a:gd name="T57" fmla="*/ 155 h 179"/>
              <a:gd name="T58" fmla="*/ 51 w 311"/>
              <a:gd name="T59" fmla="*/ 157 h 179"/>
              <a:gd name="T60" fmla="*/ 39 w 311"/>
              <a:gd name="T61" fmla="*/ 161 h 179"/>
              <a:gd name="T62" fmla="*/ 36 w 311"/>
              <a:gd name="T63" fmla="*/ 142 h 179"/>
              <a:gd name="T64" fmla="*/ 32 w 311"/>
              <a:gd name="T65" fmla="*/ 123 h 179"/>
              <a:gd name="T66" fmla="*/ 21 w 311"/>
              <a:gd name="T67" fmla="*/ 128 h 179"/>
              <a:gd name="T68" fmla="*/ 13 w 311"/>
              <a:gd name="T69" fmla="*/ 129 h 179"/>
              <a:gd name="T70" fmla="*/ 7 w 311"/>
              <a:gd name="T71" fmla="*/ 126 h 179"/>
              <a:gd name="T72" fmla="*/ 3 w 311"/>
              <a:gd name="T73" fmla="*/ 121 h 179"/>
              <a:gd name="T74" fmla="*/ 0 w 311"/>
              <a:gd name="T75" fmla="*/ 105 h 179"/>
              <a:gd name="T76" fmla="*/ 0 w 311"/>
              <a:gd name="T77" fmla="*/ 87 h 179"/>
              <a:gd name="T78" fmla="*/ 3 w 311"/>
              <a:gd name="T79" fmla="*/ 82 h 179"/>
              <a:gd name="T80" fmla="*/ 13 w 311"/>
              <a:gd name="T81" fmla="*/ 78 h 179"/>
              <a:gd name="T82" fmla="*/ 21 w 311"/>
              <a:gd name="T83" fmla="*/ 72 h 179"/>
              <a:gd name="T84" fmla="*/ 25 w 311"/>
              <a:gd name="T85" fmla="*/ 68 h 179"/>
              <a:gd name="T86" fmla="*/ 26 w 311"/>
              <a:gd name="T87" fmla="*/ 62 h 179"/>
              <a:gd name="T88" fmla="*/ 24 w 311"/>
              <a:gd name="T89" fmla="*/ 51 h 179"/>
              <a:gd name="T90" fmla="*/ 19 w 311"/>
              <a:gd name="T91" fmla="*/ 43 h 179"/>
              <a:gd name="T92" fmla="*/ 8 w 311"/>
              <a:gd name="T93" fmla="*/ 29 h 179"/>
              <a:gd name="T94" fmla="*/ 1 w 311"/>
              <a:gd name="T95" fmla="*/ 18 h 179"/>
              <a:gd name="T96" fmla="*/ 1 w 311"/>
              <a:gd name="T97" fmla="*/ 13 h 179"/>
              <a:gd name="T98" fmla="*/ 6 w 311"/>
              <a:gd name="T99" fmla="*/ 6 h 179"/>
              <a:gd name="T100" fmla="*/ 0 w 311"/>
              <a:gd name="T101" fmla="*/ 6 h 1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1" name="Freeform 447">
            <a:extLst>
              <a:ext uri="{FF2B5EF4-FFF2-40B4-BE49-F238E27FC236}">
                <a16:creationId xmlns:a16="http://schemas.microsoft.com/office/drawing/2014/main" id="{EB5CFED9-DFD1-4E10-A9D3-6C31E32BE62B}"/>
              </a:ext>
            </a:extLst>
          </p:cNvPr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7637769" y="3525134"/>
            <a:ext cx="171115" cy="165100"/>
          </a:xfrm>
          <a:custGeom>
            <a:avLst/>
            <a:gdLst>
              <a:gd name="T0" fmla="*/ 6 w 405"/>
              <a:gd name="T1" fmla="*/ 260 h 314"/>
              <a:gd name="T2" fmla="*/ 13 w 405"/>
              <a:gd name="T3" fmla="*/ 237 h 314"/>
              <a:gd name="T4" fmla="*/ 17 w 405"/>
              <a:gd name="T5" fmla="*/ 202 h 314"/>
              <a:gd name="T6" fmla="*/ 23 w 405"/>
              <a:gd name="T7" fmla="*/ 173 h 314"/>
              <a:gd name="T8" fmla="*/ 32 w 405"/>
              <a:gd name="T9" fmla="*/ 162 h 314"/>
              <a:gd name="T10" fmla="*/ 48 w 405"/>
              <a:gd name="T11" fmla="*/ 150 h 314"/>
              <a:gd name="T12" fmla="*/ 72 w 405"/>
              <a:gd name="T13" fmla="*/ 141 h 314"/>
              <a:gd name="T14" fmla="*/ 93 w 405"/>
              <a:gd name="T15" fmla="*/ 134 h 314"/>
              <a:gd name="T16" fmla="*/ 104 w 405"/>
              <a:gd name="T17" fmla="*/ 125 h 314"/>
              <a:gd name="T18" fmla="*/ 113 w 405"/>
              <a:gd name="T19" fmla="*/ 114 h 314"/>
              <a:gd name="T20" fmla="*/ 123 w 405"/>
              <a:gd name="T21" fmla="*/ 93 h 314"/>
              <a:gd name="T22" fmla="*/ 136 w 405"/>
              <a:gd name="T23" fmla="*/ 69 h 314"/>
              <a:gd name="T24" fmla="*/ 147 w 405"/>
              <a:gd name="T25" fmla="*/ 55 h 314"/>
              <a:gd name="T26" fmla="*/ 155 w 405"/>
              <a:gd name="T27" fmla="*/ 51 h 314"/>
              <a:gd name="T28" fmla="*/ 170 w 405"/>
              <a:gd name="T29" fmla="*/ 51 h 314"/>
              <a:gd name="T30" fmla="*/ 189 w 405"/>
              <a:gd name="T31" fmla="*/ 48 h 314"/>
              <a:gd name="T32" fmla="*/ 213 w 405"/>
              <a:gd name="T33" fmla="*/ 35 h 314"/>
              <a:gd name="T34" fmla="*/ 237 w 405"/>
              <a:gd name="T35" fmla="*/ 20 h 314"/>
              <a:gd name="T36" fmla="*/ 257 w 405"/>
              <a:gd name="T37" fmla="*/ 11 h 314"/>
              <a:gd name="T38" fmla="*/ 282 w 405"/>
              <a:gd name="T39" fmla="*/ 4 h 314"/>
              <a:gd name="T40" fmla="*/ 314 w 405"/>
              <a:gd name="T41" fmla="*/ 0 h 314"/>
              <a:gd name="T42" fmla="*/ 332 w 405"/>
              <a:gd name="T43" fmla="*/ 14 h 314"/>
              <a:gd name="T44" fmla="*/ 337 w 405"/>
              <a:gd name="T45" fmla="*/ 34 h 314"/>
              <a:gd name="T46" fmla="*/ 343 w 405"/>
              <a:gd name="T47" fmla="*/ 50 h 314"/>
              <a:gd name="T48" fmla="*/ 352 w 405"/>
              <a:gd name="T49" fmla="*/ 62 h 314"/>
              <a:gd name="T50" fmla="*/ 368 w 405"/>
              <a:gd name="T51" fmla="*/ 74 h 314"/>
              <a:gd name="T52" fmla="*/ 382 w 405"/>
              <a:gd name="T53" fmla="*/ 85 h 314"/>
              <a:gd name="T54" fmla="*/ 390 w 405"/>
              <a:gd name="T55" fmla="*/ 93 h 314"/>
              <a:gd name="T56" fmla="*/ 396 w 405"/>
              <a:gd name="T57" fmla="*/ 115 h 314"/>
              <a:gd name="T58" fmla="*/ 398 w 405"/>
              <a:gd name="T59" fmla="*/ 143 h 314"/>
              <a:gd name="T60" fmla="*/ 398 w 405"/>
              <a:gd name="T61" fmla="*/ 170 h 314"/>
              <a:gd name="T62" fmla="*/ 402 w 405"/>
              <a:gd name="T63" fmla="*/ 196 h 314"/>
              <a:gd name="T64" fmla="*/ 398 w 405"/>
              <a:gd name="T65" fmla="*/ 217 h 314"/>
              <a:gd name="T66" fmla="*/ 382 w 405"/>
              <a:gd name="T67" fmla="*/ 226 h 314"/>
              <a:gd name="T68" fmla="*/ 365 w 405"/>
              <a:gd name="T69" fmla="*/ 241 h 314"/>
              <a:gd name="T70" fmla="*/ 363 w 405"/>
              <a:gd name="T71" fmla="*/ 237 h 314"/>
              <a:gd name="T72" fmla="*/ 358 w 405"/>
              <a:gd name="T73" fmla="*/ 233 h 314"/>
              <a:gd name="T74" fmla="*/ 342 w 405"/>
              <a:gd name="T75" fmla="*/ 227 h 314"/>
              <a:gd name="T76" fmla="*/ 319 w 405"/>
              <a:gd name="T77" fmla="*/ 223 h 314"/>
              <a:gd name="T78" fmla="*/ 152 w 405"/>
              <a:gd name="T79" fmla="*/ 241 h 314"/>
              <a:gd name="T80" fmla="*/ 150 w 405"/>
              <a:gd name="T81" fmla="*/ 257 h 314"/>
              <a:gd name="T82" fmla="*/ 150 w 405"/>
              <a:gd name="T83" fmla="*/ 274 h 314"/>
              <a:gd name="T84" fmla="*/ 152 w 405"/>
              <a:gd name="T85" fmla="*/ 314 h 314"/>
              <a:gd name="T86" fmla="*/ 139 w 405"/>
              <a:gd name="T87" fmla="*/ 312 h 314"/>
              <a:gd name="T88" fmla="*/ 126 w 405"/>
              <a:gd name="T89" fmla="*/ 305 h 314"/>
              <a:gd name="T90" fmla="*/ 100 w 405"/>
              <a:gd name="T91" fmla="*/ 290 h 314"/>
              <a:gd name="T92" fmla="*/ 89 w 405"/>
              <a:gd name="T93" fmla="*/ 307 h 314"/>
              <a:gd name="T94" fmla="*/ 82 w 405"/>
              <a:gd name="T95" fmla="*/ 312 h 314"/>
              <a:gd name="T96" fmla="*/ 73 w 405"/>
              <a:gd name="T97" fmla="*/ 314 h 314"/>
              <a:gd name="T98" fmla="*/ 60 w 405"/>
              <a:gd name="T99" fmla="*/ 311 h 314"/>
              <a:gd name="T100" fmla="*/ 47 w 405"/>
              <a:gd name="T101" fmla="*/ 302 h 314"/>
              <a:gd name="T102" fmla="*/ 28 w 405"/>
              <a:gd name="T103" fmla="*/ 291 h 314"/>
              <a:gd name="T104" fmla="*/ 0 w 405"/>
              <a:gd name="T105" fmla="*/ 284 h 31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42" name="Freeform 448">
            <a:extLst>
              <a:ext uri="{FF2B5EF4-FFF2-40B4-BE49-F238E27FC236}">
                <a16:creationId xmlns:a16="http://schemas.microsoft.com/office/drawing/2014/main" id="{F3E0A5EE-0A80-4717-BBE3-7AC09214E757}"/>
              </a:ext>
            </a:extLst>
          </p:cNvPr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7972360" y="3593397"/>
            <a:ext cx="186393" cy="349250"/>
          </a:xfrm>
          <a:custGeom>
            <a:avLst/>
            <a:gdLst>
              <a:gd name="T0" fmla="*/ 335 w 453"/>
              <a:gd name="T1" fmla="*/ 36 h 661"/>
              <a:gd name="T2" fmla="*/ 321 w 453"/>
              <a:gd name="T3" fmla="*/ 98 h 661"/>
              <a:gd name="T4" fmla="*/ 277 w 453"/>
              <a:gd name="T5" fmla="*/ 162 h 661"/>
              <a:gd name="T6" fmla="*/ 253 w 453"/>
              <a:gd name="T7" fmla="*/ 219 h 661"/>
              <a:gd name="T8" fmla="*/ 232 w 453"/>
              <a:gd name="T9" fmla="*/ 272 h 661"/>
              <a:gd name="T10" fmla="*/ 209 w 453"/>
              <a:gd name="T11" fmla="*/ 329 h 661"/>
              <a:gd name="T12" fmla="*/ 196 w 453"/>
              <a:gd name="T13" fmla="*/ 362 h 661"/>
              <a:gd name="T14" fmla="*/ 180 w 453"/>
              <a:gd name="T15" fmla="*/ 380 h 661"/>
              <a:gd name="T16" fmla="*/ 167 w 453"/>
              <a:gd name="T17" fmla="*/ 390 h 661"/>
              <a:gd name="T18" fmla="*/ 141 w 453"/>
              <a:gd name="T19" fmla="*/ 382 h 661"/>
              <a:gd name="T20" fmla="*/ 121 w 453"/>
              <a:gd name="T21" fmla="*/ 370 h 661"/>
              <a:gd name="T22" fmla="*/ 94 w 453"/>
              <a:gd name="T23" fmla="*/ 367 h 661"/>
              <a:gd name="T24" fmla="*/ 64 w 453"/>
              <a:gd name="T25" fmla="*/ 380 h 661"/>
              <a:gd name="T26" fmla="*/ 44 w 453"/>
              <a:gd name="T27" fmla="*/ 403 h 661"/>
              <a:gd name="T28" fmla="*/ 21 w 453"/>
              <a:gd name="T29" fmla="*/ 454 h 661"/>
              <a:gd name="T30" fmla="*/ 7 w 453"/>
              <a:gd name="T31" fmla="*/ 482 h 661"/>
              <a:gd name="T32" fmla="*/ 1 w 453"/>
              <a:gd name="T33" fmla="*/ 500 h 661"/>
              <a:gd name="T34" fmla="*/ 8 w 453"/>
              <a:gd name="T35" fmla="*/ 517 h 661"/>
              <a:gd name="T36" fmla="*/ 20 w 453"/>
              <a:gd name="T37" fmla="*/ 526 h 661"/>
              <a:gd name="T38" fmla="*/ 55 w 453"/>
              <a:gd name="T39" fmla="*/ 526 h 661"/>
              <a:gd name="T40" fmla="*/ 71 w 453"/>
              <a:gd name="T41" fmla="*/ 548 h 661"/>
              <a:gd name="T42" fmla="*/ 73 w 453"/>
              <a:gd name="T43" fmla="*/ 590 h 661"/>
              <a:gd name="T44" fmla="*/ 67 w 453"/>
              <a:gd name="T45" fmla="*/ 630 h 661"/>
              <a:gd name="T46" fmla="*/ 433 w 453"/>
              <a:gd name="T47" fmla="*/ 661 h 661"/>
              <a:gd name="T48" fmla="*/ 442 w 453"/>
              <a:gd name="T49" fmla="*/ 582 h 661"/>
              <a:gd name="T50" fmla="*/ 415 w 453"/>
              <a:gd name="T51" fmla="*/ 568 h 661"/>
              <a:gd name="T52" fmla="*/ 373 w 453"/>
              <a:gd name="T53" fmla="*/ 557 h 661"/>
              <a:gd name="T54" fmla="*/ 353 w 453"/>
              <a:gd name="T55" fmla="*/ 549 h 661"/>
              <a:gd name="T56" fmla="*/ 340 w 453"/>
              <a:gd name="T57" fmla="*/ 537 h 661"/>
              <a:gd name="T58" fmla="*/ 333 w 453"/>
              <a:gd name="T59" fmla="*/ 515 h 661"/>
              <a:gd name="T60" fmla="*/ 333 w 453"/>
              <a:gd name="T61" fmla="*/ 464 h 661"/>
              <a:gd name="T62" fmla="*/ 337 w 453"/>
              <a:gd name="T63" fmla="*/ 428 h 661"/>
              <a:gd name="T64" fmla="*/ 351 w 453"/>
              <a:gd name="T65" fmla="*/ 397 h 661"/>
              <a:gd name="T66" fmla="*/ 373 w 453"/>
              <a:gd name="T67" fmla="*/ 364 h 661"/>
              <a:gd name="T68" fmla="*/ 392 w 453"/>
              <a:gd name="T69" fmla="*/ 330 h 661"/>
              <a:gd name="T70" fmla="*/ 399 w 453"/>
              <a:gd name="T71" fmla="*/ 297 h 661"/>
              <a:gd name="T72" fmla="*/ 389 w 453"/>
              <a:gd name="T73" fmla="*/ 267 h 661"/>
              <a:gd name="T74" fmla="*/ 373 w 453"/>
              <a:gd name="T75" fmla="*/ 246 h 661"/>
              <a:gd name="T76" fmla="*/ 343 w 453"/>
              <a:gd name="T77" fmla="*/ 217 h 661"/>
              <a:gd name="T78" fmla="*/ 333 w 453"/>
              <a:gd name="T79" fmla="*/ 192 h 661"/>
              <a:gd name="T80" fmla="*/ 335 w 453"/>
              <a:gd name="T81" fmla="*/ 173 h 661"/>
              <a:gd name="T82" fmla="*/ 353 w 453"/>
              <a:gd name="T83" fmla="*/ 164 h 661"/>
              <a:gd name="T84" fmla="*/ 406 w 453"/>
              <a:gd name="T85" fmla="*/ 162 h 661"/>
              <a:gd name="T86" fmla="*/ 395 w 453"/>
              <a:gd name="T87" fmla="*/ 151 h 661"/>
              <a:gd name="T88" fmla="*/ 379 w 453"/>
              <a:gd name="T89" fmla="*/ 117 h 661"/>
              <a:gd name="T90" fmla="*/ 371 w 453"/>
              <a:gd name="T91" fmla="*/ 73 h 661"/>
              <a:gd name="T92" fmla="*/ 373 w 453"/>
              <a:gd name="T93" fmla="*/ 45 h 661"/>
              <a:gd name="T94" fmla="*/ 367 w 453"/>
              <a:gd name="T95" fmla="*/ 11 h 661"/>
              <a:gd name="T96" fmla="*/ 347 w 453"/>
              <a:gd name="T97" fmla="*/ 0 h 6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43" name="Freeform 449">
            <a:extLst>
              <a:ext uri="{FF2B5EF4-FFF2-40B4-BE49-F238E27FC236}">
                <a16:creationId xmlns:a16="http://schemas.microsoft.com/office/drawing/2014/main" id="{33D1E868-3205-446D-BCEE-E3B4E91FDC4B}"/>
              </a:ext>
            </a:extLst>
          </p:cNvPr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10331301" y="3352097"/>
            <a:ext cx="53474" cy="57150"/>
          </a:xfrm>
          <a:custGeom>
            <a:avLst/>
            <a:gdLst>
              <a:gd name="T0" fmla="*/ 0 w 126"/>
              <a:gd name="T1" fmla="*/ 56 h 105"/>
              <a:gd name="T2" fmla="*/ 4 w 126"/>
              <a:gd name="T3" fmla="*/ 49 h 105"/>
              <a:gd name="T4" fmla="*/ 10 w 126"/>
              <a:gd name="T5" fmla="*/ 41 h 105"/>
              <a:gd name="T6" fmla="*/ 16 w 126"/>
              <a:gd name="T7" fmla="*/ 33 h 105"/>
              <a:gd name="T8" fmla="*/ 24 w 126"/>
              <a:gd name="T9" fmla="*/ 25 h 105"/>
              <a:gd name="T10" fmla="*/ 37 w 126"/>
              <a:gd name="T11" fmla="*/ 11 h 105"/>
              <a:gd name="T12" fmla="*/ 47 w 126"/>
              <a:gd name="T13" fmla="*/ 0 h 105"/>
              <a:gd name="T14" fmla="*/ 113 w 126"/>
              <a:gd name="T15" fmla="*/ 0 h 105"/>
              <a:gd name="T16" fmla="*/ 114 w 126"/>
              <a:gd name="T17" fmla="*/ 4 h 105"/>
              <a:gd name="T18" fmla="*/ 115 w 126"/>
              <a:gd name="T19" fmla="*/ 8 h 105"/>
              <a:gd name="T20" fmla="*/ 117 w 126"/>
              <a:gd name="T21" fmla="*/ 12 h 105"/>
              <a:gd name="T22" fmla="*/ 119 w 126"/>
              <a:gd name="T23" fmla="*/ 14 h 105"/>
              <a:gd name="T24" fmla="*/ 124 w 126"/>
              <a:gd name="T25" fmla="*/ 20 h 105"/>
              <a:gd name="T26" fmla="*/ 126 w 126"/>
              <a:gd name="T27" fmla="*/ 24 h 105"/>
              <a:gd name="T28" fmla="*/ 126 w 126"/>
              <a:gd name="T29" fmla="*/ 32 h 105"/>
              <a:gd name="T30" fmla="*/ 125 w 126"/>
              <a:gd name="T31" fmla="*/ 41 h 105"/>
              <a:gd name="T32" fmla="*/ 124 w 126"/>
              <a:gd name="T33" fmla="*/ 48 h 105"/>
              <a:gd name="T34" fmla="*/ 122 w 126"/>
              <a:gd name="T35" fmla="*/ 55 h 105"/>
              <a:gd name="T36" fmla="*/ 119 w 126"/>
              <a:gd name="T37" fmla="*/ 62 h 105"/>
              <a:gd name="T38" fmla="*/ 116 w 126"/>
              <a:gd name="T39" fmla="*/ 69 h 105"/>
              <a:gd name="T40" fmla="*/ 112 w 126"/>
              <a:gd name="T41" fmla="*/ 75 h 105"/>
              <a:gd name="T42" fmla="*/ 108 w 126"/>
              <a:gd name="T43" fmla="*/ 81 h 105"/>
              <a:gd name="T44" fmla="*/ 104 w 126"/>
              <a:gd name="T45" fmla="*/ 86 h 105"/>
              <a:gd name="T46" fmla="*/ 99 w 126"/>
              <a:gd name="T47" fmla="*/ 90 h 105"/>
              <a:gd name="T48" fmla="*/ 93 w 126"/>
              <a:gd name="T49" fmla="*/ 94 h 105"/>
              <a:gd name="T50" fmla="*/ 88 w 126"/>
              <a:gd name="T51" fmla="*/ 99 h 105"/>
              <a:gd name="T52" fmla="*/ 81 w 126"/>
              <a:gd name="T53" fmla="*/ 101 h 105"/>
              <a:gd name="T54" fmla="*/ 74 w 126"/>
              <a:gd name="T55" fmla="*/ 103 h 105"/>
              <a:gd name="T56" fmla="*/ 67 w 126"/>
              <a:gd name="T57" fmla="*/ 105 h 105"/>
              <a:gd name="T58" fmla="*/ 60 w 126"/>
              <a:gd name="T59" fmla="*/ 105 h 105"/>
              <a:gd name="T60" fmla="*/ 48 w 126"/>
              <a:gd name="T61" fmla="*/ 104 h 105"/>
              <a:gd name="T62" fmla="*/ 38 w 126"/>
              <a:gd name="T63" fmla="*/ 102 h 105"/>
              <a:gd name="T64" fmla="*/ 31 w 126"/>
              <a:gd name="T65" fmla="*/ 98 h 105"/>
              <a:gd name="T66" fmla="*/ 24 w 126"/>
              <a:gd name="T67" fmla="*/ 92 h 105"/>
              <a:gd name="T68" fmla="*/ 20 w 126"/>
              <a:gd name="T69" fmla="*/ 86 h 105"/>
              <a:gd name="T70" fmla="*/ 16 w 126"/>
              <a:gd name="T71" fmla="*/ 78 h 105"/>
              <a:gd name="T72" fmla="*/ 14 w 126"/>
              <a:gd name="T73" fmla="*/ 70 h 105"/>
              <a:gd name="T74" fmla="*/ 13 w 126"/>
              <a:gd name="T75" fmla="*/ 62 h 105"/>
              <a:gd name="T76" fmla="*/ 0 w 126"/>
              <a:gd name="T77" fmla="*/ 56 h 10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44" name="Freeform 450">
            <a:extLst>
              <a:ext uri="{FF2B5EF4-FFF2-40B4-BE49-F238E27FC236}">
                <a16:creationId xmlns:a16="http://schemas.microsoft.com/office/drawing/2014/main" id="{EBB361E1-B29E-47A6-A95C-66960F9D1E3B}"/>
              </a:ext>
            </a:extLst>
          </p:cNvPr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5860924" y="3615623"/>
            <a:ext cx="287229" cy="523875"/>
          </a:xfrm>
          <a:custGeom>
            <a:avLst/>
            <a:gdLst>
              <a:gd name="T0" fmla="*/ 671 w 684"/>
              <a:gd name="T1" fmla="*/ 573 h 998"/>
              <a:gd name="T2" fmla="*/ 680 w 684"/>
              <a:gd name="T3" fmla="*/ 550 h 998"/>
              <a:gd name="T4" fmla="*/ 671 w 684"/>
              <a:gd name="T5" fmla="*/ 491 h 998"/>
              <a:gd name="T6" fmla="*/ 659 w 684"/>
              <a:gd name="T7" fmla="*/ 423 h 998"/>
              <a:gd name="T8" fmla="*/ 678 w 684"/>
              <a:gd name="T9" fmla="*/ 389 h 998"/>
              <a:gd name="T10" fmla="*/ 557 w 684"/>
              <a:gd name="T11" fmla="*/ 361 h 998"/>
              <a:gd name="T12" fmla="*/ 533 w 684"/>
              <a:gd name="T13" fmla="*/ 326 h 998"/>
              <a:gd name="T14" fmla="*/ 462 w 684"/>
              <a:gd name="T15" fmla="*/ 310 h 998"/>
              <a:gd name="T16" fmla="*/ 402 w 684"/>
              <a:gd name="T17" fmla="*/ 270 h 998"/>
              <a:gd name="T18" fmla="*/ 375 w 684"/>
              <a:gd name="T19" fmla="*/ 201 h 998"/>
              <a:gd name="T20" fmla="*/ 375 w 684"/>
              <a:gd name="T21" fmla="*/ 133 h 998"/>
              <a:gd name="T22" fmla="*/ 395 w 684"/>
              <a:gd name="T23" fmla="*/ 84 h 998"/>
              <a:gd name="T24" fmla="*/ 435 w 684"/>
              <a:gd name="T25" fmla="*/ 48 h 998"/>
              <a:gd name="T26" fmla="*/ 463 w 684"/>
              <a:gd name="T27" fmla="*/ 11 h 998"/>
              <a:gd name="T28" fmla="*/ 389 w 684"/>
              <a:gd name="T29" fmla="*/ 39 h 998"/>
              <a:gd name="T30" fmla="*/ 335 w 684"/>
              <a:gd name="T31" fmla="*/ 68 h 998"/>
              <a:gd name="T32" fmla="*/ 304 w 684"/>
              <a:gd name="T33" fmla="*/ 78 h 998"/>
              <a:gd name="T34" fmla="*/ 278 w 684"/>
              <a:gd name="T35" fmla="*/ 84 h 998"/>
              <a:gd name="T36" fmla="*/ 241 w 684"/>
              <a:gd name="T37" fmla="*/ 81 h 998"/>
              <a:gd name="T38" fmla="*/ 217 w 684"/>
              <a:gd name="T39" fmla="*/ 108 h 998"/>
              <a:gd name="T40" fmla="*/ 196 w 684"/>
              <a:gd name="T41" fmla="*/ 175 h 998"/>
              <a:gd name="T42" fmla="*/ 157 w 684"/>
              <a:gd name="T43" fmla="*/ 227 h 998"/>
              <a:gd name="T44" fmla="*/ 107 w 684"/>
              <a:gd name="T45" fmla="*/ 284 h 998"/>
              <a:gd name="T46" fmla="*/ 90 w 684"/>
              <a:gd name="T47" fmla="*/ 317 h 998"/>
              <a:gd name="T48" fmla="*/ 86 w 684"/>
              <a:gd name="T49" fmla="*/ 356 h 998"/>
              <a:gd name="T50" fmla="*/ 97 w 684"/>
              <a:gd name="T51" fmla="*/ 382 h 998"/>
              <a:gd name="T52" fmla="*/ 97 w 684"/>
              <a:gd name="T53" fmla="*/ 451 h 998"/>
              <a:gd name="T54" fmla="*/ 95 w 684"/>
              <a:gd name="T55" fmla="*/ 525 h 998"/>
              <a:gd name="T56" fmla="*/ 72 w 684"/>
              <a:gd name="T57" fmla="*/ 563 h 998"/>
              <a:gd name="T58" fmla="*/ 37 w 684"/>
              <a:gd name="T59" fmla="*/ 592 h 998"/>
              <a:gd name="T60" fmla="*/ 11 w 684"/>
              <a:gd name="T61" fmla="*/ 612 h 998"/>
              <a:gd name="T62" fmla="*/ 30 w 684"/>
              <a:gd name="T63" fmla="*/ 668 h 998"/>
              <a:gd name="T64" fmla="*/ 123 w 684"/>
              <a:gd name="T65" fmla="*/ 725 h 998"/>
              <a:gd name="T66" fmla="*/ 175 w 684"/>
              <a:gd name="T67" fmla="*/ 728 h 998"/>
              <a:gd name="T68" fmla="*/ 234 w 684"/>
              <a:gd name="T69" fmla="*/ 746 h 998"/>
              <a:gd name="T70" fmla="*/ 299 w 684"/>
              <a:gd name="T71" fmla="*/ 795 h 998"/>
              <a:gd name="T72" fmla="*/ 337 w 684"/>
              <a:gd name="T73" fmla="*/ 850 h 998"/>
              <a:gd name="T74" fmla="*/ 367 w 684"/>
              <a:gd name="T75" fmla="*/ 881 h 998"/>
              <a:gd name="T76" fmla="*/ 412 w 684"/>
              <a:gd name="T77" fmla="*/ 886 h 998"/>
              <a:gd name="T78" fmla="*/ 462 w 684"/>
              <a:gd name="T79" fmla="*/ 876 h 998"/>
              <a:gd name="T80" fmla="*/ 492 w 684"/>
              <a:gd name="T81" fmla="*/ 878 h 998"/>
              <a:gd name="T82" fmla="*/ 515 w 684"/>
              <a:gd name="T83" fmla="*/ 904 h 998"/>
              <a:gd name="T84" fmla="*/ 513 w 684"/>
              <a:gd name="T85" fmla="*/ 922 h 998"/>
              <a:gd name="T86" fmla="*/ 488 w 684"/>
              <a:gd name="T87" fmla="*/ 937 h 998"/>
              <a:gd name="T88" fmla="*/ 488 w 684"/>
              <a:gd name="T89" fmla="*/ 963 h 998"/>
              <a:gd name="T90" fmla="*/ 511 w 684"/>
              <a:gd name="T91" fmla="*/ 994 h 998"/>
              <a:gd name="T92" fmla="*/ 542 w 684"/>
              <a:gd name="T93" fmla="*/ 962 h 998"/>
              <a:gd name="T94" fmla="*/ 566 w 684"/>
              <a:gd name="T95" fmla="*/ 861 h 998"/>
              <a:gd name="T96" fmla="*/ 571 w 684"/>
              <a:gd name="T97" fmla="*/ 803 h 998"/>
              <a:gd name="T98" fmla="*/ 555 w 684"/>
              <a:gd name="T99" fmla="*/ 771 h 998"/>
              <a:gd name="T100" fmla="*/ 523 w 684"/>
              <a:gd name="T101" fmla="*/ 749 h 998"/>
              <a:gd name="T102" fmla="*/ 521 w 684"/>
              <a:gd name="T103" fmla="*/ 723 h 998"/>
              <a:gd name="T104" fmla="*/ 566 w 684"/>
              <a:gd name="T105" fmla="*/ 700 h 998"/>
              <a:gd name="T106" fmla="*/ 556 w 684"/>
              <a:gd name="T107" fmla="*/ 665 h 998"/>
              <a:gd name="T108" fmla="*/ 556 w 684"/>
              <a:gd name="T109" fmla="*/ 649 h 998"/>
              <a:gd name="T110" fmla="*/ 655 w 684"/>
              <a:gd name="T111" fmla="*/ 628 h 9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US"/>
          </a:p>
        </p:txBody>
      </p:sp>
      <p:sp>
        <p:nvSpPr>
          <p:cNvPr id="445" name="Freeform 451">
            <a:extLst>
              <a:ext uri="{FF2B5EF4-FFF2-40B4-BE49-F238E27FC236}">
                <a16:creationId xmlns:a16="http://schemas.microsoft.com/office/drawing/2014/main" id="{4DDC2009-6EDC-484D-9DDA-AAA25DBCA94F}"/>
              </a:ext>
            </a:extLst>
          </p:cNvPr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8028890" y="3883909"/>
            <a:ext cx="180282" cy="274638"/>
          </a:xfrm>
          <a:custGeom>
            <a:avLst/>
            <a:gdLst>
              <a:gd name="T0" fmla="*/ 429 w 429"/>
              <a:gd name="T1" fmla="*/ 22 h 524"/>
              <a:gd name="T2" fmla="*/ 428 w 429"/>
              <a:gd name="T3" fmla="*/ 43 h 524"/>
              <a:gd name="T4" fmla="*/ 424 w 429"/>
              <a:gd name="T5" fmla="*/ 54 h 524"/>
              <a:gd name="T6" fmla="*/ 415 w 429"/>
              <a:gd name="T7" fmla="*/ 67 h 524"/>
              <a:gd name="T8" fmla="*/ 413 w 429"/>
              <a:gd name="T9" fmla="*/ 81 h 524"/>
              <a:gd name="T10" fmla="*/ 414 w 429"/>
              <a:gd name="T11" fmla="*/ 160 h 524"/>
              <a:gd name="T12" fmla="*/ 408 w 429"/>
              <a:gd name="T13" fmla="*/ 207 h 524"/>
              <a:gd name="T14" fmla="*/ 396 w 429"/>
              <a:gd name="T15" fmla="*/ 241 h 524"/>
              <a:gd name="T16" fmla="*/ 372 w 429"/>
              <a:gd name="T17" fmla="*/ 278 h 524"/>
              <a:gd name="T18" fmla="*/ 338 w 429"/>
              <a:gd name="T19" fmla="*/ 309 h 524"/>
              <a:gd name="T20" fmla="*/ 319 w 429"/>
              <a:gd name="T21" fmla="*/ 333 h 524"/>
              <a:gd name="T22" fmla="*/ 312 w 429"/>
              <a:gd name="T23" fmla="*/ 412 h 524"/>
              <a:gd name="T24" fmla="*/ 304 w 429"/>
              <a:gd name="T25" fmla="*/ 439 h 524"/>
              <a:gd name="T26" fmla="*/ 290 w 429"/>
              <a:gd name="T27" fmla="*/ 448 h 524"/>
              <a:gd name="T28" fmla="*/ 269 w 429"/>
              <a:gd name="T29" fmla="*/ 455 h 524"/>
              <a:gd name="T30" fmla="*/ 253 w 429"/>
              <a:gd name="T31" fmla="*/ 472 h 524"/>
              <a:gd name="T32" fmla="*/ 234 w 429"/>
              <a:gd name="T33" fmla="*/ 500 h 524"/>
              <a:gd name="T34" fmla="*/ 223 w 429"/>
              <a:gd name="T35" fmla="*/ 505 h 524"/>
              <a:gd name="T36" fmla="*/ 201 w 429"/>
              <a:gd name="T37" fmla="*/ 504 h 524"/>
              <a:gd name="T38" fmla="*/ 189 w 429"/>
              <a:gd name="T39" fmla="*/ 498 h 524"/>
              <a:gd name="T40" fmla="*/ 145 w 429"/>
              <a:gd name="T41" fmla="*/ 500 h 524"/>
              <a:gd name="T42" fmla="*/ 123 w 429"/>
              <a:gd name="T43" fmla="*/ 500 h 524"/>
              <a:gd name="T44" fmla="*/ 113 w 429"/>
              <a:gd name="T45" fmla="*/ 494 h 524"/>
              <a:gd name="T46" fmla="*/ 95 w 429"/>
              <a:gd name="T47" fmla="*/ 493 h 524"/>
              <a:gd name="T48" fmla="*/ 78 w 429"/>
              <a:gd name="T49" fmla="*/ 502 h 524"/>
              <a:gd name="T50" fmla="*/ 62 w 429"/>
              <a:gd name="T51" fmla="*/ 519 h 524"/>
              <a:gd name="T52" fmla="*/ 27 w 429"/>
              <a:gd name="T53" fmla="*/ 491 h 524"/>
              <a:gd name="T54" fmla="*/ 6 w 429"/>
              <a:gd name="T55" fmla="*/ 447 h 524"/>
              <a:gd name="T56" fmla="*/ 25 w 429"/>
              <a:gd name="T57" fmla="*/ 430 h 524"/>
              <a:gd name="T58" fmla="*/ 42 w 429"/>
              <a:gd name="T59" fmla="*/ 424 h 524"/>
              <a:gd name="T60" fmla="*/ 61 w 429"/>
              <a:gd name="T61" fmla="*/ 428 h 524"/>
              <a:gd name="T62" fmla="*/ 58 w 429"/>
              <a:gd name="T63" fmla="*/ 418 h 524"/>
              <a:gd name="T64" fmla="*/ 45 w 429"/>
              <a:gd name="T65" fmla="*/ 386 h 524"/>
              <a:gd name="T66" fmla="*/ 47 w 429"/>
              <a:gd name="T67" fmla="*/ 366 h 524"/>
              <a:gd name="T68" fmla="*/ 57 w 429"/>
              <a:gd name="T69" fmla="*/ 356 h 524"/>
              <a:gd name="T70" fmla="*/ 71 w 429"/>
              <a:gd name="T71" fmla="*/ 352 h 524"/>
              <a:gd name="T72" fmla="*/ 89 w 429"/>
              <a:gd name="T73" fmla="*/ 337 h 524"/>
              <a:gd name="T74" fmla="*/ 104 w 429"/>
              <a:gd name="T75" fmla="*/ 333 h 524"/>
              <a:gd name="T76" fmla="*/ 115 w 429"/>
              <a:gd name="T77" fmla="*/ 342 h 524"/>
              <a:gd name="T78" fmla="*/ 135 w 429"/>
              <a:gd name="T79" fmla="*/ 359 h 524"/>
              <a:gd name="T80" fmla="*/ 154 w 429"/>
              <a:gd name="T81" fmla="*/ 351 h 524"/>
              <a:gd name="T82" fmla="*/ 181 w 429"/>
              <a:gd name="T83" fmla="*/ 353 h 524"/>
              <a:gd name="T84" fmla="*/ 199 w 429"/>
              <a:gd name="T85" fmla="*/ 340 h 524"/>
              <a:gd name="T86" fmla="*/ 210 w 429"/>
              <a:gd name="T87" fmla="*/ 315 h 524"/>
              <a:gd name="T88" fmla="*/ 213 w 429"/>
              <a:gd name="T89" fmla="*/ 290 h 524"/>
              <a:gd name="T90" fmla="*/ 215 w 429"/>
              <a:gd name="T91" fmla="*/ 269 h 524"/>
              <a:gd name="T92" fmla="*/ 201 w 429"/>
              <a:gd name="T93" fmla="*/ 236 h 524"/>
              <a:gd name="T94" fmla="*/ 188 w 429"/>
              <a:gd name="T95" fmla="*/ 203 h 524"/>
              <a:gd name="T96" fmla="*/ 207 w 429"/>
              <a:gd name="T97" fmla="*/ 177 h 524"/>
              <a:gd name="T98" fmla="*/ 210 w 429"/>
              <a:gd name="T99" fmla="*/ 164 h 524"/>
              <a:gd name="T100" fmla="*/ 200 w 429"/>
              <a:gd name="T101" fmla="*/ 155 h 524"/>
              <a:gd name="T102" fmla="*/ 197 w 429"/>
              <a:gd name="T103" fmla="*/ 137 h 524"/>
              <a:gd name="T104" fmla="*/ 188 w 429"/>
              <a:gd name="T105" fmla="*/ 129 h 524"/>
              <a:gd name="T106" fmla="*/ 161 w 429"/>
              <a:gd name="T107" fmla="*/ 132 h 524"/>
              <a:gd name="T108" fmla="*/ 137 w 429"/>
              <a:gd name="T109" fmla="*/ 131 h 524"/>
              <a:gd name="T110" fmla="*/ 125 w 429"/>
              <a:gd name="T111" fmla="*/ 119 h 524"/>
              <a:gd name="T112" fmla="*/ 123 w 429"/>
              <a:gd name="T113" fmla="*/ 103 h 524"/>
              <a:gd name="T114" fmla="*/ 132 w 429"/>
              <a:gd name="T115" fmla="*/ 76 h 524"/>
              <a:gd name="T116" fmla="*/ 306 w 429"/>
              <a:gd name="T117" fmla="*/ 38 h 524"/>
              <a:gd name="T118" fmla="*/ 323 w 429"/>
              <a:gd name="T119" fmla="*/ 17 h 524"/>
              <a:gd name="T120" fmla="*/ 343 w 429"/>
              <a:gd name="T121" fmla="*/ 7 h 524"/>
              <a:gd name="T122" fmla="*/ 374 w 429"/>
              <a:gd name="T123" fmla="*/ 5 h 524"/>
              <a:gd name="T124" fmla="*/ 408 w 429"/>
              <a:gd name="T125" fmla="*/ 4 h 5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46" name="Freeform 452">
            <a:extLst>
              <a:ext uri="{FF2B5EF4-FFF2-40B4-BE49-F238E27FC236}">
                <a16:creationId xmlns:a16="http://schemas.microsoft.com/office/drawing/2014/main" id="{3AAD0FD6-7C1E-41E9-86D1-D2AE623B6E4B}"/>
              </a:ext>
            </a:extLst>
          </p:cNvPr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8059445" y="2526597"/>
            <a:ext cx="122225" cy="114300"/>
          </a:xfrm>
          <a:custGeom>
            <a:avLst/>
            <a:gdLst>
              <a:gd name="T0" fmla="*/ 259 w 292"/>
              <a:gd name="T1" fmla="*/ 93 h 223"/>
              <a:gd name="T2" fmla="*/ 166 w 292"/>
              <a:gd name="T3" fmla="*/ 77 h 223"/>
              <a:gd name="T4" fmla="*/ 152 w 292"/>
              <a:gd name="T5" fmla="*/ 79 h 223"/>
              <a:gd name="T6" fmla="*/ 139 w 292"/>
              <a:gd name="T7" fmla="*/ 79 h 223"/>
              <a:gd name="T8" fmla="*/ 126 w 292"/>
              <a:gd name="T9" fmla="*/ 77 h 223"/>
              <a:gd name="T10" fmla="*/ 119 w 292"/>
              <a:gd name="T11" fmla="*/ 93 h 223"/>
              <a:gd name="T12" fmla="*/ 144 w 292"/>
              <a:gd name="T13" fmla="*/ 131 h 223"/>
              <a:gd name="T14" fmla="*/ 168 w 292"/>
              <a:gd name="T15" fmla="*/ 157 h 223"/>
              <a:gd name="T16" fmla="*/ 189 w 292"/>
              <a:gd name="T17" fmla="*/ 185 h 223"/>
              <a:gd name="T18" fmla="*/ 197 w 292"/>
              <a:gd name="T19" fmla="*/ 202 h 223"/>
              <a:gd name="T20" fmla="*/ 205 w 292"/>
              <a:gd name="T21" fmla="*/ 222 h 223"/>
              <a:gd name="T22" fmla="*/ 175 w 292"/>
              <a:gd name="T23" fmla="*/ 223 h 223"/>
              <a:gd name="T24" fmla="*/ 161 w 292"/>
              <a:gd name="T25" fmla="*/ 222 h 223"/>
              <a:gd name="T26" fmla="*/ 146 w 292"/>
              <a:gd name="T27" fmla="*/ 216 h 223"/>
              <a:gd name="T28" fmla="*/ 134 w 292"/>
              <a:gd name="T29" fmla="*/ 209 h 223"/>
              <a:gd name="T30" fmla="*/ 127 w 292"/>
              <a:gd name="T31" fmla="*/ 198 h 223"/>
              <a:gd name="T32" fmla="*/ 121 w 292"/>
              <a:gd name="T33" fmla="*/ 187 h 223"/>
              <a:gd name="T34" fmla="*/ 113 w 292"/>
              <a:gd name="T35" fmla="*/ 180 h 223"/>
              <a:gd name="T36" fmla="*/ 91 w 292"/>
              <a:gd name="T37" fmla="*/ 145 h 223"/>
              <a:gd name="T38" fmla="*/ 68 w 292"/>
              <a:gd name="T39" fmla="*/ 113 h 223"/>
              <a:gd name="T40" fmla="*/ 55 w 292"/>
              <a:gd name="T41" fmla="*/ 99 h 223"/>
              <a:gd name="T42" fmla="*/ 42 w 292"/>
              <a:gd name="T43" fmla="*/ 87 h 223"/>
              <a:gd name="T44" fmla="*/ 27 w 292"/>
              <a:gd name="T45" fmla="*/ 79 h 223"/>
              <a:gd name="T46" fmla="*/ 13 w 292"/>
              <a:gd name="T47" fmla="*/ 75 h 223"/>
              <a:gd name="T48" fmla="*/ 4 w 292"/>
              <a:gd name="T49" fmla="*/ 65 h 223"/>
              <a:gd name="T50" fmla="*/ 1 w 292"/>
              <a:gd name="T51" fmla="*/ 58 h 223"/>
              <a:gd name="T52" fmla="*/ 0 w 292"/>
              <a:gd name="T53" fmla="*/ 49 h 223"/>
              <a:gd name="T54" fmla="*/ 40 w 292"/>
              <a:gd name="T55" fmla="*/ 55 h 223"/>
              <a:gd name="T56" fmla="*/ 70 w 292"/>
              <a:gd name="T57" fmla="*/ 55 h 223"/>
              <a:gd name="T58" fmla="*/ 91 w 292"/>
              <a:gd name="T59" fmla="*/ 50 h 223"/>
              <a:gd name="T60" fmla="*/ 106 w 292"/>
              <a:gd name="T61" fmla="*/ 41 h 223"/>
              <a:gd name="T62" fmla="*/ 127 w 292"/>
              <a:gd name="T63" fmla="*/ 20 h 223"/>
              <a:gd name="T64" fmla="*/ 138 w 292"/>
              <a:gd name="T65" fmla="*/ 9 h 223"/>
              <a:gd name="T66" fmla="*/ 152 w 292"/>
              <a:gd name="T67" fmla="*/ 0 h 223"/>
              <a:gd name="T68" fmla="*/ 172 w 292"/>
              <a:gd name="T69" fmla="*/ 14 h 223"/>
              <a:gd name="T70" fmla="*/ 194 w 292"/>
              <a:gd name="T71" fmla="*/ 26 h 223"/>
              <a:gd name="T72" fmla="*/ 218 w 292"/>
              <a:gd name="T73" fmla="*/ 34 h 223"/>
              <a:gd name="T74" fmla="*/ 246 w 292"/>
              <a:gd name="T75" fmla="*/ 37 h 223"/>
              <a:gd name="T76" fmla="*/ 262 w 292"/>
              <a:gd name="T77" fmla="*/ 34 h 223"/>
              <a:gd name="T78" fmla="*/ 279 w 292"/>
              <a:gd name="T79" fmla="*/ 31 h 223"/>
              <a:gd name="T80" fmla="*/ 285 w 292"/>
              <a:gd name="T81" fmla="*/ 47 h 223"/>
              <a:gd name="T82" fmla="*/ 287 w 292"/>
              <a:gd name="T83" fmla="*/ 49 h 223"/>
              <a:gd name="T84" fmla="*/ 292 w 292"/>
              <a:gd name="T85" fmla="*/ 69 h 2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7" name="Freeform 453">
            <a:extLst>
              <a:ext uri="{FF2B5EF4-FFF2-40B4-BE49-F238E27FC236}">
                <a16:creationId xmlns:a16="http://schemas.microsoft.com/office/drawing/2014/main" id="{32C5B99A-70BE-4ADE-AFFB-452EB4BF68A3}"/>
              </a:ext>
            </a:extLst>
          </p:cNvPr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8012083" y="2385309"/>
            <a:ext cx="161948" cy="77788"/>
          </a:xfrm>
          <a:custGeom>
            <a:avLst/>
            <a:gdLst>
              <a:gd name="T0" fmla="*/ 375 w 379"/>
              <a:gd name="T1" fmla="*/ 94 h 147"/>
              <a:gd name="T2" fmla="*/ 360 w 379"/>
              <a:gd name="T3" fmla="*/ 101 h 147"/>
              <a:gd name="T4" fmla="*/ 354 w 379"/>
              <a:gd name="T5" fmla="*/ 108 h 147"/>
              <a:gd name="T6" fmla="*/ 347 w 379"/>
              <a:gd name="T7" fmla="*/ 117 h 147"/>
              <a:gd name="T8" fmla="*/ 333 w 379"/>
              <a:gd name="T9" fmla="*/ 127 h 147"/>
              <a:gd name="T10" fmla="*/ 320 w 379"/>
              <a:gd name="T11" fmla="*/ 131 h 147"/>
              <a:gd name="T12" fmla="*/ 311 w 379"/>
              <a:gd name="T13" fmla="*/ 132 h 147"/>
              <a:gd name="T14" fmla="*/ 301 w 379"/>
              <a:gd name="T15" fmla="*/ 130 h 147"/>
              <a:gd name="T16" fmla="*/ 291 w 379"/>
              <a:gd name="T17" fmla="*/ 126 h 147"/>
              <a:gd name="T18" fmla="*/ 281 w 379"/>
              <a:gd name="T19" fmla="*/ 119 h 147"/>
              <a:gd name="T20" fmla="*/ 275 w 379"/>
              <a:gd name="T21" fmla="*/ 116 h 147"/>
              <a:gd name="T22" fmla="*/ 269 w 379"/>
              <a:gd name="T23" fmla="*/ 118 h 147"/>
              <a:gd name="T24" fmla="*/ 267 w 379"/>
              <a:gd name="T25" fmla="*/ 123 h 147"/>
              <a:gd name="T26" fmla="*/ 266 w 379"/>
              <a:gd name="T27" fmla="*/ 140 h 147"/>
              <a:gd name="T28" fmla="*/ 257 w 379"/>
              <a:gd name="T29" fmla="*/ 145 h 147"/>
              <a:gd name="T30" fmla="*/ 244 w 379"/>
              <a:gd name="T31" fmla="*/ 140 h 147"/>
              <a:gd name="T32" fmla="*/ 229 w 379"/>
              <a:gd name="T33" fmla="*/ 131 h 147"/>
              <a:gd name="T34" fmla="*/ 113 w 379"/>
              <a:gd name="T35" fmla="*/ 141 h 147"/>
              <a:gd name="T36" fmla="*/ 80 w 379"/>
              <a:gd name="T37" fmla="*/ 124 h 147"/>
              <a:gd name="T38" fmla="*/ 58 w 379"/>
              <a:gd name="T39" fmla="*/ 109 h 147"/>
              <a:gd name="T40" fmla="*/ 45 w 379"/>
              <a:gd name="T41" fmla="*/ 94 h 147"/>
              <a:gd name="T42" fmla="*/ 37 w 379"/>
              <a:gd name="T43" fmla="*/ 82 h 147"/>
              <a:gd name="T44" fmla="*/ 26 w 379"/>
              <a:gd name="T45" fmla="*/ 59 h 147"/>
              <a:gd name="T46" fmla="*/ 16 w 379"/>
              <a:gd name="T47" fmla="*/ 48 h 147"/>
              <a:gd name="T48" fmla="*/ 0 w 379"/>
              <a:gd name="T49" fmla="*/ 36 h 147"/>
              <a:gd name="T50" fmla="*/ 29 w 379"/>
              <a:gd name="T51" fmla="*/ 40 h 147"/>
              <a:gd name="T52" fmla="*/ 52 w 379"/>
              <a:gd name="T53" fmla="*/ 38 h 147"/>
              <a:gd name="T54" fmla="*/ 72 w 379"/>
              <a:gd name="T55" fmla="*/ 33 h 147"/>
              <a:gd name="T56" fmla="*/ 87 w 379"/>
              <a:gd name="T57" fmla="*/ 25 h 147"/>
              <a:gd name="T58" fmla="*/ 119 w 379"/>
              <a:gd name="T59" fmla="*/ 8 h 147"/>
              <a:gd name="T60" fmla="*/ 138 w 379"/>
              <a:gd name="T61" fmla="*/ 2 h 147"/>
              <a:gd name="T62" fmla="*/ 159 w 379"/>
              <a:gd name="T63" fmla="*/ 0 h 147"/>
              <a:gd name="T64" fmla="*/ 200 w 379"/>
              <a:gd name="T65" fmla="*/ 23 h 147"/>
              <a:gd name="T66" fmla="*/ 244 w 379"/>
              <a:gd name="T67" fmla="*/ 45 h 147"/>
              <a:gd name="T68" fmla="*/ 292 w 379"/>
              <a:gd name="T69" fmla="*/ 67 h 147"/>
              <a:gd name="T70" fmla="*/ 333 w 379"/>
              <a:gd name="T71" fmla="*/ 80 h 147"/>
              <a:gd name="T72" fmla="*/ 354 w 379"/>
              <a:gd name="T73" fmla="*/ 86 h 147"/>
              <a:gd name="T74" fmla="*/ 379 w 379"/>
              <a:gd name="T75" fmla="*/ 92 h 14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8" name="Freeform 454">
            <a:extLst>
              <a:ext uri="{FF2B5EF4-FFF2-40B4-BE49-F238E27FC236}">
                <a16:creationId xmlns:a16="http://schemas.microsoft.com/office/drawing/2014/main" id="{654D643F-F4F0-414B-84F4-F872E0537D93}"/>
              </a:ext>
            </a:extLst>
          </p:cNvPr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7976943" y="2240848"/>
            <a:ext cx="29028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9 h 67"/>
              <a:gd name="T4" fmla="*/ 0 w 61"/>
              <a:gd name="T5" fmla="*/ 18 h 67"/>
              <a:gd name="T6" fmla="*/ 1 w 61"/>
              <a:gd name="T7" fmla="*/ 24 h 67"/>
              <a:gd name="T8" fmla="*/ 2 w 61"/>
              <a:gd name="T9" fmla="*/ 30 h 67"/>
              <a:gd name="T10" fmla="*/ 3 w 61"/>
              <a:gd name="T11" fmla="*/ 36 h 67"/>
              <a:gd name="T12" fmla="*/ 6 w 61"/>
              <a:gd name="T13" fmla="*/ 42 h 67"/>
              <a:gd name="T14" fmla="*/ 12 w 61"/>
              <a:gd name="T15" fmla="*/ 55 h 67"/>
              <a:gd name="T16" fmla="*/ 21 w 61"/>
              <a:gd name="T17" fmla="*/ 67 h 67"/>
              <a:gd name="T18" fmla="*/ 28 w 61"/>
              <a:gd name="T19" fmla="*/ 65 h 67"/>
              <a:gd name="T20" fmla="*/ 35 w 61"/>
              <a:gd name="T21" fmla="*/ 61 h 67"/>
              <a:gd name="T22" fmla="*/ 42 w 61"/>
              <a:gd name="T23" fmla="*/ 58 h 67"/>
              <a:gd name="T24" fmla="*/ 48 w 61"/>
              <a:gd name="T25" fmla="*/ 53 h 67"/>
              <a:gd name="T26" fmla="*/ 53 w 61"/>
              <a:gd name="T27" fmla="*/ 47 h 67"/>
              <a:gd name="T28" fmla="*/ 57 w 61"/>
              <a:gd name="T29" fmla="*/ 40 h 67"/>
              <a:gd name="T30" fmla="*/ 59 w 61"/>
              <a:gd name="T31" fmla="*/ 32 h 67"/>
              <a:gd name="T32" fmla="*/ 61 w 61"/>
              <a:gd name="T33" fmla="*/ 24 h 67"/>
              <a:gd name="T34" fmla="*/ 53 w 61"/>
              <a:gd name="T35" fmla="*/ 14 h 67"/>
              <a:gd name="T36" fmla="*/ 41 w 61"/>
              <a:gd name="T37" fmla="*/ 0 h 67"/>
              <a:gd name="T38" fmla="*/ 28 w 61"/>
              <a:gd name="T39" fmla="*/ 3 h 67"/>
              <a:gd name="T40" fmla="*/ 18 w 61"/>
              <a:gd name="T41" fmla="*/ 4 h 67"/>
              <a:gd name="T42" fmla="*/ 13 w 61"/>
              <a:gd name="T43" fmla="*/ 4 h 67"/>
              <a:gd name="T44" fmla="*/ 10 w 61"/>
              <a:gd name="T45" fmla="*/ 3 h 67"/>
              <a:gd name="T46" fmla="*/ 6 w 61"/>
              <a:gd name="T47" fmla="*/ 2 h 67"/>
              <a:gd name="T48" fmla="*/ 0 w 61"/>
              <a:gd name="T49" fmla="*/ 0 h 6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49" name="Freeform 455">
            <a:extLst>
              <a:ext uri="{FF2B5EF4-FFF2-40B4-BE49-F238E27FC236}">
                <a16:creationId xmlns:a16="http://schemas.microsoft.com/office/drawing/2014/main" id="{ED95A1D7-9695-4EF4-997A-CFB5D4C2FC70}"/>
              </a:ext>
            </a:extLst>
          </p:cNvPr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7949443" y="2245609"/>
            <a:ext cx="24445" cy="58738"/>
          </a:xfrm>
          <a:custGeom>
            <a:avLst/>
            <a:gdLst>
              <a:gd name="T0" fmla="*/ 0 w 60"/>
              <a:gd name="T1" fmla="*/ 6 h 55"/>
              <a:gd name="T2" fmla="*/ 0 w 60"/>
              <a:gd name="T3" fmla="*/ 24 h 55"/>
              <a:gd name="T4" fmla="*/ 5 w 60"/>
              <a:gd name="T5" fmla="*/ 32 h 55"/>
              <a:gd name="T6" fmla="*/ 10 w 60"/>
              <a:gd name="T7" fmla="*/ 40 h 55"/>
              <a:gd name="T8" fmla="*/ 16 w 60"/>
              <a:gd name="T9" fmla="*/ 45 h 55"/>
              <a:gd name="T10" fmla="*/ 21 w 60"/>
              <a:gd name="T11" fmla="*/ 49 h 55"/>
              <a:gd name="T12" fmla="*/ 27 w 60"/>
              <a:gd name="T13" fmla="*/ 52 h 55"/>
              <a:gd name="T14" fmla="*/ 33 w 60"/>
              <a:gd name="T15" fmla="*/ 54 h 55"/>
              <a:gd name="T16" fmla="*/ 40 w 60"/>
              <a:gd name="T17" fmla="*/ 55 h 55"/>
              <a:gd name="T18" fmla="*/ 46 w 60"/>
              <a:gd name="T19" fmla="*/ 55 h 55"/>
              <a:gd name="T20" fmla="*/ 53 w 60"/>
              <a:gd name="T21" fmla="*/ 52 h 55"/>
              <a:gd name="T22" fmla="*/ 60 w 60"/>
              <a:gd name="T23" fmla="*/ 49 h 55"/>
              <a:gd name="T24" fmla="*/ 50 w 60"/>
              <a:gd name="T25" fmla="*/ 34 h 55"/>
              <a:gd name="T26" fmla="*/ 42 w 60"/>
              <a:gd name="T27" fmla="*/ 22 h 55"/>
              <a:gd name="T28" fmla="*/ 39 w 60"/>
              <a:gd name="T29" fmla="*/ 17 h 55"/>
              <a:gd name="T30" fmla="*/ 35 w 60"/>
              <a:gd name="T31" fmla="*/ 12 h 55"/>
              <a:gd name="T32" fmla="*/ 34 w 60"/>
              <a:gd name="T33" fmla="*/ 6 h 55"/>
              <a:gd name="T34" fmla="*/ 33 w 60"/>
              <a:gd name="T35" fmla="*/ 0 h 55"/>
              <a:gd name="T36" fmla="*/ 23 w 60"/>
              <a:gd name="T37" fmla="*/ 1 h 55"/>
              <a:gd name="T38" fmla="*/ 15 w 60"/>
              <a:gd name="T39" fmla="*/ 3 h 55"/>
              <a:gd name="T40" fmla="*/ 7 w 60"/>
              <a:gd name="T41" fmla="*/ 5 h 55"/>
              <a:gd name="T42" fmla="*/ 0 w 60"/>
              <a:gd name="T43" fmla="*/ 6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50" name="Freeform 456">
            <a:extLst>
              <a:ext uri="{FF2B5EF4-FFF2-40B4-BE49-F238E27FC236}">
                <a16:creationId xmlns:a16="http://schemas.microsoft.com/office/drawing/2014/main" id="{E0A33AEC-1F0A-4909-857F-7D68D6E6DD86}"/>
              </a:ext>
            </a:extLst>
          </p:cNvPr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7920414" y="2191634"/>
            <a:ext cx="50418" cy="77788"/>
          </a:xfrm>
          <a:custGeom>
            <a:avLst/>
            <a:gdLst>
              <a:gd name="T0" fmla="*/ 74 w 120"/>
              <a:gd name="T1" fmla="*/ 129 h 148"/>
              <a:gd name="T2" fmla="*/ 70 w 120"/>
              <a:gd name="T3" fmla="*/ 131 h 148"/>
              <a:gd name="T4" fmla="*/ 67 w 120"/>
              <a:gd name="T5" fmla="*/ 132 h 148"/>
              <a:gd name="T6" fmla="*/ 64 w 120"/>
              <a:gd name="T7" fmla="*/ 133 h 148"/>
              <a:gd name="T8" fmla="*/ 60 w 120"/>
              <a:gd name="T9" fmla="*/ 133 h 148"/>
              <a:gd name="T10" fmla="*/ 56 w 120"/>
              <a:gd name="T11" fmla="*/ 133 h 148"/>
              <a:gd name="T12" fmla="*/ 53 w 120"/>
              <a:gd name="T13" fmla="*/ 132 h 148"/>
              <a:gd name="T14" fmla="*/ 50 w 120"/>
              <a:gd name="T15" fmla="*/ 131 h 148"/>
              <a:gd name="T16" fmla="*/ 47 w 120"/>
              <a:gd name="T17" fmla="*/ 129 h 148"/>
              <a:gd name="T18" fmla="*/ 41 w 120"/>
              <a:gd name="T19" fmla="*/ 128 h 148"/>
              <a:gd name="T20" fmla="*/ 34 w 120"/>
              <a:gd name="T21" fmla="*/ 125 h 148"/>
              <a:gd name="T22" fmla="*/ 26 w 120"/>
              <a:gd name="T23" fmla="*/ 120 h 148"/>
              <a:gd name="T24" fmla="*/ 19 w 120"/>
              <a:gd name="T25" fmla="*/ 115 h 148"/>
              <a:gd name="T26" fmla="*/ 11 w 120"/>
              <a:gd name="T27" fmla="*/ 108 h 148"/>
              <a:gd name="T28" fmla="*/ 6 w 120"/>
              <a:gd name="T29" fmla="*/ 101 h 148"/>
              <a:gd name="T30" fmla="*/ 3 w 120"/>
              <a:gd name="T31" fmla="*/ 97 h 148"/>
              <a:gd name="T32" fmla="*/ 2 w 120"/>
              <a:gd name="T33" fmla="*/ 94 h 148"/>
              <a:gd name="T34" fmla="*/ 1 w 120"/>
              <a:gd name="T35" fmla="*/ 90 h 148"/>
              <a:gd name="T36" fmla="*/ 0 w 120"/>
              <a:gd name="T37" fmla="*/ 87 h 148"/>
              <a:gd name="T38" fmla="*/ 2 w 120"/>
              <a:gd name="T39" fmla="*/ 73 h 148"/>
              <a:gd name="T40" fmla="*/ 8 w 120"/>
              <a:gd name="T41" fmla="*/ 55 h 148"/>
              <a:gd name="T42" fmla="*/ 14 w 120"/>
              <a:gd name="T43" fmla="*/ 35 h 148"/>
              <a:gd name="T44" fmla="*/ 20 w 120"/>
              <a:gd name="T45" fmla="*/ 18 h 148"/>
              <a:gd name="T46" fmla="*/ 32 w 120"/>
              <a:gd name="T47" fmla="*/ 17 h 148"/>
              <a:gd name="T48" fmla="*/ 42 w 120"/>
              <a:gd name="T49" fmla="*/ 16 h 148"/>
              <a:gd name="T50" fmla="*/ 51 w 120"/>
              <a:gd name="T51" fmla="*/ 14 h 148"/>
              <a:gd name="T52" fmla="*/ 58 w 120"/>
              <a:gd name="T53" fmla="*/ 11 h 148"/>
              <a:gd name="T54" fmla="*/ 70 w 120"/>
              <a:gd name="T55" fmla="*/ 5 h 148"/>
              <a:gd name="T56" fmla="*/ 80 w 120"/>
              <a:gd name="T57" fmla="*/ 0 h 148"/>
              <a:gd name="T58" fmla="*/ 85 w 120"/>
              <a:gd name="T59" fmla="*/ 2 h 148"/>
              <a:gd name="T60" fmla="*/ 93 w 120"/>
              <a:gd name="T61" fmla="*/ 7 h 148"/>
              <a:gd name="T62" fmla="*/ 98 w 120"/>
              <a:gd name="T63" fmla="*/ 10 h 148"/>
              <a:gd name="T64" fmla="*/ 102 w 120"/>
              <a:gd name="T65" fmla="*/ 13 h 148"/>
              <a:gd name="T66" fmla="*/ 106 w 120"/>
              <a:gd name="T67" fmla="*/ 16 h 148"/>
              <a:gd name="T68" fmla="*/ 107 w 120"/>
              <a:gd name="T69" fmla="*/ 18 h 148"/>
              <a:gd name="T70" fmla="*/ 100 w 120"/>
              <a:gd name="T71" fmla="*/ 28 h 148"/>
              <a:gd name="T72" fmla="*/ 93 w 120"/>
              <a:gd name="T73" fmla="*/ 37 h 148"/>
              <a:gd name="T74" fmla="*/ 95 w 120"/>
              <a:gd name="T75" fmla="*/ 42 h 148"/>
              <a:gd name="T76" fmla="*/ 98 w 120"/>
              <a:gd name="T77" fmla="*/ 49 h 148"/>
              <a:gd name="T78" fmla="*/ 102 w 120"/>
              <a:gd name="T79" fmla="*/ 56 h 148"/>
              <a:gd name="T80" fmla="*/ 107 w 120"/>
              <a:gd name="T81" fmla="*/ 63 h 148"/>
              <a:gd name="T82" fmla="*/ 115 w 120"/>
              <a:gd name="T83" fmla="*/ 75 h 148"/>
              <a:gd name="T84" fmla="*/ 120 w 120"/>
              <a:gd name="T85" fmla="*/ 79 h 148"/>
              <a:gd name="T86" fmla="*/ 113 w 120"/>
              <a:gd name="T87" fmla="*/ 81 h 148"/>
              <a:gd name="T88" fmla="*/ 107 w 120"/>
              <a:gd name="T89" fmla="*/ 84 h 148"/>
              <a:gd name="T90" fmla="*/ 100 w 120"/>
              <a:gd name="T91" fmla="*/ 87 h 148"/>
              <a:gd name="T92" fmla="*/ 96 w 120"/>
              <a:gd name="T93" fmla="*/ 91 h 148"/>
              <a:gd name="T94" fmla="*/ 90 w 120"/>
              <a:gd name="T95" fmla="*/ 95 h 148"/>
              <a:gd name="T96" fmla="*/ 87 w 120"/>
              <a:gd name="T97" fmla="*/ 99 h 148"/>
              <a:gd name="T98" fmla="*/ 82 w 120"/>
              <a:gd name="T99" fmla="*/ 104 h 148"/>
              <a:gd name="T100" fmla="*/ 80 w 120"/>
              <a:gd name="T101" fmla="*/ 109 h 148"/>
              <a:gd name="T102" fmla="*/ 78 w 120"/>
              <a:gd name="T103" fmla="*/ 114 h 148"/>
              <a:gd name="T104" fmla="*/ 77 w 120"/>
              <a:gd name="T105" fmla="*/ 120 h 148"/>
              <a:gd name="T106" fmla="*/ 76 w 120"/>
              <a:gd name="T107" fmla="*/ 125 h 148"/>
              <a:gd name="T108" fmla="*/ 75 w 120"/>
              <a:gd name="T109" fmla="*/ 130 h 148"/>
              <a:gd name="T110" fmla="*/ 76 w 120"/>
              <a:gd name="T111" fmla="*/ 135 h 148"/>
              <a:gd name="T112" fmla="*/ 77 w 120"/>
              <a:gd name="T113" fmla="*/ 140 h 148"/>
              <a:gd name="T114" fmla="*/ 78 w 120"/>
              <a:gd name="T115" fmla="*/ 144 h 148"/>
              <a:gd name="T116" fmla="*/ 80 w 120"/>
              <a:gd name="T117" fmla="*/ 148 h 148"/>
              <a:gd name="T118" fmla="*/ 74 w 120"/>
              <a:gd name="T119" fmla="*/ 129 h 1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1" name="Freeform 457">
            <a:extLst>
              <a:ext uri="{FF2B5EF4-FFF2-40B4-BE49-F238E27FC236}">
                <a16:creationId xmlns:a16="http://schemas.microsoft.com/office/drawing/2014/main" id="{47AAB26D-D7C6-4BEF-949B-BD86F8CE733D}"/>
              </a:ext>
            </a:extLst>
          </p:cNvPr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8335978" y="2996498"/>
            <a:ext cx="262784" cy="307975"/>
          </a:xfrm>
          <a:custGeom>
            <a:avLst/>
            <a:gdLst>
              <a:gd name="T0" fmla="*/ 21 w 631"/>
              <a:gd name="T1" fmla="*/ 2 h 592"/>
              <a:gd name="T2" fmla="*/ 32 w 631"/>
              <a:gd name="T3" fmla="*/ 4 h 592"/>
              <a:gd name="T4" fmla="*/ 54 w 631"/>
              <a:gd name="T5" fmla="*/ 8 h 592"/>
              <a:gd name="T6" fmla="*/ 78 w 631"/>
              <a:gd name="T7" fmla="*/ 11 h 592"/>
              <a:gd name="T8" fmla="*/ 104 w 631"/>
              <a:gd name="T9" fmla="*/ 19 h 592"/>
              <a:gd name="T10" fmla="*/ 130 w 631"/>
              <a:gd name="T11" fmla="*/ 32 h 592"/>
              <a:gd name="T12" fmla="*/ 146 w 631"/>
              <a:gd name="T13" fmla="*/ 40 h 592"/>
              <a:gd name="T14" fmla="*/ 159 w 631"/>
              <a:gd name="T15" fmla="*/ 43 h 592"/>
              <a:gd name="T16" fmla="*/ 189 w 631"/>
              <a:gd name="T17" fmla="*/ 43 h 592"/>
              <a:gd name="T18" fmla="*/ 227 w 631"/>
              <a:gd name="T19" fmla="*/ 37 h 592"/>
              <a:gd name="T20" fmla="*/ 277 w 631"/>
              <a:gd name="T21" fmla="*/ 23 h 592"/>
              <a:gd name="T22" fmla="*/ 399 w 631"/>
              <a:gd name="T23" fmla="*/ 38 h 592"/>
              <a:gd name="T24" fmla="*/ 403 w 631"/>
              <a:gd name="T25" fmla="*/ 69 h 592"/>
              <a:gd name="T26" fmla="*/ 410 w 631"/>
              <a:gd name="T27" fmla="*/ 95 h 592"/>
              <a:gd name="T28" fmla="*/ 417 w 631"/>
              <a:gd name="T29" fmla="*/ 119 h 592"/>
              <a:gd name="T30" fmla="*/ 427 w 631"/>
              <a:gd name="T31" fmla="*/ 140 h 592"/>
              <a:gd name="T32" fmla="*/ 450 w 631"/>
              <a:gd name="T33" fmla="*/ 175 h 592"/>
              <a:gd name="T34" fmla="*/ 472 w 631"/>
              <a:gd name="T35" fmla="*/ 204 h 592"/>
              <a:gd name="T36" fmla="*/ 482 w 631"/>
              <a:gd name="T37" fmla="*/ 222 h 592"/>
              <a:gd name="T38" fmla="*/ 485 w 631"/>
              <a:gd name="T39" fmla="*/ 240 h 592"/>
              <a:gd name="T40" fmla="*/ 491 w 631"/>
              <a:gd name="T41" fmla="*/ 255 h 592"/>
              <a:gd name="T42" fmla="*/ 496 w 631"/>
              <a:gd name="T43" fmla="*/ 261 h 592"/>
              <a:gd name="T44" fmla="*/ 505 w 631"/>
              <a:gd name="T45" fmla="*/ 266 h 592"/>
              <a:gd name="T46" fmla="*/ 513 w 631"/>
              <a:gd name="T47" fmla="*/ 270 h 592"/>
              <a:gd name="T48" fmla="*/ 519 w 631"/>
              <a:gd name="T49" fmla="*/ 278 h 592"/>
              <a:gd name="T50" fmla="*/ 533 w 631"/>
              <a:gd name="T51" fmla="*/ 303 h 592"/>
              <a:gd name="T52" fmla="*/ 541 w 631"/>
              <a:gd name="T53" fmla="*/ 331 h 592"/>
              <a:gd name="T54" fmla="*/ 545 w 631"/>
              <a:gd name="T55" fmla="*/ 358 h 592"/>
              <a:gd name="T56" fmla="*/ 548 w 631"/>
              <a:gd name="T57" fmla="*/ 368 h 592"/>
              <a:gd name="T58" fmla="*/ 557 w 631"/>
              <a:gd name="T59" fmla="*/ 381 h 592"/>
              <a:gd name="T60" fmla="*/ 583 w 631"/>
              <a:gd name="T61" fmla="*/ 415 h 592"/>
              <a:gd name="T62" fmla="*/ 612 w 631"/>
              <a:gd name="T63" fmla="*/ 447 h 592"/>
              <a:gd name="T64" fmla="*/ 631 w 631"/>
              <a:gd name="T65" fmla="*/ 463 h 592"/>
              <a:gd name="T66" fmla="*/ 612 w 631"/>
              <a:gd name="T67" fmla="*/ 481 h 592"/>
              <a:gd name="T68" fmla="*/ 624 w 631"/>
              <a:gd name="T69" fmla="*/ 496 h 592"/>
              <a:gd name="T70" fmla="*/ 626 w 631"/>
              <a:gd name="T71" fmla="*/ 507 h 592"/>
              <a:gd name="T72" fmla="*/ 626 w 631"/>
              <a:gd name="T73" fmla="*/ 516 h 592"/>
              <a:gd name="T74" fmla="*/ 631 w 631"/>
              <a:gd name="T75" fmla="*/ 531 h 592"/>
              <a:gd name="T76" fmla="*/ 626 w 631"/>
              <a:gd name="T77" fmla="*/ 539 h 592"/>
              <a:gd name="T78" fmla="*/ 617 w 631"/>
              <a:gd name="T79" fmla="*/ 548 h 592"/>
              <a:gd name="T80" fmla="*/ 592 w 631"/>
              <a:gd name="T81" fmla="*/ 569 h 592"/>
              <a:gd name="T82" fmla="*/ 558 w 631"/>
              <a:gd name="T83" fmla="*/ 592 h 592"/>
              <a:gd name="T84" fmla="*/ 46 w 631"/>
              <a:gd name="T85" fmla="*/ 174 h 592"/>
              <a:gd name="T86" fmla="*/ 25 w 631"/>
              <a:gd name="T87" fmla="*/ 157 h 592"/>
              <a:gd name="T88" fmla="*/ 11 w 631"/>
              <a:gd name="T89" fmla="*/ 138 h 592"/>
              <a:gd name="T90" fmla="*/ 2 w 631"/>
              <a:gd name="T91" fmla="*/ 117 h 592"/>
              <a:gd name="T92" fmla="*/ 0 w 631"/>
              <a:gd name="T93" fmla="*/ 93 h 592"/>
              <a:gd name="T94" fmla="*/ 3 w 631"/>
              <a:gd name="T95" fmla="*/ 89 h 592"/>
              <a:gd name="T96" fmla="*/ 10 w 631"/>
              <a:gd name="T97" fmla="*/ 83 h 592"/>
              <a:gd name="T98" fmla="*/ 17 w 631"/>
              <a:gd name="T99" fmla="*/ 77 h 592"/>
              <a:gd name="T100" fmla="*/ 20 w 631"/>
              <a:gd name="T101" fmla="*/ 69 h 592"/>
              <a:gd name="T102" fmla="*/ 18 w 631"/>
              <a:gd name="T103" fmla="*/ 53 h 592"/>
              <a:gd name="T104" fmla="*/ 13 w 631"/>
              <a:gd name="T105" fmla="*/ 42 h 592"/>
              <a:gd name="T106" fmla="*/ 9 w 631"/>
              <a:gd name="T107" fmla="*/ 34 h 592"/>
              <a:gd name="T108" fmla="*/ 7 w 631"/>
              <a:gd name="T109" fmla="*/ 26 h 592"/>
              <a:gd name="T110" fmla="*/ 13 w 631"/>
              <a:gd name="T111" fmla="*/ 0 h 5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US"/>
          </a:p>
        </p:txBody>
      </p:sp>
      <p:sp>
        <p:nvSpPr>
          <p:cNvPr id="452" name="Freeform 458">
            <a:extLst>
              <a:ext uri="{FF2B5EF4-FFF2-40B4-BE49-F238E27FC236}">
                <a16:creationId xmlns:a16="http://schemas.microsoft.com/office/drawing/2014/main" id="{5CFBCEFF-DBD9-4E85-A83A-B28813A57AB3}"/>
              </a:ext>
            </a:extLst>
          </p:cNvPr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7946387" y="2631372"/>
            <a:ext cx="16805" cy="57150"/>
          </a:xfrm>
          <a:custGeom>
            <a:avLst/>
            <a:gdLst>
              <a:gd name="T0" fmla="*/ 7 w 40"/>
              <a:gd name="T1" fmla="*/ 31 h 93"/>
              <a:gd name="T2" fmla="*/ 10 w 40"/>
              <a:gd name="T3" fmla="*/ 30 h 93"/>
              <a:gd name="T4" fmla="*/ 14 w 40"/>
              <a:gd name="T5" fmla="*/ 26 h 93"/>
              <a:gd name="T6" fmla="*/ 20 w 40"/>
              <a:gd name="T7" fmla="*/ 20 h 93"/>
              <a:gd name="T8" fmla="*/ 25 w 40"/>
              <a:gd name="T9" fmla="*/ 15 h 93"/>
              <a:gd name="T10" fmla="*/ 35 w 40"/>
              <a:gd name="T11" fmla="*/ 4 h 93"/>
              <a:gd name="T12" fmla="*/ 40 w 40"/>
              <a:gd name="T13" fmla="*/ 0 h 93"/>
              <a:gd name="T14" fmla="*/ 37 w 40"/>
              <a:gd name="T15" fmla="*/ 26 h 93"/>
              <a:gd name="T16" fmla="*/ 35 w 40"/>
              <a:gd name="T17" fmla="*/ 53 h 93"/>
              <a:gd name="T18" fmla="*/ 34 w 40"/>
              <a:gd name="T19" fmla="*/ 65 h 93"/>
              <a:gd name="T20" fmla="*/ 34 w 40"/>
              <a:gd name="T21" fmla="*/ 77 h 93"/>
              <a:gd name="T22" fmla="*/ 35 w 40"/>
              <a:gd name="T23" fmla="*/ 82 h 93"/>
              <a:gd name="T24" fmla="*/ 36 w 40"/>
              <a:gd name="T25" fmla="*/ 86 h 93"/>
              <a:gd name="T26" fmla="*/ 37 w 40"/>
              <a:gd name="T27" fmla="*/ 90 h 93"/>
              <a:gd name="T28" fmla="*/ 40 w 40"/>
              <a:gd name="T29" fmla="*/ 93 h 93"/>
              <a:gd name="T30" fmla="*/ 26 w 40"/>
              <a:gd name="T31" fmla="*/ 93 h 93"/>
              <a:gd name="T32" fmla="*/ 13 w 40"/>
              <a:gd name="T33" fmla="*/ 93 h 93"/>
              <a:gd name="T34" fmla="*/ 11 w 40"/>
              <a:gd name="T35" fmla="*/ 92 h 93"/>
              <a:gd name="T36" fmla="*/ 8 w 40"/>
              <a:gd name="T37" fmla="*/ 91 h 93"/>
              <a:gd name="T38" fmla="*/ 6 w 40"/>
              <a:gd name="T39" fmla="*/ 88 h 93"/>
              <a:gd name="T40" fmla="*/ 4 w 40"/>
              <a:gd name="T41" fmla="*/ 86 h 93"/>
              <a:gd name="T42" fmla="*/ 1 w 40"/>
              <a:gd name="T43" fmla="*/ 80 h 93"/>
              <a:gd name="T44" fmla="*/ 0 w 40"/>
              <a:gd name="T45" fmla="*/ 73 h 93"/>
              <a:gd name="T46" fmla="*/ 1 w 40"/>
              <a:gd name="T47" fmla="*/ 64 h 93"/>
              <a:gd name="T48" fmla="*/ 3 w 40"/>
              <a:gd name="T49" fmla="*/ 50 h 93"/>
              <a:gd name="T50" fmla="*/ 6 w 40"/>
              <a:gd name="T51" fmla="*/ 37 h 93"/>
              <a:gd name="T52" fmla="*/ 7 w 40"/>
              <a:gd name="T53" fmla="*/ 31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3" name="Freeform 459">
            <a:extLst>
              <a:ext uri="{FF2B5EF4-FFF2-40B4-BE49-F238E27FC236}">
                <a16:creationId xmlns:a16="http://schemas.microsoft.com/office/drawing/2014/main" id="{F6471B0A-BA00-46AB-B2FD-1932CA66F0F6}"/>
              </a:ext>
            </a:extLst>
          </p:cNvPr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7599574" y="2382134"/>
            <a:ext cx="284173" cy="273050"/>
          </a:xfrm>
          <a:custGeom>
            <a:avLst/>
            <a:gdLst>
              <a:gd name="T0" fmla="*/ 149 w 664"/>
              <a:gd name="T1" fmla="*/ 445 h 518"/>
              <a:gd name="T2" fmla="*/ 151 w 664"/>
              <a:gd name="T3" fmla="*/ 431 h 518"/>
              <a:gd name="T4" fmla="*/ 146 w 664"/>
              <a:gd name="T5" fmla="*/ 400 h 518"/>
              <a:gd name="T6" fmla="*/ 151 w 664"/>
              <a:gd name="T7" fmla="*/ 353 h 518"/>
              <a:gd name="T8" fmla="*/ 146 w 664"/>
              <a:gd name="T9" fmla="*/ 298 h 518"/>
              <a:gd name="T10" fmla="*/ 134 w 664"/>
              <a:gd name="T11" fmla="*/ 251 h 518"/>
              <a:gd name="T12" fmla="*/ 109 w 664"/>
              <a:gd name="T13" fmla="*/ 241 h 518"/>
              <a:gd name="T14" fmla="*/ 20 w 664"/>
              <a:gd name="T15" fmla="*/ 192 h 518"/>
              <a:gd name="T16" fmla="*/ 24 w 664"/>
              <a:gd name="T17" fmla="*/ 171 h 518"/>
              <a:gd name="T18" fmla="*/ 36 w 664"/>
              <a:gd name="T19" fmla="*/ 159 h 518"/>
              <a:gd name="T20" fmla="*/ 48 w 664"/>
              <a:gd name="T21" fmla="*/ 148 h 518"/>
              <a:gd name="T22" fmla="*/ 100 w 664"/>
              <a:gd name="T23" fmla="*/ 155 h 518"/>
              <a:gd name="T24" fmla="*/ 125 w 664"/>
              <a:gd name="T25" fmla="*/ 152 h 518"/>
              <a:gd name="T26" fmla="*/ 147 w 664"/>
              <a:gd name="T27" fmla="*/ 157 h 518"/>
              <a:gd name="T28" fmla="*/ 165 w 664"/>
              <a:gd name="T29" fmla="*/ 94 h 518"/>
              <a:gd name="T30" fmla="*/ 185 w 664"/>
              <a:gd name="T31" fmla="*/ 109 h 518"/>
              <a:gd name="T32" fmla="*/ 207 w 664"/>
              <a:gd name="T33" fmla="*/ 110 h 518"/>
              <a:gd name="T34" fmla="*/ 236 w 664"/>
              <a:gd name="T35" fmla="*/ 99 h 518"/>
              <a:gd name="T36" fmla="*/ 264 w 664"/>
              <a:gd name="T37" fmla="*/ 80 h 518"/>
              <a:gd name="T38" fmla="*/ 289 w 664"/>
              <a:gd name="T39" fmla="*/ 57 h 518"/>
              <a:gd name="T40" fmla="*/ 308 w 664"/>
              <a:gd name="T41" fmla="*/ 32 h 518"/>
              <a:gd name="T42" fmla="*/ 318 w 664"/>
              <a:gd name="T43" fmla="*/ 12 h 518"/>
              <a:gd name="T44" fmla="*/ 370 w 664"/>
              <a:gd name="T45" fmla="*/ 4 h 518"/>
              <a:gd name="T46" fmla="*/ 404 w 664"/>
              <a:gd name="T47" fmla="*/ 32 h 518"/>
              <a:gd name="T48" fmla="*/ 457 w 664"/>
              <a:gd name="T49" fmla="*/ 61 h 518"/>
              <a:gd name="T50" fmla="*/ 511 w 664"/>
              <a:gd name="T51" fmla="*/ 90 h 518"/>
              <a:gd name="T52" fmla="*/ 552 w 664"/>
              <a:gd name="T53" fmla="*/ 107 h 518"/>
              <a:gd name="T54" fmla="*/ 578 w 664"/>
              <a:gd name="T55" fmla="*/ 116 h 518"/>
              <a:gd name="T56" fmla="*/ 623 w 664"/>
              <a:gd name="T57" fmla="*/ 121 h 518"/>
              <a:gd name="T58" fmla="*/ 658 w 664"/>
              <a:gd name="T59" fmla="*/ 136 h 518"/>
              <a:gd name="T60" fmla="*/ 645 w 664"/>
              <a:gd name="T61" fmla="*/ 166 h 518"/>
              <a:gd name="T62" fmla="*/ 620 w 664"/>
              <a:gd name="T63" fmla="*/ 236 h 518"/>
              <a:gd name="T64" fmla="*/ 598 w 664"/>
              <a:gd name="T65" fmla="*/ 272 h 518"/>
              <a:gd name="T66" fmla="*/ 585 w 664"/>
              <a:gd name="T67" fmla="*/ 286 h 518"/>
              <a:gd name="T68" fmla="*/ 599 w 664"/>
              <a:gd name="T69" fmla="*/ 298 h 518"/>
              <a:gd name="T70" fmla="*/ 618 w 664"/>
              <a:gd name="T71" fmla="*/ 307 h 518"/>
              <a:gd name="T72" fmla="*/ 623 w 664"/>
              <a:gd name="T73" fmla="*/ 334 h 518"/>
              <a:gd name="T74" fmla="*/ 620 w 664"/>
              <a:gd name="T75" fmla="*/ 347 h 518"/>
              <a:gd name="T76" fmla="*/ 618 w 664"/>
              <a:gd name="T77" fmla="*/ 372 h 518"/>
              <a:gd name="T78" fmla="*/ 622 w 664"/>
              <a:gd name="T79" fmla="*/ 399 h 518"/>
              <a:gd name="T80" fmla="*/ 632 w 664"/>
              <a:gd name="T81" fmla="*/ 423 h 518"/>
              <a:gd name="T82" fmla="*/ 608 w 664"/>
              <a:gd name="T83" fmla="*/ 457 h 518"/>
              <a:gd name="T84" fmla="*/ 569 w 664"/>
              <a:gd name="T85" fmla="*/ 484 h 518"/>
              <a:gd name="T86" fmla="*/ 542 w 664"/>
              <a:gd name="T87" fmla="*/ 489 h 518"/>
              <a:gd name="T88" fmla="*/ 509 w 664"/>
              <a:gd name="T89" fmla="*/ 481 h 518"/>
              <a:gd name="T90" fmla="*/ 477 w 664"/>
              <a:gd name="T91" fmla="*/ 460 h 518"/>
              <a:gd name="T92" fmla="*/ 463 w 664"/>
              <a:gd name="T93" fmla="*/ 456 h 518"/>
              <a:gd name="T94" fmla="*/ 443 w 664"/>
              <a:gd name="T95" fmla="*/ 457 h 518"/>
              <a:gd name="T96" fmla="*/ 423 w 664"/>
              <a:gd name="T97" fmla="*/ 465 h 518"/>
              <a:gd name="T98" fmla="*/ 406 w 664"/>
              <a:gd name="T99" fmla="*/ 477 h 518"/>
              <a:gd name="T100" fmla="*/ 388 w 664"/>
              <a:gd name="T101" fmla="*/ 503 h 518"/>
              <a:gd name="T102" fmla="*/ 385 w 664"/>
              <a:gd name="T103" fmla="*/ 517 h 518"/>
              <a:gd name="T104" fmla="*/ 333 w 664"/>
              <a:gd name="T105" fmla="*/ 515 h 518"/>
              <a:gd name="T106" fmla="*/ 317 w 664"/>
              <a:gd name="T107" fmla="*/ 507 h 518"/>
              <a:gd name="T108" fmla="*/ 307 w 664"/>
              <a:gd name="T109" fmla="*/ 500 h 518"/>
              <a:gd name="T110" fmla="*/ 296 w 664"/>
              <a:gd name="T111" fmla="*/ 508 h 518"/>
              <a:gd name="T112" fmla="*/ 287 w 664"/>
              <a:gd name="T113" fmla="*/ 516 h 518"/>
              <a:gd name="T114" fmla="*/ 268 w 664"/>
              <a:gd name="T115" fmla="*/ 516 h 518"/>
              <a:gd name="T116" fmla="*/ 227 w 664"/>
              <a:gd name="T117" fmla="*/ 506 h 518"/>
              <a:gd name="T118" fmla="*/ 185 w 664"/>
              <a:gd name="T119" fmla="*/ 487 h 518"/>
              <a:gd name="T120" fmla="*/ 160 w 664"/>
              <a:gd name="T121" fmla="*/ 469 h 518"/>
              <a:gd name="T122" fmla="*/ 146 w 664"/>
              <a:gd name="T123" fmla="*/ 450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4" name="Freeform 460">
            <a:extLst>
              <a:ext uri="{FF2B5EF4-FFF2-40B4-BE49-F238E27FC236}">
                <a16:creationId xmlns:a16="http://schemas.microsoft.com/office/drawing/2014/main" id="{BAED632B-4CDD-4A3E-8E93-49D7464080D8}"/>
              </a:ext>
            </a:extLst>
          </p:cNvPr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8640013" y="2617084"/>
            <a:ext cx="145142" cy="82550"/>
          </a:xfrm>
          <a:custGeom>
            <a:avLst/>
            <a:gdLst>
              <a:gd name="T0" fmla="*/ 332 w 352"/>
              <a:gd name="T1" fmla="*/ 91 h 153"/>
              <a:gd name="T2" fmla="*/ 352 w 352"/>
              <a:gd name="T3" fmla="*/ 153 h 153"/>
              <a:gd name="T4" fmla="*/ 326 w 352"/>
              <a:gd name="T5" fmla="*/ 141 h 153"/>
              <a:gd name="T6" fmla="*/ 299 w 352"/>
              <a:gd name="T7" fmla="*/ 129 h 153"/>
              <a:gd name="T8" fmla="*/ 266 w 352"/>
              <a:gd name="T9" fmla="*/ 141 h 153"/>
              <a:gd name="T10" fmla="*/ 232 w 352"/>
              <a:gd name="T11" fmla="*/ 141 h 153"/>
              <a:gd name="T12" fmla="*/ 227 w 352"/>
              <a:gd name="T13" fmla="*/ 135 h 153"/>
              <a:gd name="T14" fmla="*/ 226 w 352"/>
              <a:gd name="T15" fmla="*/ 135 h 153"/>
              <a:gd name="T16" fmla="*/ 219 w 352"/>
              <a:gd name="T17" fmla="*/ 129 h 153"/>
              <a:gd name="T18" fmla="*/ 213 w 352"/>
              <a:gd name="T19" fmla="*/ 125 h 153"/>
              <a:gd name="T20" fmla="*/ 205 w 352"/>
              <a:gd name="T21" fmla="*/ 121 h 153"/>
              <a:gd name="T22" fmla="*/ 197 w 352"/>
              <a:gd name="T23" fmla="*/ 118 h 153"/>
              <a:gd name="T24" fmla="*/ 181 w 352"/>
              <a:gd name="T25" fmla="*/ 113 h 153"/>
              <a:gd name="T26" fmla="*/ 163 w 352"/>
              <a:gd name="T27" fmla="*/ 110 h 153"/>
              <a:gd name="T28" fmla="*/ 126 w 352"/>
              <a:gd name="T29" fmla="*/ 107 h 153"/>
              <a:gd name="T30" fmla="*/ 86 w 352"/>
              <a:gd name="T31" fmla="*/ 104 h 153"/>
              <a:gd name="T32" fmla="*/ 85 w 352"/>
              <a:gd name="T33" fmla="*/ 94 h 153"/>
              <a:gd name="T34" fmla="*/ 82 w 352"/>
              <a:gd name="T35" fmla="*/ 84 h 153"/>
              <a:gd name="T36" fmla="*/ 80 w 352"/>
              <a:gd name="T37" fmla="*/ 75 h 153"/>
              <a:gd name="T38" fmla="*/ 75 w 352"/>
              <a:gd name="T39" fmla="*/ 67 h 153"/>
              <a:gd name="T40" fmla="*/ 71 w 352"/>
              <a:gd name="T41" fmla="*/ 59 h 153"/>
              <a:gd name="T42" fmla="*/ 67 w 352"/>
              <a:gd name="T43" fmla="*/ 52 h 153"/>
              <a:gd name="T44" fmla="*/ 61 w 352"/>
              <a:gd name="T45" fmla="*/ 44 h 153"/>
              <a:gd name="T46" fmla="*/ 56 w 352"/>
              <a:gd name="T47" fmla="*/ 37 h 153"/>
              <a:gd name="T48" fmla="*/ 44 w 352"/>
              <a:gd name="T49" fmla="*/ 26 h 153"/>
              <a:gd name="T50" fmla="*/ 29 w 352"/>
              <a:gd name="T51" fmla="*/ 16 h 153"/>
              <a:gd name="T52" fmla="*/ 15 w 352"/>
              <a:gd name="T53" fmla="*/ 7 h 153"/>
              <a:gd name="T54" fmla="*/ 0 w 352"/>
              <a:gd name="T55" fmla="*/ 0 h 153"/>
              <a:gd name="T56" fmla="*/ 7 w 352"/>
              <a:gd name="T57" fmla="*/ 0 h 153"/>
              <a:gd name="T58" fmla="*/ 60 w 352"/>
              <a:gd name="T59" fmla="*/ 18 h 153"/>
              <a:gd name="T60" fmla="*/ 106 w 352"/>
              <a:gd name="T61" fmla="*/ 30 h 153"/>
              <a:gd name="T62" fmla="*/ 134 w 352"/>
              <a:gd name="T63" fmla="*/ 18 h 153"/>
              <a:gd name="T64" fmla="*/ 180 w 352"/>
              <a:gd name="T65" fmla="*/ 36 h 153"/>
              <a:gd name="T66" fmla="*/ 206 w 352"/>
              <a:gd name="T67" fmla="*/ 55 h 153"/>
              <a:gd name="T68" fmla="*/ 246 w 352"/>
              <a:gd name="T69" fmla="*/ 49 h 153"/>
              <a:gd name="T70" fmla="*/ 286 w 352"/>
              <a:gd name="T71" fmla="*/ 61 h 153"/>
              <a:gd name="T72" fmla="*/ 313 w 352"/>
              <a:gd name="T73" fmla="*/ 79 h 153"/>
              <a:gd name="T74" fmla="*/ 332 w 352"/>
              <a:gd name="T75" fmla="*/ 91 h 15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55" name="Freeform 461">
            <a:extLst>
              <a:ext uri="{FF2B5EF4-FFF2-40B4-BE49-F238E27FC236}">
                <a16:creationId xmlns:a16="http://schemas.microsoft.com/office/drawing/2014/main" id="{6F211416-3074-42CA-A70E-16F4722F452C}"/>
              </a:ext>
            </a:extLst>
          </p:cNvPr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8206116" y="2677409"/>
            <a:ext cx="142086" cy="173038"/>
          </a:xfrm>
          <a:custGeom>
            <a:avLst/>
            <a:gdLst>
              <a:gd name="T0" fmla="*/ 230 w 331"/>
              <a:gd name="T1" fmla="*/ 40 h 327"/>
              <a:gd name="T2" fmla="*/ 193 w 331"/>
              <a:gd name="T3" fmla="*/ 56 h 327"/>
              <a:gd name="T4" fmla="*/ 182 w 331"/>
              <a:gd name="T5" fmla="*/ 67 h 327"/>
              <a:gd name="T6" fmla="*/ 181 w 331"/>
              <a:gd name="T7" fmla="*/ 81 h 327"/>
              <a:gd name="T8" fmla="*/ 184 w 331"/>
              <a:gd name="T9" fmla="*/ 94 h 327"/>
              <a:gd name="T10" fmla="*/ 177 w 331"/>
              <a:gd name="T11" fmla="*/ 102 h 327"/>
              <a:gd name="T12" fmla="*/ 168 w 331"/>
              <a:gd name="T13" fmla="*/ 105 h 327"/>
              <a:gd name="T14" fmla="*/ 160 w 331"/>
              <a:gd name="T15" fmla="*/ 98 h 327"/>
              <a:gd name="T16" fmla="*/ 149 w 331"/>
              <a:gd name="T17" fmla="*/ 85 h 327"/>
              <a:gd name="T18" fmla="*/ 126 w 331"/>
              <a:gd name="T19" fmla="*/ 74 h 327"/>
              <a:gd name="T20" fmla="*/ 127 w 331"/>
              <a:gd name="T21" fmla="*/ 96 h 327"/>
              <a:gd name="T22" fmla="*/ 139 w 331"/>
              <a:gd name="T23" fmla="*/ 116 h 327"/>
              <a:gd name="T24" fmla="*/ 154 w 331"/>
              <a:gd name="T25" fmla="*/ 129 h 327"/>
              <a:gd name="T26" fmla="*/ 159 w 331"/>
              <a:gd name="T27" fmla="*/ 130 h 327"/>
              <a:gd name="T28" fmla="*/ 159 w 331"/>
              <a:gd name="T29" fmla="*/ 177 h 327"/>
              <a:gd name="T30" fmla="*/ 159 w 331"/>
              <a:gd name="T31" fmla="*/ 237 h 327"/>
              <a:gd name="T32" fmla="*/ 156 w 331"/>
              <a:gd name="T33" fmla="*/ 251 h 327"/>
              <a:gd name="T34" fmla="*/ 147 w 331"/>
              <a:gd name="T35" fmla="*/ 259 h 327"/>
              <a:gd name="T36" fmla="*/ 145 w 331"/>
              <a:gd name="T37" fmla="*/ 264 h 327"/>
              <a:gd name="T38" fmla="*/ 162 w 331"/>
              <a:gd name="T39" fmla="*/ 276 h 327"/>
              <a:gd name="T40" fmla="*/ 167 w 331"/>
              <a:gd name="T41" fmla="*/ 286 h 327"/>
              <a:gd name="T42" fmla="*/ 155 w 331"/>
              <a:gd name="T43" fmla="*/ 295 h 327"/>
              <a:gd name="T44" fmla="*/ 140 w 331"/>
              <a:gd name="T45" fmla="*/ 297 h 327"/>
              <a:gd name="T46" fmla="*/ 130 w 331"/>
              <a:gd name="T47" fmla="*/ 307 h 327"/>
              <a:gd name="T48" fmla="*/ 126 w 331"/>
              <a:gd name="T49" fmla="*/ 321 h 327"/>
              <a:gd name="T50" fmla="*/ 121 w 331"/>
              <a:gd name="T51" fmla="*/ 300 h 327"/>
              <a:gd name="T52" fmla="*/ 124 w 331"/>
              <a:gd name="T53" fmla="*/ 288 h 327"/>
              <a:gd name="T54" fmla="*/ 109 w 331"/>
              <a:gd name="T55" fmla="*/ 286 h 327"/>
              <a:gd name="T56" fmla="*/ 93 w 331"/>
              <a:gd name="T57" fmla="*/ 292 h 327"/>
              <a:gd name="T58" fmla="*/ 79 w 331"/>
              <a:gd name="T59" fmla="*/ 296 h 327"/>
              <a:gd name="T60" fmla="*/ 73 w 331"/>
              <a:gd name="T61" fmla="*/ 242 h 327"/>
              <a:gd name="T62" fmla="*/ 79 w 331"/>
              <a:gd name="T63" fmla="*/ 216 h 327"/>
              <a:gd name="T64" fmla="*/ 48 w 331"/>
              <a:gd name="T65" fmla="*/ 211 h 327"/>
              <a:gd name="T66" fmla="*/ 28 w 331"/>
              <a:gd name="T67" fmla="*/ 198 h 327"/>
              <a:gd name="T68" fmla="*/ 13 w 331"/>
              <a:gd name="T69" fmla="*/ 173 h 327"/>
              <a:gd name="T70" fmla="*/ 0 w 331"/>
              <a:gd name="T71" fmla="*/ 130 h 327"/>
              <a:gd name="T72" fmla="*/ 28 w 331"/>
              <a:gd name="T73" fmla="*/ 111 h 327"/>
              <a:gd name="T74" fmla="*/ 50 w 331"/>
              <a:gd name="T75" fmla="*/ 81 h 327"/>
              <a:gd name="T76" fmla="*/ 73 w 331"/>
              <a:gd name="T77" fmla="*/ 55 h 327"/>
              <a:gd name="T78" fmla="*/ 115 w 331"/>
              <a:gd name="T79" fmla="*/ 41 h 327"/>
              <a:gd name="T80" fmla="*/ 180 w 331"/>
              <a:gd name="T81" fmla="*/ 14 h 327"/>
              <a:gd name="T82" fmla="*/ 218 w 331"/>
              <a:gd name="T83" fmla="*/ 7 h 327"/>
              <a:gd name="T84" fmla="*/ 249 w 331"/>
              <a:gd name="T85" fmla="*/ 14 h 327"/>
              <a:gd name="T86" fmla="*/ 271 w 331"/>
              <a:gd name="T87" fmla="*/ 27 h 327"/>
              <a:gd name="T88" fmla="*/ 292 w 331"/>
              <a:gd name="T89" fmla="*/ 30 h 327"/>
              <a:gd name="T90" fmla="*/ 307 w 331"/>
              <a:gd name="T91" fmla="*/ 20 h 327"/>
              <a:gd name="T92" fmla="*/ 327 w 331"/>
              <a:gd name="T93" fmla="*/ 6 h 327"/>
              <a:gd name="T94" fmla="*/ 330 w 331"/>
              <a:gd name="T95" fmla="*/ 32 h 3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56" name="Freeform 462">
            <a:extLst>
              <a:ext uri="{FF2B5EF4-FFF2-40B4-BE49-F238E27FC236}">
                <a16:creationId xmlns:a16="http://schemas.microsoft.com/office/drawing/2014/main" id="{143BBE26-4657-489E-B387-C7B288269C44}"/>
              </a:ext>
            </a:extLst>
          </p:cNvPr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8287089" y="2869497"/>
            <a:ext cx="67224" cy="57150"/>
          </a:xfrm>
          <a:custGeom>
            <a:avLst/>
            <a:gdLst>
              <a:gd name="T0" fmla="*/ 0 w 153"/>
              <a:gd name="T1" fmla="*/ 0 h 49"/>
              <a:gd name="T2" fmla="*/ 44 w 153"/>
              <a:gd name="T3" fmla="*/ 2 h 49"/>
              <a:gd name="T4" fmla="*/ 83 w 153"/>
              <a:gd name="T5" fmla="*/ 6 h 49"/>
              <a:gd name="T6" fmla="*/ 103 w 153"/>
              <a:gd name="T7" fmla="*/ 8 h 49"/>
              <a:gd name="T8" fmla="*/ 121 w 153"/>
              <a:gd name="T9" fmla="*/ 7 h 49"/>
              <a:gd name="T10" fmla="*/ 130 w 153"/>
              <a:gd name="T11" fmla="*/ 6 h 49"/>
              <a:gd name="T12" fmla="*/ 137 w 153"/>
              <a:gd name="T13" fmla="*/ 5 h 49"/>
              <a:gd name="T14" fmla="*/ 145 w 153"/>
              <a:gd name="T15" fmla="*/ 3 h 49"/>
              <a:gd name="T16" fmla="*/ 153 w 153"/>
              <a:gd name="T17" fmla="*/ 0 h 49"/>
              <a:gd name="T18" fmla="*/ 153 w 153"/>
              <a:gd name="T19" fmla="*/ 9 h 49"/>
              <a:gd name="T20" fmla="*/ 153 w 153"/>
              <a:gd name="T21" fmla="*/ 25 h 49"/>
              <a:gd name="T22" fmla="*/ 143 w 153"/>
              <a:gd name="T23" fmla="*/ 31 h 49"/>
              <a:gd name="T24" fmla="*/ 133 w 153"/>
              <a:gd name="T25" fmla="*/ 36 h 49"/>
              <a:gd name="T26" fmla="*/ 124 w 153"/>
              <a:gd name="T27" fmla="*/ 40 h 49"/>
              <a:gd name="T28" fmla="*/ 114 w 153"/>
              <a:gd name="T29" fmla="*/ 44 h 49"/>
              <a:gd name="T30" fmla="*/ 106 w 153"/>
              <a:gd name="T31" fmla="*/ 46 h 49"/>
              <a:gd name="T32" fmla="*/ 99 w 153"/>
              <a:gd name="T33" fmla="*/ 48 h 49"/>
              <a:gd name="T34" fmla="*/ 92 w 153"/>
              <a:gd name="T35" fmla="*/ 49 h 49"/>
              <a:gd name="T36" fmla="*/ 87 w 153"/>
              <a:gd name="T37" fmla="*/ 49 h 49"/>
              <a:gd name="T38" fmla="*/ 72 w 153"/>
              <a:gd name="T39" fmla="*/ 48 h 49"/>
              <a:gd name="T40" fmla="*/ 60 w 153"/>
              <a:gd name="T41" fmla="*/ 46 h 49"/>
              <a:gd name="T42" fmla="*/ 50 w 153"/>
              <a:gd name="T43" fmla="*/ 43 h 49"/>
              <a:gd name="T44" fmla="*/ 41 w 153"/>
              <a:gd name="T45" fmla="*/ 38 h 49"/>
              <a:gd name="T46" fmla="*/ 22 w 153"/>
              <a:gd name="T47" fmla="*/ 29 h 49"/>
              <a:gd name="T48" fmla="*/ 0 w 153"/>
              <a:gd name="T49" fmla="*/ 19 h 49"/>
              <a:gd name="T50" fmla="*/ 0 w 153"/>
              <a:gd name="T51" fmla="*/ 0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57" name="Freeform 463">
            <a:extLst>
              <a:ext uri="{FF2B5EF4-FFF2-40B4-BE49-F238E27FC236}">
                <a16:creationId xmlns:a16="http://schemas.microsoft.com/office/drawing/2014/main" id="{2C8C7747-3110-4F3C-BF15-555095837185}"/>
              </a:ext>
            </a:extLst>
          </p:cNvPr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7400959" y="3601334"/>
            <a:ext cx="180282" cy="158750"/>
          </a:xfrm>
          <a:custGeom>
            <a:avLst/>
            <a:gdLst>
              <a:gd name="T0" fmla="*/ 194 w 426"/>
              <a:gd name="T1" fmla="*/ 16 h 299"/>
              <a:gd name="T2" fmla="*/ 216 w 426"/>
              <a:gd name="T3" fmla="*/ 22 h 299"/>
              <a:gd name="T4" fmla="*/ 230 w 426"/>
              <a:gd name="T5" fmla="*/ 29 h 299"/>
              <a:gd name="T6" fmla="*/ 253 w 426"/>
              <a:gd name="T7" fmla="*/ 35 h 299"/>
              <a:gd name="T8" fmla="*/ 279 w 426"/>
              <a:gd name="T9" fmla="*/ 37 h 299"/>
              <a:gd name="T10" fmla="*/ 300 w 426"/>
              <a:gd name="T11" fmla="*/ 37 h 299"/>
              <a:gd name="T12" fmla="*/ 319 w 426"/>
              <a:gd name="T13" fmla="*/ 34 h 299"/>
              <a:gd name="T14" fmla="*/ 329 w 426"/>
              <a:gd name="T15" fmla="*/ 29 h 299"/>
              <a:gd name="T16" fmla="*/ 365 w 426"/>
              <a:gd name="T17" fmla="*/ 25 h 299"/>
              <a:gd name="T18" fmla="*/ 372 w 426"/>
              <a:gd name="T19" fmla="*/ 49 h 299"/>
              <a:gd name="T20" fmla="*/ 383 w 426"/>
              <a:gd name="T21" fmla="*/ 74 h 299"/>
              <a:gd name="T22" fmla="*/ 391 w 426"/>
              <a:gd name="T23" fmla="*/ 84 h 299"/>
              <a:gd name="T24" fmla="*/ 400 w 426"/>
              <a:gd name="T25" fmla="*/ 92 h 299"/>
              <a:gd name="T26" fmla="*/ 412 w 426"/>
              <a:gd name="T27" fmla="*/ 97 h 299"/>
              <a:gd name="T28" fmla="*/ 425 w 426"/>
              <a:gd name="T29" fmla="*/ 99 h 299"/>
              <a:gd name="T30" fmla="*/ 425 w 426"/>
              <a:gd name="T31" fmla="*/ 120 h 299"/>
              <a:gd name="T32" fmla="*/ 425 w 426"/>
              <a:gd name="T33" fmla="*/ 142 h 299"/>
              <a:gd name="T34" fmla="*/ 416 w 426"/>
              <a:gd name="T35" fmla="*/ 158 h 299"/>
              <a:gd name="T36" fmla="*/ 412 w 426"/>
              <a:gd name="T37" fmla="*/ 170 h 299"/>
              <a:gd name="T38" fmla="*/ 412 w 426"/>
              <a:gd name="T39" fmla="*/ 181 h 299"/>
              <a:gd name="T40" fmla="*/ 415 w 426"/>
              <a:gd name="T41" fmla="*/ 190 h 299"/>
              <a:gd name="T42" fmla="*/ 423 w 426"/>
              <a:gd name="T43" fmla="*/ 211 h 299"/>
              <a:gd name="T44" fmla="*/ 426 w 426"/>
              <a:gd name="T45" fmla="*/ 226 h 299"/>
              <a:gd name="T46" fmla="*/ 425 w 426"/>
              <a:gd name="T47" fmla="*/ 247 h 299"/>
              <a:gd name="T48" fmla="*/ 426 w 426"/>
              <a:gd name="T49" fmla="*/ 274 h 299"/>
              <a:gd name="T50" fmla="*/ 423 w 426"/>
              <a:gd name="T51" fmla="*/ 285 h 299"/>
              <a:gd name="T52" fmla="*/ 412 w 426"/>
              <a:gd name="T53" fmla="*/ 296 h 299"/>
              <a:gd name="T54" fmla="*/ 380 w 426"/>
              <a:gd name="T55" fmla="*/ 298 h 299"/>
              <a:gd name="T56" fmla="*/ 370 w 426"/>
              <a:gd name="T57" fmla="*/ 299 h 299"/>
              <a:gd name="T58" fmla="*/ 360 w 426"/>
              <a:gd name="T59" fmla="*/ 296 h 299"/>
              <a:gd name="T60" fmla="*/ 351 w 426"/>
              <a:gd name="T61" fmla="*/ 290 h 299"/>
              <a:gd name="T62" fmla="*/ 338 w 426"/>
              <a:gd name="T63" fmla="*/ 278 h 299"/>
              <a:gd name="T64" fmla="*/ 324 w 426"/>
              <a:gd name="T65" fmla="*/ 261 h 299"/>
              <a:gd name="T66" fmla="*/ 311 w 426"/>
              <a:gd name="T67" fmla="*/ 253 h 299"/>
              <a:gd name="T68" fmla="*/ 294 w 426"/>
              <a:gd name="T69" fmla="*/ 251 h 299"/>
              <a:gd name="T70" fmla="*/ 278 w 426"/>
              <a:gd name="T71" fmla="*/ 232 h 299"/>
              <a:gd name="T72" fmla="*/ 274 w 426"/>
              <a:gd name="T73" fmla="*/ 210 h 299"/>
              <a:gd name="T74" fmla="*/ 269 w 426"/>
              <a:gd name="T75" fmla="*/ 197 h 299"/>
              <a:gd name="T76" fmla="*/ 261 w 426"/>
              <a:gd name="T77" fmla="*/ 184 h 299"/>
              <a:gd name="T78" fmla="*/ 251 w 426"/>
              <a:gd name="T79" fmla="*/ 173 h 299"/>
              <a:gd name="T80" fmla="*/ 238 w 426"/>
              <a:gd name="T81" fmla="*/ 165 h 299"/>
              <a:gd name="T82" fmla="*/ 222 w 426"/>
              <a:gd name="T83" fmla="*/ 161 h 299"/>
              <a:gd name="T84" fmla="*/ 204 w 426"/>
              <a:gd name="T85" fmla="*/ 161 h 299"/>
              <a:gd name="T86" fmla="*/ 188 w 426"/>
              <a:gd name="T87" fmla="*/ 163 h 299"/>
              <a:gd name="T88" fmla="*/ 173 w 426"/>
              <a:gd name="T89" fmla="*/ 168 h 299"/>
              <a:gd name="T90" fmla="*/ 160 w 426"/>
              <a:gd name="T91" fmla="*/ 176 h 299"/>
              <a:gd name="T92" fmla="*/ 141 w 426"/>
              <a:gd name="T93" fmla="*/ 191 h 299"/>
              <a:gd name="T94" fmla="*/ 118 w 426"/>
              <a:gd name="T95" fmla="*/ 215 h 299"/>
              <a:gd name="T96" fmla="*/ 105 w 426"/>
              <a:gd name="T97" fmla="*/ 218 h 299"/>
              <a:gd name="T98" fmla="*/ 100 w 426"/>
              <a:gd name="T99" fmla="*/ 201 h 299"/>
              <a:gd name="T100" fmla="*/ 90 w 426"/>
              <a:gd name="T101" fmla="*/ 186 h 299"/>
              <a:gd name="T102" fmla="*/ 76 w 426"/>
              <a:gd name="T103" fmla="*/ 171 h 299"/>
              <a:gd name="T104" fmla="*/ 50 w 426"/>
              <a:gd name="T105" fmla="*/ 153 h 299"/>
              <a:gd name="T106" fmla="*/ 24 w 426"/>
              <a:gd name="T107" fmla="*/ 134 h 299"/>
              <a:gd name="T108" fmla="*/ 8 w 426"/>
              <a:gd name="T109" fmla="*/ 119 h 299"/>
              <a:gd name="T110" fmla="*/ 15 w 426"/>
              <a:gd name="T111" fmla="*/ 101 h 299"/>
              <a:gd name="T112" fmla="*/ 46 w 426"/>
              <a:gd name="T113" fmla="*/ 77 h 299"/>
              <a:gd name="T114" fmla="*/ 75 w 426"/>
              <a:gd name="T115" fmla="*/ 48 h 299"/>
              <a:gd name="T116" fmla="*/ 98 w 426"/>
              <a:gd name="T117" fmla="*/ 17 h 299"/>
              <a:gd name="T118" fmla="*/ 179 w 426"/>
              <a:gd name="T119" fmla="*/ 13 h 2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58" name="Freeform 464">
            <a:extLst>
              <a:ext uri="{FF2B5EF4-FFF2-40B4-BE49-F238E27FC236}">
                <a16:creationId xmlns:a16="http://schemas.microsoft.com/office/drawing/2014/main" id="{D7140E29-DD60-41A2-8E21-07EED574192D}"/>
              </a:ext>
            </a:extLst>
          </p:cNvPr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9368779" y="2864735"/>
            <a:ext cx="666126" cy="874713"/>
          </a:xfrm>
          <a:custGeom>
            <a:avLst/>
            <a:gdLst>
              <a:gd name="T0" fmla="*/ 477 w 1594"/>
              <a:gd name="T1" fmla="*/ 107 h 1670"/>
              <a:gd name="T2" fmla="*/ 485 w 1594"/>
              <a:gd name="T3" fmla="*/ 185 h 1670"/>
              <a:gd name="T4" fmla="*/ 578 w 1594"/>
              <a:gd name="T5" fmla="*/ 287 h 1670"/>
              <a:gd name="T6" fmla="*/ 701 w 1594"/>
              <a:gd name="T7" fmla="*/ 459 h 1670"/>
              <a:gd name="T8" fmla="*/ 795 w 1594"/>
              <a:gd name="T9" fmla="*/ 499 h 1670"/>
              <a:gd name="T10" fmla="*/ 877 w 1594"/>
              <a:gd name="T11" fmla="*/ 493 h 1670"/>
              <a:gd name="T12" fmla="*/ 930 w 1594"/>
              <a:gd name="T13" fmla="*/ 537 h 1670"/>
              <a:gd name="T14" fmla="*/ 1102 w 1594"/>
              <a:gd name="T15" fmla="*/ 567 h 1670"/>
              <a:gd name="T16" fmla="*/ 1121 w 1594"/>
              <a:gd name="T17" fmla="*/ 461 h 1670"/>
              <a:gd name="T18" fmla="*/ 1179 w 1594"/>
              <a:gd name="T19" fmla="*/ 539 h 1670"/>
              <a:gd name="T20" fmla="*/ 1243 w 1594"/>
              <a:gd name="T21" fmla="*/ 561 h 1670"/>
              <a:gd name="T22" fmla="*/ 1299 w 1594"/>
              <a:gd name="T23" fmla="*/ 498 h 1670"/>
              <a:gd name="T24" fmla="*/ 1404 w 1594"/>
              <a:gd name="T25" fmla="*/ 409 h 1670"/>
              <a:gd name="T26" fmla="*/ 1549 w 1594"/>
              <a:gd name="T27" fmla="*/ 428 h 1670"/>
              <a:gd name="T28" fmla="*/ 1579 w 1594"/>
              <a:gd name="T29" fmla="*/ 498 h 1670"/>
              <a:gd name="T30" fmla="*/ 1504 w 1594"/>
              <a:gd name="T31" fmla="*/ 542 h 1670"/>
              <a:gd name="T32" fmla="*/ 1485 w 1594"/>
              <a:gd name="T33" fmla="*/ 679 h 1670"/>
              <a:gd name="T34" fmla="*/ 1429 w 1594"/>
              <a:gd name="T35" fmla="*/ 704 h 1670"/>
              <a:gd name="T36" fmla="*/ 1408 w 1594"/>
              <a:gd name="T37" fmla="*/ 814 h 1670"/>
              <a:gd name="T38" fmla="*/ 1321 w 1594"/>
              <a:gd name="T39" fmla="*/ 754 h 1670"/>
              <a:gd name="T40" fmla="*/ 1323 w 1594"/>
              <a:gd name="T41" fmla="*/ 698 h 1670"/>
              <a:gd name="T42" fmla="*/ 1225 w 1594"/>
              <a:gd name="T43" fmla="*/ 638 h 1670"/>
              <a:gd name="T44" fmla="*/ 1187 w 1594"/>
              <a:gd name="T45" fmla="*/ 588 h 1670"/>
              <a:gd name="T46" fmla="*/ 1131 w 1594"/>
              <a:gd name="T47" fmla="*/ 575 h 1670"/>
              <a:gd name="T48" fmla="*/ 1127 w 1594"/>
              <a:gd name="T49" fmla="*/ 625 h 1670"/>
              <a:gd name="T50" fmla="*/ 1117 w 1594"/>
              <a:gd name="T51" fmla="*/ 683 h 1670"/>
              <a:gd name="T52" fmla="*/ 1160 w 1594"/>
              <a:gd name="T53" fmla="*/ 735 h 1670"/>
              <a:gd name="T54" fmla="*/ 1149 w 1594"/>
              <a:gd name="T55" fmla="*/ 843 h 1670"/>
              <a:gd name="T56" fmla="*/ 1075 w 1594"/>
              <a:gd name="T57" fmla="*/ 864 h 1670"/>
              <a:gd name="T58" fmla="*/ 1049 w 1594"/>
              <a:gd name="T59" fmla="*/ 937 h 1670"/>
              <a:gd name="T60" fmla="*/ 954 w 1594"/>
              <a:gd name="T61" fmla="*/ 1001 h 1670"/>
              <a:gd name="T62" fmla="*/ 912 w 1594"/>
              <a:gd name="T63" fmla="*/ 1050 h 1670"/>
              <a:gd name="T64" fmla="*/ 780 w 1594"/>
              <a:gd name="T65" fmla="*/ 1188 h 1670"/>
              <a:gd name="T66" fmla="*/ 723 w 1594"/>
              <a:gd name="T67" fmla="*/ 1233 h 1670"/>
              <a:gd name="T68" fmla="*/ 744 w 1594"/>
              <a:gd name="T69" fmla="*/ 1344 h 1670"/>
              <a:gd name="T70" fmla="*/ 712 w 1594"/>
              <a:gd name="T71" fmla="*/ 1445 h 1670"/>
              <a:gd name="T72" fmla="*/ 722 w 1594"/>
              <a:gd name="T73" fmla="*/ 1524 h 1670"/>
              <a:gd name="T74" fmla="*/ 693 w 1594"/>
              <a:gd name="T75" fmla="*/ 1576 h 1670"/>
              <a:gd name="T76" fmla="*/ 595 w 1594"/>
              <a:gd name="T77" fmla="*/ 1663 h 1670"/>
              <a:gd name="T78" fmla="*/ 516 w 1594"/>
              <a:gd name="T79" fmla="*/ 1529 h 1670"/>
              <a:gd name="T80" fmla="*/ 419 w 1594"/>
              <a:gd name="T81" fmla="*/ 1334 h 1670"/>
              <a:gd name="T82" fmla="*/ 301 w 1594"/>
              <a:gd name="T83" fmla="*/ 1114 h 1670"/>
              <a:gd name="T84" fmla="*/ 259 w 1594"/>
              <a:gd name="T85" fmla="*/ 861 h 1670"/>
              <a:gd name="T86" fmla="*/ 230 w 1594"/>
              <a:gd name="T87" fmla="*/ 814 h 1670"/>
              <a:gd name="T88" fmla="*/ 164 w 1594"/>
              <a:gd name="T89" fmla="*/ 900 h 1670"/>
              <a:gd name="T90" fmla="*/ 90 w 1594"/>
              <a:gd name="T91" fmla="*/ 876 h 1670"/>
              <a:gd name="T92" fmla="*/ 51 w 1594"/>
              <a:gd name="T93" fmla="*/ 798 h 1670"/>
              <a:gd name="T94" fmla="*/ 30 w 1594"/>
              <a:gd name="T95" fmla="*/ 771 h 1670"/>
              <a:gd name="T96" fmla="*/ 32 w 1594"/>
              <a:gd name="T97" fmla="*/ 708 h 1670"/>
              <a:gd name="T98" fmla="*/ 159 w 1594"/>
              <a:gd name="T99" fmla="*/ 659 h 1670"/>
              <a:gd name="T100" fmla="*/ 92 w 1594"/>
              <a:gd name="T101" fmla="*/ 569 h 1670"/>
              <a:gd name="T102" fmla="*/ 59 w 1594"/>
              <a:gd name="T103" fmla="*/ 500 h 1670"/>
              <a:gd name="T104" fmla="*/ 162 w 1594"/>
              <a:gd name="T105" fmla="*/ 459 h 1670"/>
              <a:gd name="T106" fmla="*/ 270 w 1594"/>
              <a:gd name="T107" fmla="*/ 294 h 1670"/>
              <a:gd name="T108" fmla="*/ 274 w 1594"/>
              <a:gd name="T109" fmla="*/ 230 h 1670"/>
              <a:gd name="T110" fmla="*/ 227 w 1594"/>
              <a:gd name="T111" fmla="*/ 142 h 1670"/>
              <a:gd name="T112" fmla="*/ 322 w 1594"/>
              <a:gd name="T113" fmla="*/ 54 h 16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59" name="Freeform 465">
            <a:extLst>
              <a:ext uri="{FF2B5EF4-FFF2-40B4-BE49-F238E27FC236}">
                <a16:creationId xmlns:a16="http://schemas.microsoft.com/office/drawing/2014/main" id="{4840E432-8BBC-48AD-8E1D-C3E890541176}"/>
              </a:ext>
            </a:extLst>
          </p:cNvPr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7561379" y="3660073"/>
            <a:ext cx="152781" cy="206375"/>
          </a:xfrm>
          <a:custGeom>
            <a:avLst/>
            <a:gdLst>
              <a:gd name="T0" fmla="*/ 53 w 359"/>
              <a:gd name="T1" fmla="*/ 382 h 394"/>
              <a:gd name="T2" fmla="*/ 53 w 359"/>
              <a:gd name="T3" fmla="*/ 358 h 394"/>
              <a:gd name="T4" fmla="*/ 53 w 359"/>
              <a:gd name="T5" fmla="*/ 333 h 394"/>
              <a:gd name="T6" fmla="*/ 50 w 359"/>
              <a:gd name="T7" fmla="*/ 312 h 394"/>
              <a:gd name="T8" fmla="*/ 43 w 359"/>
              <a:gd name="T9" fmla="*/ 293 h 394"/>
              <a:gd name="T10" fmla="*/ 35 w 359"/>
              <a:gd name="T11" fmla="*/ 277 h 394"/>
              <a:gd name="T12" fmla="*/ 13 w 359"/>
              <a:gd name="T13" fmla="*/ 245 h 394"/>
              <a:gd name="T14" fmla="*/ 0 w 359"/>
              <a:gd name="T15" fmla="*/ 185 h 394"/>
              <a:gd name="T16" fmla="*/ 33 w 359"/>
              <a:gd name="T17" fmla="*/ 181 h 394"/>
              <a:gd name="T18" fmla="*/ 40 w 359"/>
              <a:gd name="T19" fmla="*/ 169 h 394"/>
              <a:gd name="T20" fmla="*/ 41 w 359"/>
              <a:gd name="T21" fmla="*/ 150 h 394"/>
              <a:gd name="T22" fmla="*/ 38 w 359"/>
              <a:gd name="T23" fmla="*/ 107 h 394"/>
              <a:gd name="T24" fmla="*/ 31 w 359"/>
              <a:gd name="T25" fmla="*/ 65 h 394"/>
              <a:gd name="T26" fmla="*/ 32 w 359"/>
              <a:gd name="T27" fmla="*/ 47 h 394"/>
              <a:gd name="T28" fmla="*/ 36 w 359"/>
              <a:gd name="T29" fmla="*/ 36 h 394"/>
              <a:gd name="T30" fmla="*/ 120 w 359"/>
              <a:gd name="T31" fmla="*/ 31 h 394"/>
              <a:gd name="T32" fmla="*/ 122 w 359"/>
              <a:gd name="T33" fmla="*/ 22 h 394"/>
              <a:gd name="T34" fmla="*/ 128 w 359"/>
              <a:gd name="T35" fmla="*/ 14 h 394"/>
              <a:gd name="T36" fmla="*/ 140 w 359"/>
              <a:gd name="T37" fmla="*/ 0 h 394"/>
              <a:gd name="T38" fmla="*/ 142 w 359"/>
              <a:gd name="T39" fmla="*/ 18 h 394"/>
              <a:gd name="T40" fmla="*/ 142 w 359"/>
              <a:gd name="T41" fmla="*/ 26 h 394"/>
              <a:gd name="T42" fmla="*/ 140 w 359"/>
              <a:gd name="T43" fmla="*/ 31 h 394"/>
              <a:gd name="T44" fmla="*/ 168 w 359"/>
              <a:gd name="T45" fmla="*/ 31 h 394"/>
              <a:gd name="T46" fmla="*/ 186 w 359"/>
              <a:gd name="T47" fmla="*/ 31 h 394"/>
              <a:gd name="T48" fmla="*/ 214 w 359"/>
              <a:gd name="T49" fmla="*/ 38 h 394"/>
              <a:gd name="T50" fmla="*/ 233 w 359"/>
              <a:gd name="T51" fmla="*/ 49 h 394"/>
              <a:gd name="T52" fmla="*/ 246 w 359"/>
              <a:gd name="T53" fmla="*/ 58 h 394"/>
              <a:gd name="T54" fmla="*/ 259 w 359"/>
              <a:gd name="T55" fmla="*/ 61 h 394"/>
              <a:gd name="T56" fmla="*/ 268 w 359"/>
              <a:gd name="T57" fmla="*/ 59 h 394"/>
              <a:gd name="T58" fmla="*/ 275 w 359"/>
              <a:gd name="T59" fmla="*/ 54 h 394"/>
              <a:gd name="T60" fmla="*/ 286 w 359"/>
              <a:gd name="T61" fmla="*/ 37 h 394"/>
              <a:gd name="T62" fmla="*/ 312 w 359"/>
              <a:gd name="T63" fmla="*/ 52 h 394"/>
              <a:gd name="T64" fmla="*/ 325 w 359"/>
              <a:gd name="T65" fmla="*/ 59 h 394"/>
              <a:gd name="T66" fmla="*/ 338 w 359"/>
              <a:gd name="T67" fmla="*/ 61 h 394"/>
              <a:gd name="T68" fmla="*/ 353 w 359"/>
              <a:gd name="T69" fmla="*/ 161 h 394"/>
              <a:gd name="T70" fmla="*/ 338 w 359"/>
              <a:gd name="T71" fmla="*/ 185 h 394"/>
              <a:gd name="T72" fmla="*/ 323 w 359"/>
              <a:gd name="T73" fmla="*/ 206 h 394"/>
              <a:gd name="T74" fmla="*/ 315 w 359"/>
              <a:gd name="T75" fmla="*/ 224 h 394"/>
              <a:gd name="T76" fmla="*/ 313 w 359"/>
              <a:gd name="T77" fmla="*/ 239 h 394"/>
              <a:gd name="T78" fmla="*/ 313 w 359"/>
              <a:gd name="T79" fmla="*/ 255 h 394"/>
              <a:gd name="T80" fmla="*/ 321 w 359"/>
              <a:gd name="T81" fmla="*/ 273 h 394"/>
              <a:gd name="T82" fmla="*/ 331 w 359"/>
              <a:gd name="T83" fmla="*/ 293 h 394"/>
              <a:gd name="T84" fmla="*/ 337 w 359"/>
              <a:gd name="T85" fmla="*/ 309 h 394"/>
              <a:gd name="T86" fmla="*/ 337 w 359"/>
              <a:gd name="T87" fmla="*/ 321 h 394"/>
              <a:gd name="T88" fmla="*/ 330 w 359"/>
              <a:gd name="T89" fmla="*/ 337 h 394"/>
              <a:gd name="T90" fmla="*/ 326 w 359"/>
              <a:gd name="T91" fmla="*/ 351 h 394"/>
              <a:gd name="T92" fmla="*/ 319 w 359"/>
              <a:gd name="T93" fmla="*/ 358 h 394"/>
              <a:gd name="T94" fmla="*/ 308 w 359"/>
              <a:gd name="T95" fmla="*/ 356 h 394"/>
              <a:gd name="T96" fmla="*/ 298 w 359"/>
              <a:gd name="T97" fmla="*/ 350 h 394"/>
              <a:gd name="T98" fmla="*/ 287 w 359"/>
              <a:gd name="T99" fmla="*/ 340 h 394"/>
              <a:gd name="T100" fmla="*/ 277 w 359"/>
              <a:gd name="T101" fmla="*/ 335 h 394"/>
              <a:gd name="T102" fmla="*/ 266 w 359"/>
              <a:gd name="T103" fmla="*/ 333 h 394"/>
              <a:gd name="T104" fmla="*/ 246 w 359"/>
              <a:gd name="T105" fmla="*/ 333 h 394"/>
              <a:gd name="T106" fmla="*/ 221 w 359"/>
              <a:gd name="T107" fmla="*/ 336 h 394"/>
              <a:gd name="T108" fmla="*/ 181 w 359"/>
              <a:gd name="T109" fmla="*/ 343 h 394"/>
              <a:gd name="T110" fmla="*/ 131 w 359"/>
              <a:gd name="T111" fmla="*/ 359 h 394"/>
              <a:gd name="T112" fmla="*/ 86 w 359"/>
              <a:gd name="T113" fmla="*/ 375 h 394"/>
              <a:gd name="T114" fmla="*/ 53 w 359"/>
              <a:gd name="T115" fmla="*/ 394 h 3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60" name="Freeform 466">
            <a:extLst>
              <a:ext uri="{FF2B5EF4-FFF2-40B4-BE49-F238E27FC236}">
                <a16:creationId xmlns:a16="http://schemas.microsoft.com/office/drawing/2014/main" id="{5CB8F4FB-E688-4E5D-B0AE-1D3608BB8EF3}"/>
              </a:ext>
            </a:extLst>
          </p:cNvPr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8589595" y="3855335"/>
            <a:ext cx="184866" cy="271463"/>
          </a:xfrm>
          <a:custGeom>
            <a:avLst/>
            <a:gdLst>
              <a:gd name="T0" fmla="*/ 410 w 449"/>
              <a:gd name="T1" fmla="*/ 105 h 523"/>
              <a:gd name="T2" fmla="*/ 405 w 449"/>
              <a:gd name="T3" fmla="*/ 98 h 523"/>
              <a:gd name="T4" fmla="*/ 408 w 449"/>
              <a:gd name="T5" fmla="*/ 92 h 523"/>
              <a:gd name="T6" fmla="*/ 422 w 449"/>
              <a:gd name="T7" fmla="*/ 77 h 523"/>
              <a:gd name="T8" fmla="*/ 441 w 449"/>
              <a:gd name="T9" fmla="*/ 60 h 523"/>
              <a:gd name="T10" fmla="*/ 447 w 449"/>
              <a:gd name="T11" fmla="*/ 50 h 523"/>
              <a:gd name="T12" fmla="*/ 449 w 449"/>
              <a:gd name="T13" fmla="*/ 37 h 523"/>
              <a:gd name="T14" fmla="*/ 432 w 449"/>
              <a:gd name="T15" fmla="*/ 34 h 523"/>
              <a:gd name="T16" fmla="*/ 422 w 449"/>
              <a:gd name="T17" fmla="*/ 27 h 523"/>
              <a:gd name="T18" fmla="*/ 411 w 449"/>
              <a:gd name="T19" fmla="*/ 21 h 523"/>
              <a:gd name="T20" fmla="*/ 390 w 449"/>
              <a:gd name="T21" fmla="*/ 18 h 523"/>
              <a:gd name="T22" fmla="*/ 377 w 449"/>
              <a:gd name="T23" fmla="*/ 20 h 523"/>
              <a:gd name="T24" fmla="*/ 368 w 449"/>
              <a:gd name="T25" fmla="*/ 24 h 523"/>
              <a:gd name="T26" fmla="*/ 355 w 449"/>
              <a:gd name="T27" fmla="*/ 37 h 523"/>
              <a:gd name="T28" fmla="*/ 340 w 449"/>
              <a:gd name="T29" fmla="*/ 50 h 523"/>
              <a:gd name="T30" fmla="*/ 326 w 449"/>
              <a:gd name="T31" fmla="*/ 54 h 523"/>
              <a:gd name="T32" fmla="*/ 310 w 449"/>
              <a:gd name="T33" fmla="*/ 55 h 523"/>
              <a:gd name="T34" fmla="*/ 287 w 449"/>
              <a:gd name="T35" fmla="*/ 54 h 523"/>
              <a:gd name="T36" fmla="*/ 267 w 449"/>
              <a:gd name="T37" fmla="*/ 50 h 523"/>
              <a:gd name="T38" fmla="*/ 235 w 449"/>
              <a:gd name="T39" fmla="*/ 36 h 523"/>
              <a:gd name="T40" fmla="*/ 206 w 449"/>
              <a:gd name="T41" fmla="*/ 19 h 523"/>
              <a:gd name="T42" fmla="*/ 189 w 449"/>
              <a:gd name="T43" fmla="*/ 12 h 523"/>
              <a:gd name="T44" fmla="*/ 170 w 449"/>
              <a:gd name="T45" fmla="*/ 6 h 523"/>
              <a:gd name="T46" fmla="*/ 134 w 449"/>
              <a:gd name="T47" fmla="*/ 8 h 523"/>
              <a:gd name="T48" fmla="*/ 119 w 449"/>
              <a:gd name="T49" fmla="*/ 6 h 523"/>
              <a:gd name="T50" fmla="*/ 103 w 449"/>
              <a:gd name="T51" fmla="*/ 0 h 523"/>
              <a:gd name="T52" fmla="*/ 52 w 449"/>
              <a:gd name="T53" fmla="*/ 0 h 523"/>
              <a:gd name="T54" fmla="*/ 5 w 449"/>
              <a:gd name="T55" fmla="*/ 0 h 523"/>
              <a:gd name="T56" fmla="*/ 5 w 449"/>
              <a:gd name="T57" fmla="*/ 18 h 523"/>
              <a:gd name="T58" fmla="*/ 5 w 449"/>
              <a:gd name="T59" fmla="*/ 37 h 523"/>
              <a:gd name="T60" fmla="*/ 15 w 449"/>
              <a:gd name="T61" fmla="*/ 60 h 523"/>
              <a:gd name="T62" fmla="*/ 23 w 449"/>
              <a:gd name="T63" fmla="*/ 91 h 523"/>
              <a:gd name="T64" fmla="*/ 31 w 449"/>
              <a:gd name="T65" fmla="*/ 128 h 523"/>
              <a:gd name="T66" fmla="*/ 38 w 449"/>
              <a:gd name="T67" fmla="*/ 172 h 523"/>
              <a:gd name="T68" fmla="*/ 37 w 449"/>
              <a:gd name="T69" fmla="*/ 206 h 523"/>
              <a:gd name="T70" fmla="*/ 29 w 449"/>
              <a:gd name="T71" fmla="*/ 230 h 523"/>
              <a:gd name="T72" fmla="*/ 7 w 449"/>
              <a:gd name="T73" fmla="*/ 269 h 523"/>
              <a:gd name="T74" fmla="*/ 10 w 449"/>
              <a:gd name="T75" fmla="*/ 321 h 523"/>
              <a:gd name="T76" fmla="*/ 28 w 449"/>
              <a:gd name="T77" fmla="*/ 339 h 523"/>
              <a:gd name="T78" fmla="*/ 84 w 449"/>
              <a:gd name="T79" fmla="*/ 367 h 523"/>
              <a:gd name="T80" fmla="*/ 136 w 449"/>
              <a:gd name="T81" fmla="*/ 396 h 523"/>
              <a:gd name="T82" fmla="*/ 170 w 449"/>
              <a:gd name="T83" fmla="*/ 420 h 523"/>
              <a:gd name="T84" fmla="*/ 189 w 449"/>
              <a:gd name="T85" fmla="*/ 436 h 523"/>
              <a:gd name="T86" fmla="*/ 198 w 449"/>
              <a:gd name="T87" fmla="*/ 451 h 523"/>
              <a:gd name="T88" fmla="*/ 201 w 449"/>
              <a:gd name="T89" fmla="*/ 464 h 523"/>
              <a:gd name="T90" fmla="*/ 209 w 449"/>
              <a:gd name="T91" fmla="*/ 479 h 523"/>
              <a:gd name="T92" fmla="*/ 220 w 449"/>
              <a:gd name="T93" fmla="*/ 492 h 523"/>
              <a:gd name="T94" fmla="*/ 233 w 449"/>
              <a:gd name="T95" fmla="*/ 503 h 523"/>
              <a:gd name="T96" fmla="*/ 247 w 449"/>
              <a:gd name="T97" fmla="*/ 512 h 523"/>
              <a:gd name="T98" fmla="*/ 264 w 449"/>
              <a:gd name="T99" fmla="*/ 519 h 523"/>
              <a:gd name="T100" fmla="*/ 281 w 449"/>
              <a:gd name="T101" fmla="*/ 523 h 523"/>
              <a:gd name="T102" fmla="*/ 304 w 449"/>
              <a:gd name="T103" fmla="*/ 502 h 523"/>
              <a:gd name="T104" fmla="*/ 335 w 449"/>
              <a:gd name="T105" fmla="*/ 462 h 523"/>
              <a:gd name="T106" fmla="*/ 365 w 449"/>
              <a:gd name="T107" fmla="*/ 427 h 523"/>
              <a:gd name="T108" fmla="*/ 394 w 449"/>
              <a:gd name="T109" fmla="*/ 390 h 5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61" name="Freeform 467">
            <a:extLst>
              <a:ext uri="{FF2B5EF4-FFF2-40B4-BE49-F238E27FC236}">
                <a16:creationId xmlns:a16="http://schemas.microsoft.com/office/drawing/2014/main" id="{194C69BE-D36F-4325-B52B-FB24535CC8C9}"/>
              </a:ext>
            </a:extLst>
          </p:cNvPr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8572790" y="2940935"/>
            <a:ext cx="97780" cy="130175"/>
          </a:xfrm>
          <a:custGeom>
            <a:avLst/>
            <a:gdLst>
              <a:gd name="T0" fmla="*/ 12 w 226"/>
              <a:gd name="T1" fmla="*/ 228 h 246"/>
              <a:gd name="T2" fmla="*/ 36 w 226"/>
              <a:gd name="T3" fmla="*/ 240 h 246"/>
              <a:gd name="T4" fmla="*/ 53 w 226"/>
              <a:gd name="T5" fmla="*/ 245 h 246"/>
              <a:gd name="T6" fmla="*/ 68 w 226"/>
              <a:gd name="T7" fmla="*/ 245 h 246"/>
              <a:gd name="T8" fmla="*/ 85 w 226"/>
              <a:gd name="T9" fmla="*/ 241 h 246"/>
              <a:gd name="T10" fmla="*/ 110 w 226"/>
              <a:gd name="T11" fmla="*/ 228 h 246"/>
              <a:gd name="T12" fmla="*/ 141 w 226"/>
              <a:gd name="T13" fmla="*/ 205 h 246"/>
              <a:gd name="T14" fmla="*/ 161 w 226"/>
              <a:gd name="T15" fmla="*/ 184 h 246"/>
              <a:gd name="T16" fmla="*/ 159 w 226"/>
              <a:gd name="T17" fmla="*/ 173 h 246"/>
              <a:gd name="T18" fmla="*/ 149 w 226"/>
              <a:gd name="T19" fmla="*/ 160 h 246"/>
              <a:gd name="T20" fmla="*/ 143 w 226"/>
              <a:gd name="T21" fmla="*/ 145 h 246"/>
              <a:gd name="T22" fmla="*/ 141 w 226"/>
              <a:gd name="T23" fmla="*/ 130 h 246"/>
              <a:gd name="T24" fmla="*/ 141 w 226"/>
              <a:gd name="T25" fmla="*/ 116 h 246"/>
              <a:gd name="T26" fmla="*/ 146 w 226"/>
              <a:gd name="T27" fmla="*/ 105 h 246"/>
              <a:gd name="T28" fmla="*/ 156 w 226"/>
              <a:gd name="T29" fmla="*/ 94 h 246"/>
              <a:gd name="T30" fmla="*/ 168 w 226"/>
              <a:gd name="T31" fmla="*/ 86 h 246"/>
              <a:gd name="T32" fmla="*/ 204 w 226"/>
              <a:gd name="T33" fmla="*/ 71 h 246"/>
              <a:gd name="T34" fmla="*/ 225 w 226"/>
              <a:gd name="T35" fmla="*/ 49 h 246"/>
              <a:gd name="T36" fmla="*/ 221 w 226"/>
              <a:gd name="T37" fmla="*/ 30 h 246"/>
              <a:gd name="T38" fmla="*/ 214 w 226"/>
              <a:gd name="T39" fmla="*/ 17 h 246"/>
              <a:gd name="T40" fmla="*/ 212 w 226"/>
              <a:gd name="T41" fmla="*/ 6 h 246"/>
              <a:gd name="T42" fmla="*/ 202 w 226"/>
              <a:gd name="T43" fmla="*/ 1 h 246"/>
              <a:gd name="T44" fmla="*/ 181 w 226"/>
              <a:gd name="T45" fmla="*/ 7 h 246"/>
              <a:gd name="T46" fmla="*/ 154 w 226"/>
              <a:gd name="T47" fmla="*/ 20 h 246"/>
              <a:gd name="T48" fmla="*/ 121 w 226"/>
              <a:gd name="T49" fmla="*/ 38 h 246"/>
              <a:gd name="T50" fmla="*/ 100 w 226"/>
              <a:gd name="T51" fmla="*/ 51 h 246"/>
              <a:gd name="T52" fmla="*/ 87 w 226"/>
              <a:gd name="T53" fmla="*/ 55 h 246"/>
              <a:gd name="T54" fmla="*/ 75 w 226"/>
              <a:gd name="T55" fmla="*/ 54 h 246"/>
              <a:gd name="T56" fmla="*/ 59 w 226"/>
              <a:gd name="T57" fmla="*/ 47 h 246"/>
              <a:gd name="T58" fmla="*/ 36 w 226"/>
              <a:gd name="T59" fmla="*/ 31 h 246"/>
              <a:gd name="T60" fmla="*/ 24 w 226"/>
              <a:gd name="T61" fmla="*/ 39 h 246"/>
              <a:gd name="T62" fmla="*/ 18 w 226"/>
              <a:gd name="T63" fmla="*/ 95 h 246"/>
              <a:gd name="T64" fmla="*/ 10 w 226"/>
              <a:gd name="T65" fmla="*/ 163 h 246"/>
              <a:gd name="T66" fmla="*/ 3 w 226"/>
              <a:gd name="T67" fmla="*/ 212 h 2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62" name="Freeform 468">
            <a:extLst>
              <a:ext uri="{FF2B5EF4-FFF2-40B4-BE49-F238E27FC236}">
                <a16:creationId xmlns:a16="http://schemas.microsoft.com/office/drawing/2014/main" id="{EE97686D-26B4-4D41-BCDE-41F1CB5452AC}"/>
              </a:ext>
            </a:extLst>
          </p:cNvPr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8860019" y="3044122"/>
            <a:ext cx="21389" cy="55562"/>
          </a:xfrm>
          <a:custGeom>
            <a:avLst/>
            <a:gdLst>
              <a:gd name="T0" fmla="*/ 27 w 60"/>
              <a:gd name="T1" fmla="*/ 0 h 81"/>
              <a:gd name="T2" fmla="*/ 29 w 60"/>
              <a:gd name="T3" fmla="*/ 2 h 81"/>
              <a:gd name="T4" fmla="*/ 32 w 60"/>
              <a:gd name="T5" fmla="*/ 3 h 81"/>
              <a:gd name="T6" fmla="*/ 36 w 60"/>
              <a:gd name="T7" fmla="*/ 3 h 81"/>
              <a:gd name="T8" fmla="*/ 40 w 60"/>
              <a:gd name="T9" fmla="*/ 2 h 81"/>
              <a:gd name="T10" fmla="*/ 47 w 60"/>
              <a:gd name="T11" fmla="*/ 1 h 81"/>
              <a:gd name="T12" fmla="*/ 53 w 60"/>
              <a:gd name="T13" fmla="*/ 0 h 81"/>
              <a:gd name="T14" fmla="*/ 53 w 60"/>
              <a:gd name="T15" fmla="*/ 26 h 81"/>
              <a:gd name="T16" fmla="*/ 54 w 60"/>
              <a:gd name="T17" fmla="*/ 47 h 81"/>
              <a:gd name="T18" fmla="*/ 54 w 60"/>
              <a:gd name="T19" fmla="*/ 57 h 81"/>
              <a:gd name="T20" fmla="*/ 56 w 60"/>
              <a:gd name="T21" fmla="*/ 65 h 81"/>
              <a:gd name="T22" fmla="*/ 58 w 60"/>
              <a:gd name="T23" fmla="*/ 73 h 81"/>
              <a:gd name="T24" fmla="*/ 60 w 60"/>
              <a:gd name="T25" fmla="*/ 81 h 81"/>
              <a:gd name="T26" fmla="*/ 20 w 60"/>
              <a:gd name="T27" fmla="*/ 81 h 81"/>
              <a:gd name="T28" fmla="*/ 14 w 60"/>
              <a:gd name="T29" fmla="*/ 80 h 81"/>
              <a:gd name="T30" fmla="*/ 7 w 60"/>
              <a:gd name="T31" fmla="*/ 77 h 81"/>
              <a:gd name="T32" fmla="*/ 5 w 60"/>
              <a:gd name="T33" fmla="*/ 74 h 81"/>
              <a:gd name="T34" fmla="*/ 2 w 60"/>
              <a:gd name="T35" fmla="*/ 72 h 81"/>
              <a:gd name="T36" fmla="*/ 1 w 60"/>
              <a:gd name="T37" fmla="*/ 70 h 81"/>
              <a:gd name="T38" fmla="*/ 0 w 60"/>
              <a:gd name="T39" fmla="*/ 68 h 81"/>
              <a:gd name="T40" fmla="*/ 7 w 60"/>
              <a:gd name="T41" fmla="*/ 12 h 81"/>
              <a:gd name="T42" fmla="*/ 20 w 60"/>
              <a:gd name="T43" fmla="*/ 6 h 81"/>
              <a:gd name="T44" fmla="*/ 34 w 60"/>
              <a:gd name="T45" fmla="*/ 0 h 81"/>
              <a:gd name="T46" fmla="*/ 27 w 60"/>
              <a:gd name="T47" fmla="*/ 0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</a:cxnLst>
            <a:rect l="0" t="0" r="r" b="b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63" name="Freeform 469">
            <a:extLst>
              <a:ext uri="{FF2B5EF4-FFF2-40B4-BE49-F238E27FC236}">
                <a16:creationId xmlns:a16="http://schemas.microsoft.com/office/drawing/2014/main" id="{A52C82B9-ADDD-4B6F-86FE-CBC8430482A3}"/>
              </a:ext>
            </a:extLst>
          </p:cNvPr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8174031" y="2178935"/>
            <a:ext cx="155837" cy="66675"/>
          </a:xfrm>
          <a:custGeom>
            <a:avLst/>
            <a:gdLst>
              <a:gd name="T0" fmla="*/ 250 w 370"/>
              <a:gd name="T1" fmla="*/ 117 h 129"/>
              <a:gd name="T2" fmla="*/ 258 w 370"/>
              <a:gd name="T3" fmla="*/ 119 h 129"/>
              <a:gd name="T4" fmla="*/ 277 w 370"/>
              <a:gd name="T5" fmla="*/ 123 h 129"/>
              <a:gd name="T6" fmla="*/ 295 w 370"/>
              <a:gd name="T7" fmla="*/ 127 h 129"/>
              <a:gd name="T8" fmla="*/ 303 w 370"/>
              <a:gd name="T9" fmla="*/ 129 h 129"/>
              <a:gd name="T10" fmla="*/ 370 w 370"/>
              <a:gd name="T11" fmla="*/ 97 h 129"/>
              <a:gd name="T12" fmla="*/ 358 w 370"/>
              <a:gd name="T13" fmla="*/ 75 h 129"/>
              <a:gd name="T14" fmla="*/ 345 w 370"/>
              <a:gd name="T15" fmla="*/ 48 h 129"/>
              <a:gd name="T16" fmla="*/ 335 w 370"/>
              <a:gd name="T17" fmla="*/ 27 h 129"/>
              <a:gd name="T18" fmla="*/ 330 w 370"/>
              <a:gd name="T19" fmla="*/ 18 h 129"/>
              <a:gd name="T20" fmla="*/ 300 w 370"/>
              <a:gd name="T21" fmla="*/ 15 h 129"/>
              <a:gd name="T22" fmla="*/ 257 w 370"/>
              <a:gd name="T23" fmla="*/ 9 h 129"/>
              <a:gd name="T24" fmla="*/ 214 w 370"/>
              <a:gd name="T25" fmla="*/ 2 h 129"/>
              <a:gd name="T26" fmla="*/ 183 w 370"/>
              <a:gd name="T27" fmla="*/ 0 h 129"/>
              <a:gd name="T28" fmla="*/ 179 w 370"/>
              <a:gd name="T29" fmla="*/ 0 h 129"/>
              <a:gd name="T30" fmla="*/ 176 w 370"/>
              <a:gd name="T31" fmla="*/ 1 h 129"/>
              <a:gd name="T32" fmla="*/ 172 w 370"/>
              <a:gd name="T33" fmla="*/ 2 h 129"/>
              <a:gd name="T34" fmla="*/ 170 w 370"/>
              <a:gd name="T35" fmla="*/ 3 h 129"/>
              <a:gd name="T36" fmla="*/ 162 w 370"/>
              <a:gd name="T37" fmla="*/ 7 h 129"/>
              <a:gd name="T38" fmla="*/ 150 w 370"/>
              <a:gd name="T39" fmla="*/ 12 h 129"/>
              <a:gd name="T40" fmla="*/ 147 w 370"/>
              <a:gd name="T41" fmla="*/ 21 h 129"/>
              <a:gd name="T42" fmla="*/ 140 w 370"/>
              <a:gd name="T43" fmla="*/ 35 h 129"/>
              <a:gd name="T44" fmla="*/ 134 w 370"/>
              <a:gd name="T45" fmla="*/ 48 h 129"/>
              <a:gd name="T46" fmla="*/ 131 w 370"/>
              <a:gd name="T47" fmla="*/ 55 h 129"/>
              <a:gd name="T48" fmla="*/ 122 w 370"/>
              <a:gd name="T49" fmla="*/ 54 h 129"/>
              <a:gd name="T50" fmla="*/ 111 w 370"/>
              <a:gd name="T51" fmla="*/ 49 h 129"/>
              <a:gd name="T52" fmla="*/ 98 w 370"/>
              <a:gd name="T53" fmla="*/ 44 h 129"/>
              <a:gd name="T54" fmla="*/ 84 w 370"/>
              <a:gd name="T55" fmla="*/ 38 h 129"/>
              <a:gd name="T56" fmla="*/ 60 w 370"/>
              <a:gd name="T57" fmla="*/ 26 h 129"/>
              <a:gd name="T58" fmla="*/ 44 w 370"/>
              <a:gd name="T59" fmla="*/ 18 h 129"/>
              <a:gd name="T60" fmla="*/ 32 w 370"/>
              <a:gd name="T61" fmla="*/ 25 h 129"/>
              <a:gd name="T62" fmla="*/ 21 w 370"/>
              <a:gd name="T63" fmla="*/ 33 h 129"/>
              <a:gd name="T64" fmla="*/ 16 w 370"/>
              <a:gd name="T65" fmla="*/ 37 h 129"/>
              <a:gd name="T66" fmla="*/ 12 w 370"/>
              <a:gd name="T67" fmla="*/ 41 h 129"/>
              <a:gd name="T68" fmla="*/ 9 w 370"/>
              <a:gd name="T69" fmla="*/ 46 h 129"/>
              <a:gd name="T70" fmla="*/ 5 w 370"/>
              <a:gd name="T71" fmla="*/ 52 h 129"/>
              <a:gd name="T72" fmla="*/ 3 w 370"/>
              <a:gd name="T73" fmla="*/ 57 h 129"/>
              <a:gd name="T74" fmla="*/ 1 w 370"/>
              <a:gd name="T75" fmla="*/ 63 h 129"/>
              <a:gd name="T76" fmla="*/ 0 w 370"/>
              <a:gd name="T77" fmla="*/ 69 h 129"/>
              <a:gd name="T78" fmla="*/ 0 w 370"/>
              <a:gd name="T79" fmla="*/ 75 h 129"/>
              <a:gd name="T80" fmla="*/ 1 w 370"/>
              <a:gd name="T81" fmla="*/ 82 h 129"/>
              <a:gd name="T82" fmla="*/ 3 w 370"/>
              <a:gd name="T83" fmla="*/ 88 h 129"/>
              <a:gd name="T84" fmla="*/ 6 w 370"/>
              <a:gd name="T85" fmla="*/ 96 h 129"/>
              <a:gd name="T86" fmla="*/ 11 w 370"/>
              <a:gd name="T87" fmla="*/ 103 h 129"/>
              <a:gd name="T88" fmla="*/ 20 w 370"/>
              <a:gd name="T89" fmla="*/ 101 h 129"/>
              <a:gd name="T90" fmla="*/ 33 w 370"/>
              <a:gd name="T91" fmla="*/ 99 h 129"/>
              <a:gd name="T92" fmla="*/ 50 w 370"/>
              <a:gd name="T93" fmla="*/ 97 h 129"/>
              <a:gd name="T94" fmla="*/ 69 w 370"/>
              <a:gd name="T95" fmla="*/ 95 h 129"/>
              <a:gd name="T96" fmla="*/ 102 w 370"/>
              <a:gd name="T97" fmla="*/ 92 h 129"/>
              <a:gd name="T98" fmla="*/ 117 w 370"/>
              <a:gd name="T99" fmla="*/ 91 h 129"/>
              <a:gd name="T100" fmla="*/ 137 w 370"/>
              <a:gd name="T101" fmla="*/ 92 h 129"/>
              <a:gd name="T102" fmla="*/ 152 w 370"/>
              <a:gd name="T103" fmla="*/ 94 h 129"/>
              <a:gd name="T104" fmla="*/ 166 w 370"/>
              <a:gd name="T105" fmla="*/ 97 h 129"/>
              <a:gd name="T106" fmla="*/ 177 w 370"/>
              <a:gd name="T107" fmla="*/ 100 h 129"/>
              <a:gd name="T108" fmla="*/ 189 w 370"/>
              <a:gd name="T109" fmla="*/ 104 h 129"/>
              <a:gd name="T110" fmla="*/ 201 w 370"/>
              <a:gd name="T111" fmla="*/ 108 h 129"/>
              <a:gd name="T112" fmla="*/ 217 w 370"/>
              <a:gd name="T113" fmla="*/ 110 h 129"/>
              <a:gd name="T114" fmla="*/ 237 w 370"/>
              <a:gd name="T115" fmla="*/ 111 h 129"/>
              <a:gd name="T116" fmla="*/ 237 w 370"/>
              <a:gd name="T117" fmla="*/ 117 h 129"/>
              <a:gd name="T118" fmla="*/ 250 w 370"/>
              <a:gd name="T119" fmla="*/ 117 h 1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4" name="Freeform 470">
            <a:extLst>
              <a:ext uri="{FF2B5EF4-FFF2-40B4-BE49-F238E27FC236}">
                <a16:creationId xmlns:a16="http://schemas.microsoft.com/office/drawing/2014/main" id="{BAC04BC5-7EB6-4500-A5A1-6085440F86FA}"/>
              </a:ext>
            </a:extLst>
          </p:cNvPr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8569734" y="2899659"/>
            <a:ext cx="29028" cy="57150"/>
          </a:xfrm>
          <a:custGeom>
            <a:avLst/>
            <a:gdLst>
              <a:gd name="T0" fmla="*/ 27 w 80"/>
              <a:gd name="T1" fmla="*/ 1 h 94"/>
              <a:gd name="T2" fmla="*/ 34 w 80"/>
              <a:gd name="T3" fmla="*/ 0 h 94"/>
              <a:gd name="T4" fmla="*/ 41 w 80"/>
              <a:gd name="T5" fmla="*/ 0 h 94"/>
              <a:gd name="T6" fmla="*/ 47 w 80"/>
              <a:gd name="T7" fmla="*/ 2 h 94"/>
              <a:gd name="T8" fmla="*/ 54 w 80"/>
              <a:gd name="T9" fmla="*/ 4 h 94"/>
              <a:gd name="T10" fmla="*/ 60 w 80"/>
              <a:gd name="T11" fmla="*/ 6 h 94"/>
              <a:gd name="T12" fmla="*/ 66 w 80"/>
              <a:gd name="T13" fmla="*/ 8 h 94"/>
              <a:gd name="T14" fmla="*/ 73 w 80"/>
              <a:gd name="T15" fmla="*/ 8 h 94"/>
              <a:gd name="T16" fmla="*/ 80 w 80"/>
              <a:gd name="T17" fmla="*/ 7 h 94"/>
              <a:gd name="T18" fmla="*/ 80 w 80"/>
              <a:gd name="T19" fmla="*/ 38 h 94"/>
              <a:gd name="T20" fmla="*/ 75 w 80"/>
              <a:gd name="T21" fmla="*/ 44 h 94"/>
              <a:gd name="T22" fmla="*/ 69 w 80"/>
              <a:gd name="T23" fmla="*/ 51 h 94"/>
              <a:gd name="T24" fmla="*/ 64 w 80"/>
              <a:gd name="T25" fmla="*/ 59 h 94"/>
              <a:gd name="T26" fmla="*/ 58 w 80"/>
              <a:gd name="T27" fmla="*/ 68 h 94"/>
              <a:gd name="T28" fmla="*/ 51 w 80"/>
              <a:gd name="T29" fmla="*/ 84 h 94"/>
              <a:gd name="T30" fmla="*/ 47 w 80"/>
              <a:gd name="T31" fmla="*/ 94 h 94"/>
              <a:gd name="T32" fmla="*/ 43 w 80"/>
              <a:gd name="T33" fmla="*/ 93 h 94"/>
              <a:gd name="T34" fmla="*/ 40 w 80"/>
              <a:gd name="T35" fmla="*/ 92 h 94"/>
              <a:gd name="T36" fmla="*/ 37 w 80"/>
              <a:gd name="T37" fmla="*/ 91 h 94"/>
              <a:gd name="T38" fmla="*/ 34 w 80"/>
              <a:gd name="T39" fmla="*/ 89 h 94"/>
              <a:gd name="T40" fmla="*/ 29 w 80"/>
              <a:gd name="T41" fmla="*/ 84 h 94"/>
              <a:gd name="T42" fmla="*/ 23 w 80"/>
              <a:gd name="T43" fmla="*/ 78 h 94"/>
              <a:gd name="T44" fmla="*/ 19 w 80"/>
              <a:gd name="T45" fmla="*/ 72 h 94"/>
              <a:gd name="T46" fmla="*/ 13 w 80"/>
              <a:gd name="T47" fmla="*/ 65 h 94"/>
              <a:gd name="T48" fmla="*/ 7 w 80"/>
              <a:gd name="T49" fmla="*/ 60 h 94"/>
              <a:gd name="T50" fmla="*/ 0 w 80"/>
              <a:gd name="T51" fmla="*/ 56 h 94"/>
              <a:gd name="T52" fmla="*/ 8 w 80"/>
              <a:gd name="T53" fmla="*/ 41 h 94"/>
              <a:gd name="T54" fmla="*/ 13 w 80"/>
              <a:gd name="T55" fmla="*/ 29 h 94"/>
              <a:gd name="T56" fmla="*/ 19 w 80"/>
              <a:gd name="T57" fmla="*/ 17 h 94"/>
              <a:gd name="T58" fmla="*/ 27 w 80"/>
              <a:gd name="T59" fmla="*/ 1 h 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65" name="Freeform 471">
            <a:extLst>
              <a:ext uri="{FF2B5EF4-FFF2-40B4-BE49-F238E27FC236}">
                <a16:creationId xmlns:a16="http://schemas.microsoft.com/office/drawing/2014/main" id="{3701D436-182C-40BC-AB87-1A62B2507606}"/>
              </a:ext>
            </a:extLst>
          </p:cNvPr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8392508" y="4911022"/>
            <a:ext cx="59584" cy="57150"/>
          </a:xfrm>
          <a:custGeom>
            <a:avLst/>
            <a:gdLst>
              <a:gd name="T0" fmla="*/ 3 w 135"/>
              <a:gd name="T1" fmla="*/ 55 h 98"/>
              <a:gd name="T2" fmla="*/ 11 w 135"/>
              <a:gd name="T3" fmla="*/ 54 h 98"/>
              <a:gd name="T4" fmla="*/ 18 w 135"/>
              <a:gd name="T5" fmla="*/ 53 h 98"/>
              <a:gd name="T6" fmla="*/ 24 w 135"/>
              <a:gd name="T7" fmla="*/ 50 h 98"/>
              <a:gd name="T8" fmla="*/ 31 w 135"/>
              <a:gd name="T9" fmla="*/ 47 h 98"/>
              <a:gd name="T10" fmla="*/ 42 w 135"/>
              <a:gd name="T11" fmla="*/ 38 h 98"/>
              <a:gd name="T12" fmla="*/ 52 w 135"/>
              <a:gd name="T13" fmla="*/ 28 h 98"/>
              <a:gd name="T14" fmla="*/ 61 w 135"/>
              <a:gd name="T15" fmla="*/ 18 h 98"/>
              <a:gd name="T16" fmla="*/ 71 w 135"/>
              <a:gd name="T17" fmla="*/ 8 h 98"/>
              <a:gd name="T18" fmla="*/ 76 w 135"/>
              <a:gd name="T19" fmla="*/ 5 h 98"/>
              <a:gd name="T20" fmla="*/ 82 w 135"/>
              <a:gd name="T21" fmla="*/ 2 h 98"/>
              <a:gd name="T22" fmla="*/ 88 w 135"/>
              <a:gd name="T23" fmla="*/ 0 h 98"/>
              <a:gd name="T24" fmla="*/ 96 w 135"/>
              <a:gd name="T25" fmla="*/ 0 h 98"/>
              <a:gd name="T26" fmla="*/ 102 w 135"/>
              <a:gd name="T27" fmla="*/ 0 h 98"/>
              <a:gd name="T28" fmla="*/ 110 w 135"/>
              <a:gd name="T29" fmla="*/ 3 h 98"/>
              <a:gd name="T30" fmla="*/ 117 w 135"/>
              <a:gd name="T31" fmla="*/ 6 h 98"/>
              <a:gd name="T32" fmla="*/ 123 w 135"/>
              <a:gd name="T33" fmla="*/ 11 h 98"/>
              <a:gd name="T34" fmla="*/ 128 w 135"/>
              <a:gd name="T35" fmla="*/ 16 h 98"/>
              <a:gd name="T36" fmla="*/ 132 w 135"/>
              <a:gd name="T37" fmla="*/ 24 h 98"/>
              <a:gd name="T38" fmla="*/ 134 w 135"/>
              <a:gd name="T39" fmla="*/ 30 h 98"/>
              <a:gd name="T40" fmla="*/ 135 w 135"/>
              <a:gd name="T41" fmla="*/ 37 h 98"/>
              <a:gd name="T42" fmla="*/ 134 w 135"/>
              <a:gd name="T43" fmla="*/ 40 h 98"/>
              <a:gd name="T44" fmla="*/ 132 w 135"/>
              <a:gd name="T45" fmla="*/ 43 h 98"/>
              <a:gd name="T46" fmla="*/ 129 w 135"/>
              <a:gd name="T47" fmla="*/ 47 h 98"/>
              <a:gd name="T48" fmla="*/ 124 w 135"/>
              <a:gd name="T49" fmla="*/ 51 h 98"/>
              <a:gd name="T50" fmla="*/ 113 w 135"/>
              <a:gd name="T51" fmla="*/ 61 h 98"/>
              <a:gd name="T52" fmla="*/ 100 w 135"/>
              <a:gd name="T53" fmla="*/ 72 h 98"/>
              <a:gd name="T54" fmla="*/ 87 w 135"/>
              <a:gd name="T55" fmla="*/ 82 h 98"/>
              <a:gd name="T56" fmla="*/ 74 w 135"/>
              <a:gd name="T57" fmla="*/ 91 h 98"/>
              <a:gd name="T58" fmla="*/ 63 w 135"/>
              <a:gd name="T59" fmla="*/ 96 h 98"/>
              <a:gd name="T60" fmla="*/ 55 w 135"/>
              <a:gd name="T61" fmla="*/ 98 h 98"/>
              <a:gd name="T62" fmla="*/ 51 w 135"/>
              <a:gd name="T63" fmla="*/ 97 h 98"/>
              <a:gd name="T64" fmla="*/ 43 w 135"/>
              <a:gd name="T65" fmla="*/ 92 h 98"/>
              <a:gd name="T66" fmla="*/ 32 w 135"/>
              <a:gd name="T67" fmla="*/ 85 h 98"/>
              <a:gd name="T68" fmla="*/ 21 w 135"/>
              <a:gd name="T69" fmla="*/ 77 h 98"/>
              <a:gd name="T70" fmla="*/ 11 w 135"/>
              <a:gd name="T71" fmla="*/ 68 h 98"/>
              <a:gd name="T72" fmla="*/ 5 w 135"/>
              <a:gd name="T73" fmla="*/ 62 h 98"/>
              <a:gd name="T74" fmla="*/ 1 w 135"/>
              <a:gd name="T75" fmla="*/ 59 h 98"/>
              <a:gd name="T76" fmla="*/ 0 w 135"/>
              <a:gd name="T77" fmla="*/ 57 h 98"/>
              <a:gd name="T78" fmla="*/ 0 w 135"/>
              <a:gd name="T79" fmla="*/ 56 h 98"/>
              <a:gd name="T80" fmla="*/ 3 w 135"/>
              <a:gd name="T81" fmla="*/ 55 h 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</a:cxnLst>
            <a:rect l="0" t="0" r="r" b="b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66" name="Freeform 472">
            <a:extLst>
              <a:ext uri="{FF2B5EF4-FFF2-40B4-BE49-F238E27FC236}">
                <a16:creationId xmlns:a16="http://schemas.microsoft.com/office/drawing/2014/main" id="{D44A0197-F300-45C1-BC86-E77B9CA5B576}"/>
              </a:ext>
            </a:extLst>
          </p:cNvPr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8172503" y="2226559"/>
            <a:ext cx="126808" cy="84138"/>
          </a:xfrm>
          <a:custGeom>
            <a:avLst/>
            <a:gdLst>
              <a:gd name="T0" fmla="*/ 192 w 312"/>
              <a:gd name="T1" fmla="*/ 155 h 155"/>
              <a:gd name="T2" fmla="*/ 194 w 312"/>
              <a:gd name="T3" fmla="*/ 151 h 155"/>
              <a:gd name="T4" fmla="*/ 197 w 312"/>
              <a:gd name="T5" fmla="*/ 148 h 155"/>
              <a:gd name="T6" fmla="*/ 200 w 312"/>
              <a:gd name="T7" fmla="*/ 145 h 155"/>
              <a:gd name="T8" fmla="*/ 203 w 312"/>
              <a:gd name="T9" fmla="*/ 142 h 155"/>
              <a:gd name="T10" fmla="*/ 211 w 312"/>
              <a:gd name="T11" fmla="*/ 137 h 155"/>
              <a:gd name="T12" fmla="*/ 220 w 312"/>
              <a:gd name="T13" fmla="*/ 132 h 155"/>
              <a:gd name="T14" fmla="*/ 238 w 312"/>
              <a:gd name="T15" fmla="*/ 123 h 155"/>
              <a:gd name="T16" fmla="*/ 253 w 312"/>
              <a:gd name="T17" fmla="*/ 117 h 155"/>
              <a:gd name="T18" fmla="*/ 255 w 312"/>
              <a:gd name="T19" fmla="*/ 109 h 155"/>
              <a:gd name="T20" fmla="*/ 260 w 312"/>
              <a:gd name="T21" fmla="*/ 97 h 155"/>
              <a:gd name="T22" fmla="*/ 264 w 312"/>
              <a:gd name="T23" fmla="*/ 91 h 155"/>
              <a:gd name="T24" fmla="*/ 267 w 312"/>
              <a:gd name="T25" fmla="*/ 86 h 155"/>
              <a:gd name="T26" fmla="*/ 269 w 312"/>
              <a:gd name="T27" fmla="*/ 82 h 155"/>
              <a:gd name="T28" fmla="*/ 272 w 312"/>
              <a:gd name="T29" fmla="*/ 81 h 155"/>
              <a:gd name="T30" fmla="*/ 312 w 312"/>
              <a:gd name="T31" fmla="*/ 44 h 155"/>
              <a:gd name="T32" fmla="*/ 312 w 312"/>
              <a:gd name="T33" fmla="*/ 39 h 155"/>
              <a:gd name="T34" fmla="*/ 310 w 312"/>
              <a:gd name="T35" fmla="*/ 35 h 155"/>
              <a:gd name="T36" fmla="*/ 306 w 312"/>
              <a:gd name="T37" fmla="*/ 32 h 155"/>
              <a:gd name="T38" fmla="*/ 302 w 312"/>
              <a:gd name="T39" fmla="*/ 30 h 155"/>
              <a:gd name="T40" fmla="*/ 291 w 312"/>
              <a:gd name="T41" fmla="*/ 28 h 155"/>
              <a:gd name="T42" fmla="*/ 280 w 312"/>
              <a:gd name="T43" fmla="*/ 27 h 155"/>
              <a:gd name="T44" fmla="*/ 268 w 312"/>
              <a:gd name="T45" fmla="*/ 27 h 155"/>
              <a:gd name="T46" fmla="*/ 259 w 312"/>
              <a:gd name="T47" fmla="*/ 27 h 155"/>
              <a:gd name="T48" fmla="*/ 256 w 312"/>
              <a:gd name="T49" fmla="*/ 26 h 155"/>
              <a:gd name="T50" fmla="*/ 253 w 312"/>
              <a:gd name="T51" fmla="*/ 25 h 155"/>
              <a:gd name="T52" fmla="*/ 252 w 312"/>
              <a:gd name="T53" fmla="*/ 23 h 155"/>
              <a:gd name="T54" fmla="*/ 253 w 312"/>
              <a:gd name="T55" fmla="*/ 20 h 155"/>
              <a:gd name="T56" fmla="*/ 232 w 312"/>
              <a:gd name="T57" fmla="*/ 19 h 155"/>
              <a:gd name="T58" fmla="*/ 216 w 312"/>
              <a:gd name="T59" fmla="*/ 17 h 155"/>
              <a:gd name="T60" fmla="*/ 202 w 312"/>
              <a:gd name="T61" fmla="*/ 13 h 155"/>
              <a:gd name="T62" fmla="*/ 189 w 312"/>
              <a:gd name="T63" fmla="*/ 9 h 155"/>
              <a:gd name="T64" fmla="*/ 177 w 312"/>
              <a:gd name="T65" fmla="*/ 6 h 155"/>
              <a:gd name="T66" fmla="*/ 163 w 312"/>
              <a:gd name="T67" fmla="*/ 3 h 155"/>
              <a:gd name="T68" fmla="*/ 146 w 312"/>
              <a:gd name="T69" fmla="*/ 1 h 155"/>
              <a:gd name="T70" fmla="*/ 126 w 312"/>
              <a:gd name="T71" fmla="*/ 0 h 155"/>
              <a:gd name="T72" fmla="*/ 110 w 312"/>
              <a:gd name="T73" fmla="*/ 1 h 155"/>
              <a:gd name="T74" fmla="*/ 74 w 312"/>
              <a:gd name="T75" fmla="*/ 4 h 155"/>
              <a:gd name="T76" fmla="*/ 53 w 312"/>
              <a:gd name="T77" fmla="*/ 6 h 155"/>
              <a:gd name="T78" fmla="*/ 34 w 312"/>
              <a:gd name="T79" fmla="*/ 8 h 155"/>
              <a:gd name="T80" fmla="*/ 18 w 312"/>
              <a:gd name="T81" fmla="*/ 10 h 155"/>
              <a:gd name="T82" fmla="*/ 7 w 312"/>
              <a:gd name="T83" fmla="*/ 12 h 155"/>
              <a:gd name="T84" fmla="*/ 9 w 312"/>
              <a:gd name="T85" fmla="*/ 17 h 155"/>
              <a:gd name="T86" fmla="*/ 11 w 312"/>
              <a:gd name="T87" fmla="*/ 19 h 155"/>
              <a:gd name="T88" fmla="*/ 13 w 312"/>
              <a:gd name="T89" fmla="*/ 19 h 155"/>
              <a:gd name="T90" fmla="*/ 15 w 312"/>
              <a:gd name="T91" fmla="*/ 20 h 155"/>
              <a:gd name="T92" fmla="*/ 18 w 312"/>
              <a:gd name="T93" fmla="*/ 20 h 155"/>
              <a:gd name="T94" fmla="*/ 19 w 312"/>
              <a:gd name="T95" fmla="*/ 20 h 155"/>
              <a:gd name="T96" fmla="*/ 20 w 312"/>
              <a:gd name="T97" fmla="*/ 22 h 155"/>
              <a:gd name="T98" fmla="*/ 20 w 312"/>
              <a:gd name="T99" fmla="*/ 26 h 155"/>
              <a:gd name="T100" fmla="*/ 20 w 312"/>
              <a:gd name="T101" fmla="*/ 30 h 155"/>
              <a:gd name="T102" fmla="*/ 19 w 312"/>
              <a:gd name="T103" fmla="*/ 35 h 155"/>
              <a:gd name="T104" fmla="*/ 18 w 312"/>
              <a:gd name="T105" fmla="*/ 39 h 155"/>
              <a:gd name="T106" fmla="*/ 15 w 312"/>
              <a:gd name="T107" fmla="*/ 42 h 155"/>
              <a:gd name="T108" fmla="*/ 12 w 312"/>
              <a:gd name="T109" fmla="*/ 45 h 155"/>
              <a:gd name="T110" fmla="*/ 9 w 312"/>
              <a:gd name="T111" fmla="*/ 48 h 155"/>
              <a:gd name="T112" fmla="*/ 4 w 312"/>
              <a:gd name="T113" fmla="*/ 49 h 155"/>
              <a:gd name="T114" fmla="*/ 0 w 312"/>
              <a:gd name="T115" fmla="*/ 50 h 155"/>
              <a:gd name="T116" fmla="*/ 74 w 312"/>
              <a:gd name="T117" fmla="*/ 68 h 155"/>
              <a:gd name="T118" fmla="*/ 87 w 312"/>
              <a:gd name="T119" fmla="*/ 111 h 155"/>
              <a:gd name="T120" fmla="*/ 166 w 312"/>
              <a:gd name="T121" fmla="*/ 123 h 155"/>
              <a:gd name="T122" fmla="*/ 192 w 312"/>
              <a:gd name="T123" fmla="*/ 155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7" name="Freeform 473">
            <a:extLst>
              <a:ext uri="{FF2B5EF4-FFF2-40B4-BE49-F238E27FC236}">
                <a16:creationId xmlns:a16="http://schemas.microsoft.com/office/drawing/2014/main" id="{BAE2BA93-20A1-4DBD-B06B-474F0AE751C8}"/>
              </a:ext>
            </a:extLst>
          </p:cNvPr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7889858" y="2412298"/>
            <a:ext cx="18334" cy="60325"/>
          </a:xfrm>
          <a:custGeom>
            <a:avLst/>
            <a:gdLst>
              <a:gd name="T0" fmla="*/ 0 w 46"/>
              <a:gd name="T1" fmla="*/ 25 h 50"/>
              <a:gd name="T2" fmla="*/ 2 w 46"/>
              <a:gd name="T3" fmla="*/ 18 h 50"/>
              <a:gd name="T4" fmla="*/ 1 w 46"/>
              <a:gd name="T5" fmla="*/ 14 h 50"/>
              <a:gd name="T6" fmla="*/ 2 w 46"/>
              <a:gd name="T7" fmla="*/ 13 h 50"/>
              <a:gd name="T8" fmla="*/ 3 w 46"/>
              <a:gd name="T9" fmla="*/ 13 h 50"/>
              <a:gd name="T10" fmla="*/ 6 w 46"/>
              <a:gd name="T11" fmla="*/ 12 h 50"/>
              <a:gd name="T12" fmla="*/ 13 w 46"/>
              <a:gd name="T13" fmla="*/ 12 h 50"/>
              <a:gd name="T14" fmla="*/ 46 w 46"/>
              <a:gd name="T15" fmla="*/ 0 h 50"/>
              <a:gd name="T16" fmla="*/ 46 w 46"/>
              <a:gd name="T17" fmla="*/ 50 h 50"/>
              <a:gd name="T18" fmla="*/ 40 w 46"/>
              <a:gd name="T19" fmla="*/ 49 h 50"/>
              <a:gd name="T20" fmla="*/ 33 w 46"/>
              <a:gd name="T21" fmla="*/ 45 h 50"/>
              <a:gd name="T22" fmla="*/ 25 w 46"/>
              <a:gd name="T23" fmla="*/ 41 h 50"/>
              <a:gd name="T24" fmla="*/ 17 w 46"/>
              <a:gd name="T25" fmla="*/ 37 h 50"/>
              <a:gd name="T26" fmla="*/ 5 w 46"/>
              <a:gd name="T27" fmla="*/ 28 h 50"/>
              <a:gd name="T28" fmla="*/ 0 w 46"/>
              <a:gd name="T29" fmla="*/ 25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68" name="Freeform 474">
            <a:extLst>
              <a:ext uri="{FF2B5EF4-FFF2-40B4-BE49-F238E27FC236}">
                <a16:creationId xmlns:a16="http://schemas.microsoft.com/office/drawing/2014/main" id="{B0FE4E15-7304-4FCB-A8A5-2177DFFC9812}"/>
              </a:ext>
            </a:extLst>
          </p:cNvPr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8560567" y="4296659"/>
            <a:ext cx="67224" cy="241300"/>
          </a:xfrm>
          <a:custGeom>
            <a:avLst/>
            <a:gdLst>
              <a:gd name="T0" fmla="*/ 10 w 166"/>
              <a:gd name="T1" fmla="*/ 282 h 456"/>
              <a:gd name="T2" fmla="*/ 19 w 166"/>
              <a:gd name="T3" fmla="*/ 290 h 456"/>
              <a:gd name="T4" fmla="*/ 37 w 166"/>
              <a:gd name="T5" fmla="*/ 300 h 456"/>
              <a:gd name="T6" fmla="*/ 58 w 166"/>
              <a:gd name="T7" fmla="*/ 306 h 456"/>
              <a:gd name="T8" fmla="*/ 70 w 166"/>
              <a:gd name="T9" fmla="*/ 312 h 456"/>
              <a:gd name="T10" fmla="*/ 80 w 166"/>
              <a:gd name="T11" fmla="*/ 320 h 456"/>
              <a:gd name="T12" fmla="*/ 86 w 166"/>
              <a:gd name="T13" fmla="*/ 331 h 456"/>
              <a:gd name="T14" fmla="*/ 86 w 166"/>
              <a:gd name="T15" fmla="*/ 347 h 456"/>
              <a:gd name="T16" fmla="*/ 78 w 166"/>
              <a:gd name="T17" fmla="*/ 363 h 456"/>
              <a:gd name="T18" fmla="*/ 68 w 166"/>
              <a:gd name="T19" fmla="*/ 375 h 456"/>
              <a:gd name="T20" fmla="*/ 62 w 166"/>
              <a:gd name="T21" fmla="*/ 388 h 456"/>
              <a:gd name="T22" fmla="*/ 60 w 166"/>
              <a:gd name="T23" fmla="*/ 400 h 456"/>
              <a:gd name="T24" fmla="*/ 64 w 166"/>
              <a:gd name="T25" fmla="*/ 411 h 456"/>
              <a:gd name="T26" fmla="*/ 76 w 166"/>
              <a:gd name="T27" fmla="*/ 424 h 456"/>
              <a:gd name="T28" fmla="*/ 104 w 166"/>
              <a:gd name="T29" fmla="*/ 445 h 456"/>
              <a:gd name="T30" fmla="*/ 120 w 166"/>
              <a:gd name="T31" fmla="*/ 443 h 456"/>
              <a:gd name="T32" fmla="*/ 120 w 166"/>
              <a:gd name="T33" fmla="*/ 423 h 456"/>
              <a:gd name="T34" fmla="*/ 131 w 166"/>
              <a:gd name="T35" fmla="*/ 413 h 456"/>
              <a:gd name="T36" fmla="*/ 145 w 166"/>
              <a:gd name="T37" fmla="*/ 407 h 456"/>
              <a:gd name="T38" fmla="*/ 153 w 166"/>
              <a:gd name="T39" fmla="*/ 402 h 456"/>
              <a:gd name="T40" fmla="*/ 160 w 166"/>
              <a:gd name="T41" fmla="*/ 393 h 456"/>
              <a:gd name="T42" fmla="*/ 166 w 166"/>
              <a:gd name="T43" fmla="*/ 375 h 456"/>
              <a:gd name="T44" fmla="*/ 165 w 166"/>
              <a:gd name="T45" fmla="*/ 350 h 456"/>
              <a:gd name="T46" fmla="*/ 158 w 166"/>
              <a:gd name="T47" fmla="*/ 328 h 456"/>
              <a:gd name="T48" fmla="*/ 148 w 166"/>
              <a:gd name="T49" fmla="*/ 307 h 456"/>
              <a:gd name="T50" fmla="*/ 141 w 166"/>
              <a:gd name="T51" fmla="*/ 284 h 456"/>
              <a:gd name="T52" fmla="*/ 135 w 166"/>
              <a:gd name="T53" fmla="*/ 269 h 456"/>
              <a:gd name="T54" fmla="*/ 118 w 166"/>
              <a:gd name="T55" fmla="*/ 251 h 456"/>
              <a:gd name="T56" fmla="*/ 97 w 166"/>
              <a:gd name="T57" fmla="*/ 224 h 456"/>
              <a:gd name="T58" fmla="*/ 85 w 166"/>
              <a:gd name="T59" fmla="*/ 206 h 456"/>
              <a:gd name="T60" fmla="*/ 80 w 166"/>
              <a:gd name="T61" fmla="*/ 195 h 456"/>
              <a:gd name="T62" fmla="*/ 81 w 166"/>
              <a:gd name="T63" fmla="*/ 177 h 456"/>
              <a:gd name="T64" fmla="*/ 88 w 166"/>
              <a:gd name="T65" fmla="*/ 147 h 456"/>
              <a:gd name="T66" fmla="*/ 96 w 166"/>
              <a:gd name="T67" fmla="*/ 129 h 456"/>
              <a:gd name="T68" fmla="*/ 98 w 166"/>
              <a:gd name="T69" fmla="*/ 113 h 456"/>
              <a:gd name="T70" fmla="*/ 95 w 166"/>
              <a:gd name="T71" fmla="*/ 82 h 456"/>
              <a:gd name="T72" fmla="*/ 92 w 166"/>
              <a:gd name="T73" fmla="*/ 45 h 456"/>
              <a:gd name="T74" fmla="*/ 89 w 166"/>
              <a:gd name="T75" fmla="*/ 18 h 456"/>
              <a:gd name="T76" fmla="*/ 71 w 166"/>
              <a:gd name="T77" fmla="*/ 8 h 456"/>
              <a:gd name="T78" fmla="*/ 33 w 166"/>
              <a:gd name="T79" fmla="*/ 4 h 456"/>
              <a:gd name="T80" fmla="*/ 12 w 166"/>
              <a:gd name="T81" fmla="*/ 10 h 456"/>
              <a:gd name="T82" fmla="*/ 22 w 166"/>
              <a:gd name="T83" fmla="*/ 25 h 456"/>
              <a:gd name="T84" fmla="*/ 33 w 166"/>
              <a:gd name="T85" fmla="*/ 30 h 456"/>
              <a:gd name="T86" fmla="*/ 40 w 166"/>
              <a:gd name="T87" fmla="*/ 44 h 456"/>
              <a:gd name="T88" fmla="*/ 40 w 166"/>
              <a:gd name="T89" fmla="*/ 64 h 456"/>
              <a:gd name="T90" fmla="*/ 40 w 166"/>
              <a:gd name="T91" fmla="*/ 78 h 456"/>
              <a:gd name="T92" fmla="*/ 36 w 166"/>
              <a:gd name="T93" fmla="*/ 85 h 456"/>
              <a:gd name="T94" fmla="*/ 29 w 166"/>
              <a:gd name="T95" fmla="*/ 95 h 456"/>
              <a:gd name="T96" fmla="*/ 15 w 166"/>
              <a:gd name="T97" fmla="*/ 109 h 456"/>
              <a:gd name="T98" fmla="*/ 3 w 166"/>
              <a:gd name="T99" fmla="*/ 122 h 456"/>
              <a:gd name="T100" fmla="*/ 7 w 166"/>
              <a:gd name="T101" fmla="*/ 277 h 4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69" name="Freeform 475">
            <a:extLst>
              <a:ext uri="{FF2B5EF4-FFF2-40B4-BE49-F238E27FC236}">
                <a16:creationId xmlns:a16="http://schemas.microsoft.com/office/drawing/2014/main" id="{A9B270C1-9D51-45F7-A55D-A2DEBA476937}"/>
              </a:ext>
            </a:extLst>
          </p:cNvPr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8071669" y="2867909"/>
            <a:ext cx="13750" cy="57150"/>
          </a:xfrm>
          <a:custGeom>
            <a:avLst/>
            <a:gdLst>
              <a:gd name="T0" fmla="*/ 27 w 27"/>
              <a:gd name="T1" fmla="*/ 0 h 19"/>
              <a:gd name="T2" fmla="*/ 27 w 27"/>
              <a:gd name="T3" fmla="*/ 12 h 19"/>
              <a:gd name="T4" fmla="*/ 27 w 27"/>
              <a:gd name="T5" fmla="*/ 19 h 19"/>
              <a:gd name="T6" fmla="*/ 9 w 27"/>
              <a:gd name="T7" fmla="*/ 19 h 19"/>
              <a:gd name="T8" fmla="*/ 0 w 27"/>
              <a:gd name="T9" fmla="*/ 19 h 19"/>
              <a:gd name="T10" fmla="*/ 9 w 27"/>
              <a:gd name="T11" fmla="*/ 12 h 19"/>
              <a:gd name="T12" fmla="*/ 27 w 27"/>
              <a:gd name="T1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70" name="Freeform 476">
            <a:extLst>
              <a:ext uri="{FF2B5EF4-FFF2-40B4-BE49-F238E27FC236}">
                <a16:creationId xmlns:a16="http://schemas.microsoft.com/office/drawing/2014/main" id="{BEC136F0-A7B0-4DBE-BA85-55A5CB04362A}"/>
              </a:ext>
            </a:extLst>
          </p:cNvPr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8378758" y="4488748"/>
            <a:ext cx="181810" cy="217487"/>
          </a:xfrm>
          <a:custGeom>
            <a:avLst/>
            <a:gdLst>
              <a:gd name="T0" fmla="*/ 284 w 438"/>
              <a:gd name="T1" fmla="*/ 8 h 406"/>
              <a:gd name="T2" fmla="*/ 320 w 438"/>
              <a:gd name="T3" fmla="*/ 27 h 406"/>
              <a:gd name="T4" fmla="*/ 363 w 438"/>
              <a:gd name="T5" fmla="*/ 47 h 406"/>
              <a:gd name="T6" fmla="*/ 395 w 438"/>
              <a:gd name="T7" fmla="*/ 58 h 406"/>
              <a:gd name="T8" fmla="*/ 416 w 438"/>
              <a:gd name="T9" fmla="*/ 61 h 406"/>
              <a:gd name="T10" fmla="*/ 425 w 438"/>
              <a:gd name="T11" fmla="*/ 81 h 406"/>
              <a:gd name="T12" fmla="*/ 429 w 438"/>
              <a:gd name="T13" fmla="*/ 120 h 406"/>
              <a:gd name="T14" fmla="*/ 434 w 438"/>
              <a:gd name="T15" fmla="*/ 157 h 406"/>
              <a:gd name="T16" fmla="*/ 438 w 438"/>
              <a:gd name="T17" fmla="*/ 195 h 406"/>
              <a:gd name="T18" fmla="*/ 438 w 438"/>
              <a:gd name="T19" fmla="*/ 223 h 406"/>
              <a:gd name="T20" fmla="*/ 435 w 438"/>
              <a:gd name="T21" fmla="*/ 237 h 406"/>
              <a:gd name="T22" fmla="*/ 425 w 438"/>
              <a:gd name="T23" fmla="*/ 259 h 406"/>
              <a:gd name="T24" fmla="*/ 407 w 438"/>
              <a:gd name="T25" fmla="*/ 287 h 406"/>
              <a:gd name="T26" fmla="*/ 391 w 438"/>
              <a:gd name="T27" fmla="*/ 307 h 406"/>
              <a:gd name="T28" fmla="*/ 381 w 438"/>
              <a:gd name="T29" fmla="*/ 320 h 406"/>
              <a:gd name="T30" fmla="*/ 374 w 438"/>
              <a:gd name="T31" fmla="*/ 332 h 406"/>
              <a:gd name="T32" fmla="*/ 372 w 438"/>
              <a:gd name="T33" fmla="*/ 352 h 406"/>
              <a:gd name="T34" fmla="*/ 359 w 438"/>
              <a:gd name="T35" fmla="*/ 372 h 406"/>
              <a:gd name="T36" fmla="*/ 321 w 438"/>
              <a:gd name="T37" fmla="*/ 401 h 406"/>
              <a:gd name="T38" fmla="*/ 205 w 438"/>
              <a:gd name="T39" fmla="*/ 388 h 406"/>
              <a:gd name="T40" fmla="*/ 182 w 438"/>
              <a:gd name="T41" fmla="*/ 379 h 406"/>
              <a:gd name="T42" fmla="*/ 165 w 438"/>
              <a:gd name="T43" fmla="*/ 370 h 406"/>
              <a:gd name="T44" fmla="*/ 150 w 438"/>
              <a:gd name="T45" fmla="*/ 359 h 406"/>
              <a:gd name="T46" fmla="*/ 139 w 438"/>
              <a:gd name="T47" fmla="*/ 346 h 406"/>
              <a:gd name="T48" fmla="*/ 124 w 438"/>
              <a:gd name="T49" fmla="*/ 322 h 406"/>
              <a:gd name="T50" fmla="*/ 108 w 438"/>
              <a:gd name="T51" fmla="*/ 296 h 406"/>
              <a:gd name="T52" fmla="*/ 94 w 438"/>
              <a:gd name="T53" fmla="*/ 279 h 406"/>
              <a:gd name="T54" fmla="*/ 72 w 438"/>
              <a:gd name="T55" fmla="*/ 259 h 406"/>
              <a:gd name="T56" fmla="*/ 44 w 438"/>
              <a:gd name="T57" fmla="*/ 234 h 406"/>
              <a:gd name="T58" fmla="*/ 24 w 438"/>
              <a:gd name="T59" fmla="*/ 213 h 406"/>
              <a:gd name="T60" fmla="*/ 13 w 438"/>
              <a:gd name="T61" fmla="*/ 195 h 406"/>
              <a:gd name="T62" fmla="*/ 4 w 438"/>
              <a:gd name="T63" fmla="*/ 176 h 406"/>
              <a:gd name="T64" fmla="*/ 0 w 438"/>
              <a:gd name="T65" fmla="*/ 154 h 406"/>
              <a:gd name="T66" fmla="*/ 18 w 438"/>
              <a:gd name="T67" fmla="*/ 141 h 406"/>
              <a:gd name="T68" fmla="*/ 40 w 438"/>
              <a:gd name="T69" fmla="*/ 141 h 406"/>
              <a:gd name="T70" fmla="*/ 53 w 438"/>
              <a:gd name="T71" fmla="*/ 141 h 406"/>
              <a:gd name="T72" fmla="*/ 63 w 438"/>
              <a:gd name="T73" fmla="*/ 138 h 406"/>
              <a:gd name="T74" fmla="*/ 77 w 438"/>
              <a:gd name="T75" fmla="*/ 131 h 406"/>
              <a:gd name="T76" fmla="*/ 99 w 438"/>
              <a:gd name="T77" fmla="*/ 108 h 406"/>
              <a:gd name="T78" fmla="*/ 117 w 438"/>
              <a:gd name="T79" fmla="*/ 87 h 406"/>
              <a:gd name="T80" fmla="*/ 130 w 438"/>
              <a:gd name="T81" fmla="*/ 80 h 406"/>
              <a:gd name="T82" fmla="*/ 150 w 438"/>
              <a:gd name="T83" fmla="*/ 71 h 406"/>
              <a:gd name="T84" fmla="*/ 179 w 438"/>
              <a:gd name="T85" fmla="*/ 60 h 406"/>
              <a:gd name="T86" fmla="*/ 203 w 438"/>
              <a:gd name="T87" fmla="*/ 50 h 406"/>
              <a:gd name="T88" fmla="*/ 211 w 438"/>
              <a:gd name="T89" fmla="*/ 43 h 406"/>
              <a:gd name="T90" fmla="*/ 210 w 438"/>
              <a:gd name="T91" fmla="*/ 38 h 406"/>
              <a:gd name="T92" fmla="*/ 211 w 438"/>
              <a:gd name="T93" fmla="*/ 30 h 406"/>
              <a:gd name="T94" fmla="*/ 213 w 438"/>
              <a:gd name="T95" fmla="*/ 17 h 406"/>
              <a:gd name="T96" fmla="*/ 217 w 438"/>
              <a:gd name="T97" fmla="*/ 12 h 406"/>
              <a:gd name="T98" fmla="*/ 225 w 438"/>
              <a:gd name="T99" fmla="*/ 12 h 406"/>
              <a:gd name="T100" fmla="*/ 232 w 438"/>
              <a:gd name="T101" fmla="*/ 9 h 406"/>
              <a:gd name="T102" fmla="*/ 236 w 438"/>
              <a:gd name="T103" fmla="*/ 4 h 406"/>
              <a:gd name="T104" fmla="*/ 244 w 438"/>
              <a:gd name="T105" fmla="*/ 2 h 406"/>
              <a:gd name="T106" fmla="*/ 251 w 438"/>
              <a:gd name="T107" fmla="*/ 3 h 406"/>
              <a:gd name="T108" fmla="*/ 264 w 438"/>
              <a:gd name="T109" fmla="*/ 1 h 40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71" name="Freeform 477">
            <a:extLst>
              <a:ext uri="{FF2B5EF4-FFF2-40B4-BE49-F238E27FC236}">
                <a16:creationId xmlns:a16="http://schemas.microsoft.com/office/drawing/2014/main" id="{21E775F8-EFC4-4ECA-9487-146298B7B382}"/>
              </a:ext>
            </a:extLst>
          </p:cNvPr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8294729" y="4264909"/>
            <a:ext cx="282645" cy="300038"/>
          </a:xfrm>
          <a:custGeom>
            <a:avLst/>
            <a:gdLst>
              <a:gd name="T0" fmla="*/ 513 w 678"/>
              <a:gd name="T1" fmla="*/ 8 h 574"/>
              <a:gd name="T2" fmla="*/ 552 w 678"/>
              <a:gd name="T3" fmla="*/ 26 h 574"/>
              <a:gd name="T4" fmla="*/ 645 w 678"/>
              <a:gd name="T5" fmla="*/ 63 h 574"/>
              <a:gd name="T6" fmla="*/ 660 w 678"/>
              <a:gd name="T7" fmla="*/ 88 h 574"/>
              <a:gd name="T8" fmla="*/ 678 w 678"/>
              <a:gd name="T9" fmla="*/ 94 h 574"/>
              <a:gd name="T10" fmla="*/ 678 w 678"/>
              <a:gd name="T11" fmla="*/ 127 h 574"/>
              <a:gd name="T12" fmla="*/ 677 w 678"/>
              <a:gd name="T13" fmla="*/ 144 h 574"/>
              <a:gd name="T14" fmla="*/ 667 w 678"/>
              <a:gd name="T15" fmla="*/ 158 h 574"/>
              <a:gd name="T16" fmla="*/ 647 w 678"/>
              <a:gd name="T17" fmla="*/ 178 h 574"/>
              <a:gd name="T18" fmla="*/ 638 w 678"/>
              <a:gd name="T19" fmla="*/ 346 h 574"/>
              <a:gd name="T20" fmla="*/ 461 w 678"/>
              <a:gd name="T21" fmla="*/ 388 h 574"/>
              <a:gd name="T22" fmla="*/ 461 w 678"/>
              <a:gd name="T23" fmla="*/ 415 h 574"/>
              <a:gd name="T24" fmla="*/ 455 w 678"/>
              <a:gd name="T25" fmla="*/ 435 h 574"/>
              <a:gd name="T26" fmla="*/ 444 w 678"/>
              <a:gd name="T27" fmla="*/ 435 h 574"/>
              <a:gd name="T28" fmla="*/ 434 w 678"/>
              <a:gd name="T29" fmla="*/ 440 h 574"/>
              <a:gd name="T30" fmla="*/ 425 w 678"/>
              <a:gd name="T31" fmla="*/ 445 h 574"/>
              <a:gd name="T32" fmla="*/ 414 w 678"/>
              <a:gd name="T33" fmla="*/ 447 h 574"/>
              <a:gd name="T34" fmla="*/ 411 w 678"/>
              <a:gd name="T35" fmla="*/ 463 h 574"/>
              <a:gd name="T36" fmla="*/ 410 w 678"/>
              <a:gd name="T37" fmla="*/ 474 h 574"/>
              <a:gd name="T38" fmla="*/ 403 w 678"/>
              <a:gd name="T39" fmla="*/ 483 h 574"/>
              <a:gd name="T40" fmla="*/ 365 w 678"/>
              <a:gd name="T41" fmla="*/ 498 h 574"/>
              <a:gd name="T42" fmla="*/ 330 w 678"/>
              <a:gd name="T43" fmla="*/ 513 h 574"/>
              <a:gd name="T44" fmla="*/ 313 w 678"/>
              <a:gd name="T45" fmla="*/ 525 h 574"/>
              <a:gd name="T46" fmla="*/ 277 w 678"/>
              <a:gd name="T47" fmla="*/ 564 h 574"/>
              <a:gd name="T48" fmla="*/ 258 w 678"/>
              <a:gd name="T49" fmla="*/ 573 h 574"/>
              <a:gd name="T50" fmla="*/ 238 w 678"/>
              <a:gd name="T51" fmla="*/ 574 h 574"/>
              <a:gd name="T52" fmla="*/ 193 w 678"/>
              <a:gd name="T53" fmla="*/ 574 h 574"/>
              <a:gd name="T54" fmla="*/ 186 w 678"/>
              <a:gd name="T55" fmla="*/ 559 h 574"/>
              <a:gd name="T56" fmla="*/ 165 w 678"/>
              <a:gd name="T57" fmla="*/ 547 h 574"/>
              <a:gd name="T58" fmla="*/ 133 w 678"/>
              <a:gd name="T59" fmla="*/ 545 h 574"/>
              <a:gd name="T60" fmla="*/ 93 w 678"/>
              <a:gd name="T61" fmla="*/ 556 h 574"/>
              <a:gd name="T62" fmla="*/ 33 w 678"/>
              <a:gd name="T63" fmla="*/ 527 h 574"/>
              <a:gd name="T64" fmla="*/ 0 w 678"/>
              <a:gd name="T65" fmla="*/ 285 h 574"/>
              <a:gd name="T66" fmla="*/ 73 w 678"/>
              <a:gd name="T67" fmla="*/ 286 h 574"/>
              <a:gd name="T68" fmla="*/ 103 w 678"/>
              <a:gd name="T69" fmla="*/ 282 h 574"/>
              <a:gd name="T70" fmla="*/ 119 w 678"/>
              <a:gd name="T71" fmla="*/ 275 h 574"/>
              <a:gd name="T72" fmla="*/ 129 w 678"/>
              <a:gd name="T73" fmla="*/ 256 h 574"/>
              <a:gd name="T74" fmla="*/ 131 w 678"/>
              <a:gd name="T75" fmla="*/ 229 h 574"/>
              <a:gd name="T76" fmla="*/ 126 w 678"/>
              <a:gd name="T77" fmla="*/ 185 h 574"/>
              <a:gd name="T78" fmla="*/ 130 w 678"/>
              <a:gd name="T79" fmla="*/ 165 h 574"/>
              <a:gd name="T80" fmla="*/ 140 w 678"/>
              <a:gd name="T81" fmla="*/ 171 h 574"/>
              <a:gd name="T82" fmla="*/ 174 w 678"/>
              <a:gd name="T83" fmla="*/ 175 h 574"/>
              <a:gd name="T84" fmla="*/ 188 w 678"/>
              <a:gd name="T85" fmla="*/ 186 h 574"/>
              <a:gd name="T86" fmla="*/ 195 w 678"/>
              <a:gd name="T87" fmla="*/ 201 h 574"/>
              <a:gd name="T88" fmla="*/ 208 w 678"/>
              <a:gd name="T89" fmla="*/ 210 h 574"/>
              <a:gd name="T90" fmla="*/ 241 w 678"/>
              <a:gd name="T91" fmla="*/ 217 h 574"/>
              <a:gd name="T92" fmla="*/ 269 w 678"/>
              <a:gd name="T93" fmla="*/ 214 h 574"/>
              <a:gd name="T94" fmla="*/ 301 w 678"/>
              <a:gd name="T95" fmla="*/ 199 h 574"/>
              <a:gd name="T96" fmla="*/ 319 w 678"/>
              <a:gd name="T97" fmla="*/ 196 h 574"/>
              <a:gd name="T98" fmla="*/ 331 w 678"/>
              <a:gd name="T99" fmla="*/ 193 h 574"/>
              <a:gd name="T100" fmla="*/ 343 w 678"/>
              <a:gd name="T101" fmla="*/ 190 h 574"/>
              <a:gd name="T102" fmla="*/ 357 w 678"/>
              <a:gd name="T103" fmla="*/ 182 h 574"/>
              <a:gd name="T104" fmla="*/ 368 w 678"/>
              <a:gd name="T105" fmla="*/ 168 h 574"/>
              <a:gd name="T106" fmla="*/ 383 w 678"/>
              <a:gd name="T107" fmla="*/ 126 h 574"/>
              <a:gd name="T108" fmla="*/ 403 w 678"/>
              <a:gd name="T109" fmla="*/ 47 h 574"/>
              <a:gd name="T110" fmla="*/ 414 w 678"/>
              <a:gd name="T111" fmla="*/ 10 h 574"/>
              <a:gd name="T112" fmla="*/ 431 w 678"/>
              <a:gd name="T113" fmla="*/ 6 h 574"/>
              <a:gd name="T114" fmla="*/ 453 w 678"/>
              <a:gd name="T115" fmla="*/ 8 h 574"/>
              <a:gd name="T116" fmla="*/ 482 w 678"/>
              <a:gd name="T117" fmla="*/ 1 h 5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72" name="Freeform 478">
            <a:extLst>
              <a:ext uri="{FF2B5EF4-FFF2-40B4-BE49-F238E27FC236}">
                <a16:creationId xmlns:a16="http://schemas.microsoft.com/office/drawing/2014/main" id="{68A29768-5E53-4D74-AD2C-E0542084F8BE}"/>
              </a:ext>
            </a:extLst>
          </p:cNvPr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8041112" y="4537959"/>
            <a:ext cx="337646" cy="381000"/>
          </a:xfrm>
          <a:custGeom>
            <a:avLst/>
            <a:gdLst>
              <a:gd name="T0" fmla="*/ 797 w 810"/>
              <a:gd name="T1" fmla="*/ 42 h 727"/>
              <a:gd name="T2" fmla="*/ 766 w 810"/>
              <a:gd name="T3" fmla="*/ 26 h 727"/>
              <a:gd name="T4" fmla="*/ 718 w 810"/>
              <a:gd name="T5" fmla="*/ 33 h 727"/>
              <a:gd name="T6" fmla="*/ 634 w 810"/>
              <a:gd name="T7" fmla="*/ 44 h 727"/>
              <a:gd name="T8" fmla="*/ 604 w 810"/>
              <a:gd name="T9" fmla="*/ 55 h 727"/>
              <a:gd name="T10" fmla="*/ 280 w 810"/>
              <a:gd name="T11" fmla="*/ 40 h 727"/>
              <a:gd name="T12" fmla="*/ 232 w 810"/>
              <a:gd name="T13" fmla="*/ 37 h 727"/>
              <a:gd name="T14" fmla="*/ 172 w 810"/>
              <a:gd name="T15" fmla="*/ 17 h 727"/>
              <a:gd name="T16" fmla="*/ 116 w 810"/>
              <a:gd name="T17" fmla="*/ 0 h 727"/>
              <a:gd name="T18" fmla="*/ 83 w 810"/>
              <a:gd name="T19" fmla="*/ 5 h 727"/>
              <a:gd name="T20" fmla="*/ 53 w 810"/>
              <a:gd name="T21" fmla="*/ 24 h 727"/>
              <a:gd name="T22" fmla="*/ 0 w 810"/>
              <a:gd name="T23" fmla="*/ 55 h 727"/>
              <a:gd name="T24" fmla="*/ 7 w 810"/>
              <a:gd name="T25" fmla="*/ 68 h 727"/>
              <a:gd name="T26" fmla="*/ 26 w 810"/>
              <a:gd name="T27" fmla="*/ 74 h 727"/>
              <a:gd name="T28" fmla="*/ 36 w 810"/>
              <a:gd name="T29" fmla="*/ 129 h 727"/>
              <a:gd name="T30" fmla="*/ 60 w 810"/>
              <a:gd name="T31" fmla="*/ 192 h 727"/>
              <a:gd name="T32" fmla="*/ 109 w 810"/>
              <a:gd name="T33" fmla="*/ 276 h 727"/>
              <a:gd name="T34" fmla="*/ 133 w 810"/>
              <a:gd name="T35" fmla="*/ 300 h 727"/>
              <a:gd name="T36" fmla="*/ 159 w 810"/>
              <a:gd name="T37" fmla="*/ 302 h 727"/>
              <a:gd name="T38" fmla="*/ 159 w 810"/>
              <a:gd name="T39" fmla="*/ 332 h 727"/>
              <a:gd name="T40" fmla="*/ 152 w 810"/>
              <a:gd name="T41" fmla="*/ 359 h 727"/>
              <a:gd name="T42" fmla="*/ 146 w 810"/>
              <a:gd name="T43" fmla="*/ 394 h 727"/>
              <a:gd name="T44" fmla="*/ 150 w 810"/>
              <a:gd name="T45" fmla="*/ 425 h 727"/>
              <a:gd name="T46" fmla="*/ 173 w 810"/>
              <a:gd name="T47" fmla="*/ 484 h 727"/>
              <a:gd name="T48" fmla="*/ 179 w 810"/>
              <a:gd name="T49" fmla="*/ 518 h 727"/>
              <a:gd name="T50" fmla="*/ 187 w 810"/>
              <a:gd name="T51" fmla="*/ 606 h 727"/>
              <a:gd name="T52" fmla="*/ 204 w 810"/>
              <a:gd name="T53" fmla="*/ 647 h 727"/>
              <a:gd name="T54" fmla="*/ 231 w 810"/>
              <a:gd name="T55" fmla="*/ 690 h 727"/>
              <a:gd name="T56" fmla="*/ 245 w 810"/>
              <a:gd name="T57" fmla="*/ 700 h 727"/>
              <a:gd name="T58" fmla="*/ 259 w 810"/>
              <a:gd name="T59" fmla="*/ 715 h 727"/>
              <a:gd name="T60" fmla="*/ 265 w 810"/>
              <a:gd name="T61" fmla="*/ 678 h 727"/>
              <a:gd name="T62" fmla="*/ 308 w 810"/>
              <a:gd name="T63" fmla="*/ 696 h 727"/>
              <a:gd name="T64" fmla="*/ 328 w 810"/>
              <a:gd name="T65" fmla="*/ 713 h 727"/>
              <a:gd name="T66" fmla="*/ 372 w 810"/>
              <a:gd name="T67" fmla="*/ 726 h 727"/>
              <a:gd name="T68" fmla="*/ 407 w 810"/>
              <a:gd name="T69" fmla="*/ 723 h 727"/>
              <a:gd name="T70" fmla="*/ 429 w 810"/>
              <a:gd name="T71" fmla="*/ 710 h 727"/>
              <a:gd name="T72" fmla="*/ 452 w 810"/>
              <a:gd name="T73" fmla="*/ 675 h 727"/>
              <a:gd name="T74" fmla="*/ 463 w 810"/>
              <a:gd name="T75" fmla="*/ 529 h 727"/>
              <a:gd name="T76" fmla="*/ 465 w 810"/>
              <a:gd name="T77" fmla="*/ 480 h 727"/>
              <a:gd name="T78" fmla="*/ 471 w 810"/>
              <a:gd name="T79" fmla="*/ 469 h 727"/>
              <a:gd name="T80" fmla="*/ 463 w 810"/>
              <a:gd name="T81" fmla="*/ 426 h 727"/>
              <a:gd name="T82" fmla="*/ 469 w 810"/>
              <a:gd name="T83" fmla="*/ 368 h 727"/>
              <a:gd name="T84" fmla="*/ 500 w 810"/>
              <a:gd name="T85" fmla="*/ 330 h 727"/>
              <a:gd name="T86" fmla="*/ 525 w 810"/>
              <a:gd name="T87" fmla="*/ 320 h 727"/>
              <a:gd name="T88" fmla="*/ 538 w 810"/>
              <a:gd name="T89" fmla="*/ 232 h 727"/>
              <a:gd name="T90" fmla="*/ 551 w 810"/>
              <a:gd name="T91" fmla="*/ 148 h 727"/>
              <a:gd name="T92" fmla="*/ 541 w 810"/>
              <a:gd name="T93" fmla="*/ 124 h 727"/>
              <a:gd name="T94" fmla="*/ 531 w 810"/>
              <a:gd name="T95" fmla="*/ 99 h 727"/>
              <a:gd name="T96" fmla="*/ 539 w 810"/>
              <a:gd name="T97" fmla="*/ 86 h 727"/>
              <a:gd name="T98" fmla="*/ 617 w 810"/>
              <a:gd name="T99" fmla="*/ 80 h 727"/>
              <a:gd name="T100" fmla="*/ 708 w 810"/>
              <a:gd name="T101" fmla="*/ 63 h 727"/>
              <a:gd name="T102" fmla="*/ 803 w 810"/>
              <a:gd name="T103" fmla="*/ 61 h 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73" name="Freeform 479">
            <a:extLst>
              <a:ext uri="{FF2B5EF4-FFF2-40B4-BE49-F238E27FC236}">
                <a16:creationId xmlns:a16="http://schemas.microsoft.com/office/drawing/2014/main" id="{F42DCCC4-2543-4483-8EF8-19E8AA2C005C}"/>
              </a:ext>
            </a:extLst>
          </p:cNvPr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7347486" y="3467984"/>
            <a:ext cx="155837" cy="141288"/>
          </a:xfrm>
          <a:custGeom>
            <a:avLst/>
            <a:gdLst>
              <a:gd name="T0" fmla="*/ 203 w 365"/>
              <a:gd name="T1" fmla="*/ 250 h 271"/>
              <a:gd name="T2" fmla="*/ 163 w 365"/>
              <a:gd name="T3" fmla="*/ 246 h 271"/>
              <a:gd name="T4" fmla="*/ 121 w 365"/>
              <a:gd name="T5" fmla="*/ 247 h 271"/>
              <a:gd name="T6" fmla="*/ 92 w 365"/>
              <a:gd name="T7" fmla="*/ 250 h 271"/>
              <a:gd name="T8" fmla="*/ 74 w 365"/>
              <a:gd name="T9" fmla="*/ 255 h 271"/>
              <a:gd name="T10" fmla="*/ 26 w 365"/>
              <a:gd name="T11" fmla="*/ 271 h 271"/>
              <a:gd name="T12" fmla="*/ 20 w 365"/>
              <a:gd name="T13" fmla="*/ 270 h 271"/>
              <a:gd name="T14" fmla="*/ 17 w 365"/>
              <a:gd name="T15" fmla="*/ 266 h 271"/>
              <a:gd name="T16" fmla="*/ 18 w 365"/>
              <a:gd name="T17" fmla="*/ 254 h 271"/>
              <a:gd name="T18" fmla="*/ 26 w 365"/>
              <a:gd name="T19" fmla="*/ 228 h 271"/>
              <a:gd name="T20" fmla="*/ 61 w 365"/>
              <a:gd name="T21" fmla="*/ 226 h 271"/>
              <a:gd name="T22" fmla="*/ 89 w 365"/>
              <a:gd name="T23" fmla="*/ 222 h 271"/>
              <a:gd name="T24" fmla="*/ 115 w 365"/>
              <a:gd name="T25" fmla="*/ 218 h 271"/>
              <a:gd name="T26" fmla="*/ 146 w 365"/>
              <a:gd name="T27" fmla="*/ 216 h 271"/>
              <a:gd name="T28" fmla="*/ 182 w 365"/>
              <a:gd name="T29" fmla="*/ 218 h 271"/>
              <a:gd name="T30" fmla="*/ 199 w 365"/>
              <a:gd name="T31" fmla="*/ 218 h 271"/>
              <a:gd name="T32" fmla="*/ 219 w 365"/>
              <a:gd name="T33" fmla="*/ 216 h 271"/>
              <a:gd name="T34" fmla="*/ 215 w 365"/>
              <a:gd name="T35" fmla="*/ 208 h 271"/>
              <a:gd name="T36" fmla="*/ 210 w 365"/>
              <a:gd name="T37" fmla="*/ 201 h 271"/>
              <a:gd name="T38" fmla="*/ 195 w 365"/>
              <a:gd name="T39" fmla="*/ 194 h 271"/>
              <a:gd name="T40" fmla="*/ 175 w 365"/>
              <a:gd name="T41" fmla="*/ 191 h 271"/>
              <a:gd name="T42" fmla="*/ 152 w 365"/>
              <a:gd name="T43" fmla="*/ 190 h 271"/>
              <a:gd name="T44" fmla="*/ 93 w 365"/>
              <a:gd name="T45" fmla="*/ 192 h 271"/>
              <a:gd name="T46" fmla="*/ 64 w 365"/>
              <a:gd name="T47" fmla="*/ 196 h 271"/>
              <a:gd name="T48" fmla="*/ 33 w 365"/>
              <a:gd name="T49" fmla="*/ 203 h 271"/>
              <a:gd name="T50" fmla="*/ 38 w 365"/>
              <a:gd name="T51" fmla="*/ 183 h 271"/>
              <a:gd name="T52" fmla="*/ 39 w 365"/>
              <a:gd name="T53" fmla="*/ 172 h 271"/>
              <a:gd name="T54" fmla="*/ 26 w 365"/>
              <a:gd name="T55" fmla="*/ 164 h 271"/>
              <a:gd name="T56" fmla="*/ 13 w 365"/>
              <a:gd name="T57" fmla="*/ 160 h 271"/>
              <a:gd name="T58" fmla="*/ 11 w 365"/>
              <a:gd name="T59" fmla="*/ 147 h 271"/>
              <a:gd name="T60" fmla="*/ 6 w 365"/>
              <a:gd name="T61" fmla="*/ 143 h 271"/>
              <a:gd name="T62" fmla="*/ 2 w 365"/>
              <a:gd name="T63" fmla="*/ 141 h 271"/>
              <a:gd name="T64" fmla="*/ 0 w 365"/>
              <a:gd name="T65" fmla="*/ 135 h 271"/>
              <a:gd name="T66" fmla="*/ 5 w 365"/>
              <a:gd name="T67" fmla="*/ 115 h 271"/>
              <a:gd name="T68" fmla="*/ 17 w 365"/>
              <a:gd name="T69" fmla="*/ 92 h 271"/>
              <a:gd name="T70" fmla="*/ 30 w 365"/>
              <a:gd name="T71" fmla="*/ 69 h 271"/>
              <a:gd name="T72" fmla="*/ 39 w 365"/>
              <a:gd name="T73" fmla="*/ 49 h 271"/>
              <a:gd name="T74" fmla="*/ 48 w 365"/>
              <a:gd name="T75" fmla="*/ 42 h 271"/>
              <a:gd name="T76" fmla="*/ 49 w 365"/>
              <a:gd name="T77" fmla="*/ 48 h 271"/>
              <a:gd name="T78" fmla="*/ 52 w 365"/>
              <a:gd name="T79" fmla="*/ 36 h 271"/>
              <a:gd name="T80" fmla="*/ 75 w 365"/>
              <a:gd name="T81" fmla="*/ 31 h 271"/>
              <a:gd name="T82" fmla="*/ 114 w 365"/>
              <a:gd name="T83" fmla="*/ 18 h 271"/>
              <a:gd name="T84" fmla="*/ 165 w 365"/>
              <a:gd name="T85" fmla="*/ 0 h 271"/>
              <a:gd name="T86" fmla="*/ 184 w 365"/>
              <a:gd name="T87" fmla="*/ 15 h 271"/>
              <a:gd name="T88" fmla="*/ 202 w 365"/>
              <a:gd name="T89" fmla="*/ 24 h 271"/>
              <a:gd name="T90" fmla="*/ 220 w 365"/>
              <a:gd name="T91" fmla="*/ 29 h 271"/>
              <a:gd name="T92" fmla="*/ 239 w 365"/>
              <a:gd name="T93" fmla="*/ 30 h 271"/>
              <a:gd name="T94" fmla="*/ 241 w 365"/>
              <a:gd name="T95" fmla="*/ 52 h 271"/>
              <a:gd name="T96" fmla="*/ 247 w 365"/>
              <a:gd name="T97" fmla="*/ 69 h 271"/>
              <a:gd name="T98" fmla="*/ 254 w 365"/>
              <a:gd name="T99" fmla="*/ 84 h 271"/>
              <a:gd name="T100" fmla="*/ 264 w 365"/>
              <a:gd name="T101" fmla="*/ 95 h 271"/>
              <a:gd name="T102" fmla="*/ 305 w 365"/>
              <a:gd name="T103" fmla="*/ 129 h 271"/>
              <a:gd name="T104" fmla="*/ 352 w 365"/>
              <a:gd name="T105" fmla="*/ 234 h 271"/>
              <a:gd name="T106" fmla="*/ 359 w 365"/>
              <a:gd name="T107" fmla="*/ 257 h 271"/>
              <a:gd name="T108" fmla="*/ 365 w 365"/>
              <a:gd name="T109" fmla="*/ 271 h 271"/>
              <a:gd name="T110" fmla="*/ 321 w 365"/>
              <a:gd name="T111" fmla="*/ 259 h 271"/>
              <a:gd name="T112" fmla="*/ 275 w 365"/>
              <a:gd name="T113" fmla="*/ 252 h 271"/>
              <a:gd name="T114" fmla="*/ 248 w 365"/>
              <a:gd name="T115" fmla="*/ 251 h 271"/>
              <a:gd name="T116" fmla="*/ 219 w 365"/>
              <a:gd name="T117" fmla="*/ 252 h 2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74" name="Freeform 480">
            <a:extLst>
              <a:ext uri="{FF2B5EF4-FFF2-40B4-BE49-F238E27FC236}">
                <a16:creationId xmlns:a16="http://schemas.microsoft.com/office/drawing/2014/main" id="{F6F7E5C1-A393-43E7-8415-7BE4D22F58B9}"/>
              </a:ext>
            </a:extLst>
          </p:cNvPr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8476538" y="4029960"/>
            <a:ext cx="259728" cy="334963"/>
          </a:xfrm>
          <a:custGeom>
            <a:avLst/>
            <a:gdLst>
              <a:gd name="T0" fmla="*/ 146 w 624"/>
              <a:gd name="T1" fmla="*/ 12 h 640"/>
              <a:gd name="T2" fmla="*/ 239 w 624"/>
              <a:gd name="T3" fmla="*/ 12 h 640"/>
              <a:gd name="T4" fmla="*/ 287 w 624"/>
              <a:gd name="T5" fmla="*/ 5 h 640"/>
              <a:gd name="T6" fmla="*/ 326 w 624"/>
              <a:gd name="T7" fmla="*/ 22 h 640"/>
              <a:gd name="T8" fmla="*/ 396 w 624"/>
              <a:gd name="T9" fmla="*/ 66 h 640"/>
              <a:gd name="T10" fmla="*/ 465 w 624"/>
              <a:gd name="T11" fmla="*/ 111 h 640"/>
              <a:gd name="T12" fmla="*/ 469 w 624"/>
              <a:gd name="T13" fmla="*/ 131 h 640"/>
              <a:gd name="T14" fmla="*/ 480 w 624"/>
              <a:gd name="T15" fmla="*/ 153 h 640"/>
              <a:gd name="T16" fmla="*/ 497 w 624"/>
              <a:gd name="T17" fmla="*/ 170 h 640"/>
              <a:gd name="T18" fmla="*/ 519 w 624"/>
              <a:gd name="T19" fmla="*/ 183 h 640"/>
              <a:gd name="T20" fmla="*/ 543 w 624"/>
              <a:gd name="T21" fmla="*/ 190 h 640"/>
              <a:gd name="T22" fmla="*/ 554 w 624"/>
              <a:gd name="T23" fmla="*/ 195 h 640"/>
              <a:gd name="T24" fmla="*/ 565 w 624"/>
              <a:gd name="T25" fmla="*/ 205 h 640"/>
              <a:gd name="T26" fmla="*/ 561 w 624"/>
              <a:gd name="T27" fmla="*/ 227 h 640"/>
              <a:gd name="T28" fmla="*/ 537 w 624"/>
              <a:gd name="T29" fmla="*/ 252 h 640"/>
              <a:gd name="T30" fmla="*/ 525 w 624"/>
              <a:gd name="T31" fmla="*/ 271 h 640"/>
              <a:gd name="T32" fmla="*/ 533 w 624"/>
              <a:gd name="T33" fmla="*/ 287 h 640"/>
              <a:gd name="T34" fmla="*/ 547 w 624"/>
              <a:gd name="T35" fmla="*/ 299 h 640"/>
              <a:gd name="T36" fmla="*/ 552 w 624"/>
              <a:gd name="T37" fmla="*/ 425 h 640"/>
              <a:gd name="T38" fmla="*/ 550 w 624"/>
              <a:gd name="T39" fmla="*/ 439 h 640"/>
              <a:gd name="T40" fmla="*/ 558 w 624"/>
              <a:gd name="T41" fmla="*/ 462 h 640"/>
              <a:gd name="T42" fmla="*/ 558 w 624"/>
              <a:gd name="T43" fmla="*/ 489 h 640"/>
              <a:gd name="T44" fmla="*/ 561 w 624"/>
              <a:gd name="T45" fmla="*/ 515 h 640"/>
              <a:gd name="T46" fmla="*/ 594 w 624"/>
              <a:gd name="T47" fmla="*/ 549 h 640"/>
              <a:gd name="T48" fmla="*/ 616 w 624"/>
              <a:gd name="T49" fmla="*/ 579 h 640"/>
              <a:gd name="T50" fmla="*/ 575 w 624"/>
              <a:gd name="T51" fmla="*/ 600 h 640"/>
              <a:gd name="T52" fmla="*/ 491 w 624"/>
              <a:gd name="T53" fmla="*/ 631 h 640"/>
              <a:gd name="T54" fmla="*/ 443 w 624"/>
              <a:gd name="T55" fmla="*/ 638 h 640"/>
              <a:gd name="T56" fmla="*/ 392 w 624"/>
              <a:gd name="T57" fmla="*/ 628 h 640"/>
              <a:gd name="T58" fmla="*/ 339 w 624"/>
              <a:gd name="T59" fmla="*/ 633 h 640"/>
              <a:gd name="T60" fmla="*/ 306 w 624"/>
              <a:gd name="T61" fmla="*/ 628 h 640"/>
              <a:gd name="T62" fmla="*/ 299 w 624"/>
              <a:gd name="T63" fmla="*/ 614 h 640"/>
              <a:gd name="T64" fmla="*/ 294 w 624"/>
              <a:gd name="T65" fmla="*/ 573 h 640"/>
              <a:gd name="T66" fmla="*/ 288 w 624"/>
              <a:gd name="T67" fmla="*/ 529 h 640"/>
              <a:gd name="T68" fmla="*/ 253 w 624"/>
              <a:gd name="T69" fmla="*/ 517 h 640"/>
              <a:gd name="T70" fmla="*/ 185 w 624"/>
              <a:gd name="T71" fmla="*/ 502 h 640"/>
              <a:gd name="T72" fmla="*/ 90 w 624"/>
              <a:gd name="T73" fmla="*/ 459 h 640"/>
              <a:gd name="T74" fmla="*/ 68 w 624"/>
              <a:gd name="T75" fmla="*/ 446 h 640"/>
              <a:gd name="T76" fmla="*/ 66 w 624"/>
              <a:gd name="T77" fmla="*/ 428 h 640"/>
              <a:gd name="T78" fmla="*/ 65 w 624"/>
              <a:gd name="T79" fmla="*/ 402 h 640"/>
              <a:gd name="T80" fmla="*/ 53 w 624"/>
              <a:gd name="T81" fmla="*/ 377 h 640"/>
              <a:gd name="T82" fmla="*/ 41 w 624"/>
              <a:gd name="T83" fmla="*/ 357 h 640"/>
              <a:gd name="T84" fmla="*/ 27 w 624"/>
              <a:gd name="T85" fmla="*/ 347 h 640"/>
              <a:gd name="T86" fmla="*/ 12 w 624"/>
              <a:gd name="T87" fmla="*/ 332 h 640"/>
              <a:gd name="T88" fmla="*/ 5 w 624"/>
              <a:gd name="T89" fmla="*/ 308 h 640"/>
              <a:gd name="T90" fmla="*/ 0 w 624"/>
              <a:gd name="T91" fmla="*/ 262 h 640"/>
              <a:gd name="T92" fmla="*/ 0 w 624"/>
              <a:gd name="T93" fmla="*/ 234 h 640"/>
              <a:gd name="T94" fmla="*/ 10 w 624"/>
              <a:gd name="T95" fmla="*/ 212 h 640"/>
              <a:gd name="T96" fmla="*/ 38 w 624"/>
              <a:gd name="T97" fmla="*/ 195 h 640"/>
              <a:gd name="T98" fmla="*/ 61 w 624"/>
              <a:gd name="T99" fmla="*/ 173 h 640"/>
              <a:gd name="T100" fmla="*/ 77 w 624"/>
              <a:gd name="T101" fmla="*/ 77 h 640"/>
              <a:gd name="T102" fmla="*/ 84 w 624"/>
              <a:gd name="T103" fmla="*/ 43 h 640"/>
              <a:gd name="T104" fmla="*/ 82 w 624"/>
              <a:gd name="T105" fmla="*/ 8 h 6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475" name="Freeform 481">
            <a:extLst>
              <a:ext uri="{FF2B5EF4-FFF2-40B4-BE49-F238E27FC236}">
                <a16:creationId xmlns:a16="http://schemas.microsoft.com/office/drawing/2014/main" id="{15A7EE95-5EF1-4440-B531-0C7572FEB348}"/>
              </a:ext>
            </a:extLst>
          </p:cNvPr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10943953" y="2544059"/>
            <a:ext cx="18334" cy="57150"/>
          </a:xfrm>
          <a:custGeom>
            <a:avLst/>
            <a:gdLst>
              <a:gd name="T0" fmla="*/ 13 w 52"/>
              <a:gd name="T1" fmla="*/ 50 h 50"/>
              <a:gd name="T2" fmla="*/ 0 w 52"/>
              <a:gd name="T3" fmla="*/ 32 h 50"/>
              <a:gd name="T4" fmla="*/ 2 w 52"/>
              <a:gd name="T5" fmla="*/ 25 h 50"/>
              <a:gd name="T6" fmla="*/ 6 w 52"/>
              <a:gd name="T7" fmla="*/ 18 h 50"/>
              <a:gd name="T8" fmla="*/ 12 w 52"/>
              <a:gd name="T9" fmla="*/ 13 h 50"/>
              <a:gd name="T10" fmla="*/ 18 w 52"/>
              <a:gd name="T11" fmla="*/ 9 h 50"/>
              <a:gd name="T12" fmla="*/ 26 w 52"/>
              <a:gd name="T13" fmla="*/ 5 h 50"/>
              <a:gd name="T14" fmla="*/ 34 w 52"/>
              <a:gd name="T15" fmla="*/ 3 h 50"/>
              <a:gd name="T16" fmla="*/ 43 w 52"/>
              <a:gd name="T17" fmla="*/ 1 h 50"/>
              <a:gd name="T18" fmla="*/ 52 w 52"/>
              <a:gd name="T19" fmla="*/ 0 h 50"/>
              <a:gd name="T20" fmla="*/ 40 w 52"/>
              <a:gd name="T21" fmla="*/ 11 h 50"/>
              <a:gd name="T22" fmla="*/ 27 w 52"/>
              <a:gd name="T23" fmla="*/ 22 h 50"/>
              <a:gd name="T24" fmla="*/ 22 w 52"/>
              <a:gd name="T25" fmla="*/ 30 h 50"/>
              <a:gd name="T26" fmla="*/ 17 w 52"/>
              <a:gd name="T27" fmla="*/ 36 h 50"/>
              <a:gd name="T28" fmla="*/ 14 w 52"/>
              <a:gd name="T29" fmla="*/ 43 h 50"/>
              <a:gd name="T30" fmla="*/ 13 w 52"/>
              <a:gd name="T31" fmla="*/ 50 h 5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</a:cxnLst>
            <a:rect l="0" t="0" r="r" b="b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6" name="Freeform 482">
            <a:extLst>
              <a:ext uri="{FF2B5EF4-FFF2-40B4-BE49-F238E27FC236}">
                <a16:creationId xmlns:a16="http://schemas.microsoft.com/office/drawing/2014/main" id="{F47EC17D-0802-4352-952B-028988D8D94D}"/>
              </a:ext>
            </a:extLst>
          </p:cNvPr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10807978" y="2545647"/>
            <a:ext cx="135976" cy="125412"/>
          </a:xfrm>
          <a:custGeom>
            <a:avLst/>
            <a:gdLst>
              <a:gd name="T0" fmla="*/ 76 w 320"/>
              <a:gd name="T1" fmla="*/ 231 h 234"/>
              <a:gd name="T2" fmla="*/ 61 w 320"/>
              <a:gd name="T3" fmla="*/ 226 h 234"/>
              <a:gd name="T4" fmla="*/ 66 w 320"/>
              <a:gd name="T5" fmla="*/ 222 h 234"/>
              <a:gd name="T6" fmla="*/ 77 w 320"/>
              <a:gd name="T7" fmla="*/ 217 h 234"/>
              <a:gd name="T8" fmla="*/ 64 w 320"/>
              <a:gd name="T9" fmla="*/ 204 h 234"/>
              <a:gd name="T10" fmla="*/ 43 w 320"/>
              <a:gd name="T11" fmla="*/ 189 h 234"/>
              <a:gd name="T12" fmla="*/ 36 w 320"/>
              <a:gd name="T13" fmla="*/ 179 h 234"/>
              <a:gd name="T14" fmla="*/ 34 w 320"/>
              <a:gd name="T15" fmla="*/ 171 h 234"/>
              <a:gd name="T16" fmla="*/ 34 w 320"/>
              <a:gd name="T17" fmla="*/ 164 h 234"/>
              <a:gd name="T18" fmla="*/ 36 w 320"/>
              <a:gd name="T19" fmla="*/ 157 h 234"/>
              <a:gd name="T20" fmla="*/ 43 w 320"/>
              <a:gd name="T21" fmla="*/ 149 h 234"/>
              <a:gd name="T22" fmla="*/ 56 w 320"/>
              <a:gd name="T23" fmla="*/ 141 h 234"/>
              <a:gd name="T24" fmla="*/ 73 w 320"/>
              <a:gd name="T25" fmla="*/ 137 h 234"/>
              <a:gd name="T26" fmla="*/ 80 w 320"/>
              <a:gd name="T27" fmla="*/ 126 h 234"/>
              <a:gd name="T28" fmla="*/ 67 w 320"/>
              <a:gd name="T29" fmla="*/ 111 h 234"/>
              <a:gd name="T30" fmla="*/ 61 w 320"/>
              <a:gd name="T31" fmla="*/ 102 h 234"/>
              <a:gd name="T32" fmla="*/ 60 w 320"/>
              <a:gd name="T33" fmla="*/ 86 h 234"/>
              <a:gd name="T34" fmla="*/ 55 w 320"/>
              <a:gd name="T35" fmla="*/ 70 h 234"/>
              <a:gd name="T36" fmla="*/ 46 w 320"/>
              <a:gd name="T37" fmla="*/ 46 h 234"/>
              <a:gd name="T38" fmla="*/ 33 w 320"/>
              <a:gd name="T39" fmla="*/ 31 h 234"/>
              <a:gd name="T40" fmla="*/ 20 w 320"/>
              <a:gd name="T41" fmla="*/ 25 h 234"/>
              <a:gd name="T42" fmla="*/ 7 w 320"/>
              <a:gd name="T43" fmla="*/ 10 h 234"/>
              <a:gd name="T44" fmla="*/ 9 w 320"/>
              <a:gd name="T45" fmla="*/ 0 h 234"/>
              <a:gd name="T46" fmla="*/ 24 w 320"/>
              <a:gd name="T47" fmla="*/ 0 h 234"/>
              <a:gd name="T48" fmla="*/ 38 w 320"/>
              <a:gd name="T49" fmla="*/ 3 h 234"/>
              <a:gd name="T50" fmla="*/ 56 w 320"/>
              <a:gd name="T51" fmla="*/ 16 h 234"/>
              <a:gd name="T52" fmla="*/ 78 w 320"/>
              <a:gd name="T53" fmla="*/ 35 h 234"/>
              <a:gd name="T54" fmla="*/ 96 w 320"/>
              <a:gd name="T55" fmla="*/ 48 h 234"/>
              <a:gd name="T56" fmla="*/ 119 w 320"/>
              <a:gd name="T57" fmla="*/ 58 h 234"/>
              <a:gd name="T58" fmla="*/ 152 w 320"/>
              <a:gd name="T59" fmla="*/ 70 h 234"/>
              <a:gd name="T60" fmla="*/ 181 w 320"/>
              <a:gd name="T61" fmla="*/ 79 h 234"/>
              <a:gd name="T62" fmla="*/ 214 w 320"/>
              <a:gd name="T63" fmla="*/ 85 h 234"/>
              <a:gd name="T64" fmla="*/ 236 w 320"/>
              <a:gd name="T65" fmla="*/ 77 h 234"/>
              <a:gd name="T66" fmla="*/ 257 w 320"/>
              <a:gd name="T67" fmla="*/ 83 h 234"/>
              <a:gd name="T68" fmla="*/ 284 w 320"/>
              <a:gd name="T69" fmla="*/ 107 h 234"/>
              <a:gd name="T70" fmla="*/ 305 w 320"/>
              <a:gd name="T71" fmla="*/ 119 h 234"/>
              <a:gd name="T72" fmla="*/ 297 w 320"/>
              <a:gd name="T73" fmla="*/ 133 h 234"/>
              <a:gd name="T74" fmla="*/ 268 w 320"/>
              <a:gd name="T75" fmla="*/ 144 h 234"/>
              <a:gd name="T76" fmla="*/ 249 w 320"/>
              <a:gd name="T77" fmla="*/ 148 h 234"/>
              <a:gd name="T78" fmla="*/ 237 w 320"/>
              <a:gd name="T79" fmla="*/ 159 h 234"/>
              <a:gd name="T80" fmla="*/ 232 w 320"/>
              <a:gd name="T81" fmla="*/ 176 h 234"/>
              <a:gd name="T82" fmla="*/ 231 w 320"/>
              <a:gd name="T83" fmla="*/ 187 h 234"/>
              <a:gd name="T84" fmla="*/ 222 w 320"/>
              <a:gd name="T85" fmla="*/ 192 h 234"/>
              <a:gd name="T86" fmla="*/ 204 w 320"/>
              <a:gd name="T87" fmla="*/ 189 h 234"/>
              <a:gd name="T88" fmla="*/ 186 w 320"/>
              <a:gd name="T89" fmla="*/ 181 h 234"/>
              <a:gd name="T90" fmla="*/ 168 w 320"/>
              <a:gd name="T91" fmla="*/ 170 h 234"/>
              <a:gd name="T92" fmla="*/ 155 w 320"/>
              <a:gd name="T93" fmla="*/ 164 h 234"/>
              <a:gd name="T94" fmla="*/ 145 w 320"/>
              <a:gd name="T95" fmla="*/ 161 h 234"/>
              <a:gd name="T96" fmla="*/ 131 w 320"/>
              <a:gd name="T97" fmla="*/ 162 h 234"/>
              <a:gd name="T98" fmla="*/ 114 w 320"/>
              <a:gd name="T99" fmla="*/ 167 h 234"/>
              <a:gd name="T100" fmla="*/ 100 w 320"/>
              <a:gd name="T101" fmla="*/ 173 h 234"/>
              <a:gd name="T102" fmla="*/ 87 w 320"/>
              <a:gd name="T103" fmla="*/ 178 h 234"/>
              <a:gd name="T104" fmla="*/ 85 w 320"/>
              <a:gd name="T105" fmla="*/ 183 h 234"/>
              <a:gd name="T106" fmla="*/ 96 w 320"/>
              <a:gd name="T107" fmla="*/ 191 h 234"/>
              <a:gd name="T108" fmla="*/ 116 w 320"/>
              <a:gd name="T109" fmla="*/ 200 h 234"/>
              <a:gd name="T110" fmla="*/ 126 w 320"/>
              <a:gd name="T111" fmla="*/ 212 h 234"/>
              <a:gd name="T112" fmla="*/ 113 w 320"/>
              <a:gd name="T113" fmla="*/ 224 h 234"/>
              <a:gd name="T114" fmla="*/ 102 w 320"/>
              <a:gd name="T115" fmla="*/ 231 h 234"/>
              <a:gd name="T116" fmla="*/ 91 w 320"/>
              <a:gd name="T117" fmla="*/ 234 h 23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7" name="Freeform 483">
            <a:extLst>
              <a:ext uri="{FF2B5EF4-FFF2-40B4-BE49-F238E27FC236}">
                <a16:creationId xmlns:a16="http://schemas.microsoft.com/office/drawing/2014/main" id="{26C180D5-21F8-4177-A0D4-1E6CAEF02B5C}"/>
              </a:ext>
            </a:extLst>
          </p:cNvPr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10778951" y="2899659"/>
            <a:ext cx="50417" cy="57150"/>
          </a:xfrm>
          <a:custGeom>
            <a:avLst/>
            <a:gdLst>
              <a:gd name="T0" fmla="*/ 33 w 125"/>
              <a:gd name="T1" fmla="*/ 19 h 93"/>
              <a:gd name="T2" fmla="*/ 43 w 125"/>
              <a:gd name="T3" fmla="*/ 19 h 93"/>
              <a:gd name="T4" fmla="*/ 52 w 125"/>
              <a:gd name="T5" fmla="*/ 19 h 93"/>
              <a:gd name="T6" fmla="*/ 55 w 125"/>
              <a:gd name="T7" fmla="*/ 19 h 93"/>
              <a:gd name="T8" fmla="*/ 58 w 125"/>
              <a:gd name="T9" fmla="*/ 17 h 93"/>
              <a:gd name="T10" fmla="*/ 61 w 125"/>
              <a:gd name="T11" fmla="*/ 15 h 93"/>
              <a:gd name="T12" fmla="*/ 65 w 125"/>
              <a:gd name="T13" fmla="*/ 11 h 93"/>
              <a:gd name="T14" fmla="*/ 68 w 125"/>
              <a:gd name="T15" fmla="*/ 8 h 93"/>
              <a:gd name="T16" fmla="*/ 70 w 125"/>
              <a:gd name="T17" fmla="*/ 5 h 93"/>
              <a:gd name="T18" fmla="*/ 72 w 125"/>
              <a:gd name="T19" fmla="*/ 3 h 93"/>
              <a:gd name="T20" fmla="*/ 72 w 125"/>
              <a:gd name="T21" fmla="*/ 0 h 93"/>
              <a:gd name="T22" fmla="*/ 118 w 125"/>
              <a:gd name="T23" fmla="*/ 0 h 93"/>
              <a:gd name="T24" fmla="*/ 122 w 125"/>
              <a:gd name="T25" fmla="*/ 15 h 93"/>
              <a:gd name="T26" fmla="*/ 125 w 125"/>
              <a:gd name="T27" fmla="*/ 25 h 93"/>
              <a:gd name="T28" fmla="*/ 124 w 125"/>
              <a:gd name="T29" fmla="*/ 29 h 93"/>
              <a:gd name="T30" fmla="*/ 122 w 125"/>
              <a:gd name="T31" fmla="*/ 33 h 93"/>
              <a:gd name="T32" fmla="*/ 119 w 125"/>
              <a:gd name="T33" fmla="*/ 35 h 93"/>
              <a:gd name="T34" fmla="*/ 117 w 125"/>
              <a:gd name="T35" fmla="*/ 37 h 93"/>
              <a:gd name="T36" fmla="*/ 111 w 125"/>
              <a:gd name="T37" fmla="*/ 40 h 93"/>
              <a:gd name="T38" fmla="*/ 104 w 125"/>
              <a:gd name="T39" fmla="*/ 41 h 93"/>
              <a:gd name="T40" fmla="*/ 88 w 125"/>
              <a:gd name="T41" fmla="*/ 41 h 93"/>
              <a:gd name="T42" fmla="*/ 72 w 125"/>
              <a:gd name="T43" fmla="*/ 43 h 93"/>
              <a:gd name="T44" fmla="*/ 70 w 125"/>
              <a:gd name="T45" fmla="*/ 47 h 93"/>
              <a:gd name="T46" fmla="*/ 69 w 125"/>
              <a:gd name="T47" fmla="*/ 53 h 93"/>
              <a:gd name="T48" fmla="*/ 67 w 125"/>
              <a:gd name="T49" fmla="*/ 61 h 93"/>
              <a:gd name="T50" fmla="*/ 67 w 125"/>
              <a:gd name="T51" fmla="*/ 71 h 93"/>
              <a:gd name="T52" fmla="*/ 66 w 125"/>
              <a:gd name="T53" fmla="*/ 86 h 93"/>
              <a:gd name="T54" fmla="*/ 66 w 125"/>
              <a:gd name="T55" fmla="*/ 93 h 93"/>
              <a:gd name="T56" fmla="*/ 49 w 125"/>
              <a:gd name="T57" fmla="*/ 85 h 93"/>
              <a:gd name="T58" fmla="*/ 27 w 125"/>
              <a:gd name="T59" fmla="*/ 73 h 93"/>
              <a:gd name="T60" fmla="*/ 16 w 125"/>
              <a:gd name="T61" fmla="*/ 65 h 93"/>
              <a:gd name="T62" fmla="*/ 7 w 125"/>
              <a:gd name="T63" fmla="*/ 58 h 93"/>
              <a:gd name="T64" fmla="*/ 4 w 125"/>
              <a:gd name="T65" fmla="*/ 54 h 93"/>
              <a:gd name="T66" fmla="*/ 2 w 125"/>
              <a:gd name="T67" fmla="*/ 50 h 93"/>
              <a:gd name="T68" fmla="*/ 0 w 125"/>
              <a:gd name="T69" fmla="*/ 47 h 93"/>
              <a:gd name="T70" fmla="*/ 0 w 125"/>
              <a:gd name="T71" fmla="*/ 43 h 93"/>
              <a:gd name="T72" fmla="*/ 7 w 125"/>
              <a:gd name="T73" fmla="*/ 43 h 93"/>
              <a:gd name="T74" fmla="*/ 15 w 125"/>
              <a:gd name="T75" fmla="*/ 41 h 93"/>
              <a:gd name="T76" fmla="*/ 20 w 125"/>
              <a:gd name="T77" fmla="*/ 39 h 93"/>
              <a:gd name="T78" fmla="*/ 23 w 125"/>
              <a:gd name="T79" fmla="*/ 36 h 93"/>
              <a:gd name="T80" fmla="*/ 28 w 125"/>
              <a:gd name="T81" fmla="*/ 28 h 93"/>
              <a:gd name="T82" fmla="*/ 33 w 125"/>
              <a:gd name="T83" fmla="*/ 19 h 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</a:cxnLst>
            <a:rect l="0" t="0" r="r" b="b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8" name="Freeform 484">
            <a:extLst>
              <a:ext uri="{FF2B5EF4-FFF2-40B4-BE49-F238E27FC236}">
                <a16:creationId xmlns:a16="http://schemas.microsoft.com/office/drawing/2014/main" id="{9D653457-9334-4FA8-856F-0BA9D9DF0DA9}"/>
              </a:ext>
            </a:extLst>
          </p:cNvPr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10727005" y="2913948"/>
            <a:ext cx="58057" cy="84137"/>
          </a:xfrm>
          <a:custGeom>
            <a:avLst/>
            <a:gdLst>
              <a:gd name="T0" fmla="*/ 20 w 133"/>
              <a:gd name="T1" fmla="*/ 12 h 154"/>
              <a:gd name="T2" fmla="*/ 24 w 133"/>
              <a:gd name="T3" fmla="*/ 10 h 154"/>
              <a:gd name="T4" fmla="*/ 31 w 133"/>
              <a:gd name="T5" fmla="*/ 6 h 154"/>
              <a:gd name="T6" fmla="*/ 34 w 133"/>
              <a:gd name="T7" fmla="*/ 4 h 154"/>
              <a:gd name="T8" fmla="*/ 37 w 133"/>
              <a:gd name="T9" fmla="*/ 2 h 154"/>
              <a:gd name="T10" fmla="*/ 42 w 133"/>
              <a:gd name="T11" fmla="*/ 1 h 154"/>
              <a:gd name="T12" fmla="*/ 46 w 133"/>
              <a:gd name="T13" fmla="*/ 0 h 154"/>
              <a:gd name="T14" fmla="*/ 59 w 133"/>
              <a:gd name="T15" fmla="*/ 1 h 154"/>
              <a:gd name="T16" fmla="*/ 70 w 133"/>
              <a:gd name="T17" fmla="*/ 4 h 154"/>
              <a:gd name="T18" fmla="*/ 81 w 133"/>
              <a:gd name="T19" fmla="*/ 8 h 154"/>
              <a:gd name="T20" fmla="*/ 90 w 133"/>
              <a:gd name="T21" fmla="*/ 14 h 154"/>
              <a:gd name="T22" fmla="*/ 99 w 133"/>
              <a:gd name="T23" fmla="*/ 21 h 154"/>
              <a:gd name="T24" fmla="*/ 105 w 133"/>
              <a:gd name="T25" fmla="*/ 30 h 154"/>
              <a:gd name="T26" fmla="*/ 112 w 133"/>
              <a:gd name="T27" fmla="*/ 40 h 154"/>
              <a:gd name="T28" fmla="*/ 116 w 133"/>
              <a:gd name="T29" fmla="*/ 50 h 154"/>
              <a:gd name="T30" fmla="*/ 121 w 133"/>
              <a:gd name="T31" fmla="*/ 60 h 154"/>
              <a:gd name="T32" fmla="*/ 124 w 133"/>
              <a:gd name="T33" fmla="*/ 71 h 154"/>
              <a:gd name="T34" fmla="*/ 127 w 133"/>
              <a:gd name="T35" fmla="*/ 82 h 154"/>
              <a:gd name="T36" fmla="*/ 130 w 133"/>
              <a:gd name="T37" fmla="*/ 94 h 154"/>
              <a:gd name="T38" fmla="*/ 132 w 133"/>
              <a:gd name="T39" fmla="*/ 116 h 154"/>
              <a:gd name="T40" fmla="*/ 133 w 133"/>
              <a:gd name="T41" fmla="*/ 135 h 154"/>
              <a:gd name="T42" fmla="*/ 132 w 133"/>
              <a:gd name="T43" fmla="*/ 138 h 154"/>
              <a:gd name="T44" fmla="*/ 130 w 133"/>
              <a:gd name="T45" fmla="*/ 141 h 154"/>
              <a:gd name="T46" fmla="*/ 125 w 133"/>
              <a:gd name="T47" fmla="*/ 144 h 154"/>
              <a:gd name="T48" fmla="*/ 121 w 133"/>
              <a:gd name="T49" fmla="*/ 147 h 154"/>
              <a:gd name="T50" fmla="*/ 115 w 133"/>
              <a:gd name="T51" fmla="*/ 150 h 154"/>
              <a:gd name="T52" fmla="*/ 110 w 133"/>
              <a:gd name="T53" fmla="*/ 153 h 154"/>
              <a:gd name="T54" fmla="*/ 104 w 133"/>
              <a:gd name="T55" fmla="*/ 154 h 154"/>
              <a:gd name="T56" fmla="*/ 99 w 133"/>
              <a:gd name="T57" fmla="*/ 154 h 154"/>
              <a:gd name="T58" fmla="*/ 93 w 133"/>
              <a:gd name="T59" fmla="*/ 153 h 154"/>
              <a:gd name="T60" fmla="*/ 87 w 133"/>
              <a:gd name="T61" fmla="*/ 149 h 154"/>
              <a:gd name="T62" fmla="*/ 79 w 133"/>
              <a:gd name="T63" fmla="*/ 141 h 154"/>
              <a:gd name="T64" fmla="*/ 71 w 133"/>
              <a:gd name="T65" fmla="*/ 134 h 154"/>
              <a:gd name="T66" fmla="*/ 64 w 133"/>
              <a:gd name="T67" fmla="*/ 126 h 154"/>
              <a:gd name="T68" fmla="*/ 58 w 133"/>
              <a:gd name="T69" fmla="*/ 118 h 154"/>
              <a:gd name="T70" fmla="*/ 54 w 133"/>
              <a:gd name="T71" fmla="*/ 111 h 154"/>
              <a:gd name="T72" fmla="*/ 53 w 133"/>
              <a:gd name="T73" fmla="*/ 105 h 154"/>
              <a:gd name="T74" fmla="*/ 54 w 133"/>
              <a:gd name="T75" fmla="*/ 98 h 154"/>
              <a:gd name="T76" fmla="*/ 56 w 133"/>
              <a:gd name="T77" fmla="*/ 83 h 154"/>
              <a:gd name="T78" fmla="*/ 58 w 133"/>
              <a:gd name="T79" fmla="*/ 68 h 154"/>
              <a:gd name="T80" fmla="*/ 59 w 133"/>
              <a:gd name="T81" fmla="*/ 62 h 154"/>
              <a:gd name="T82" fmla="*/ 47 w 133"/>
              <a:gd name="T83" fmla="*/ 61 h 154"/>
              <a:gd name="T84" fmla="*/ 36 w 133"/>
              <a:gd name="T85" fmla="*/ 59 h 154"/>
              <a:gd name="T86" fmla="*/ 25 w 133"/>
              <a:gd name="T87" fmla="*/ 56 h 154"/>
              <a:gd name="T88" fmla="*/ 17 w 133"/>
              <a:gd name="T89" fmla="*/ 52 h 154"/>
              <a:gd name="T90" fmla="*/ 13 w 133"/>
              <a:gd name="T91" fmla="*/ 49 h 154"/>
              <a:gd name="T92" fmla="*/ 10 w 133"/>
              <a:gd name="T93" fmla="*/ 46 h 154"/>
              <a:gd name="T94" fmla="*/ 7 w 133"/>
              <a:gd name="T95" fmla="*/ 43 h 154"/>
              <a:gd name="T96" fmla="*/ 4 w 133"/>
              <a:gd name="T97" fmla="*/ 39 h 154"/>
              <a:gd name="T98" fmla="*/ 2 w 133"/>
              <a:gd name="T99" fmla="*/ 34 h 154"/>
              <a:gd name="T100" fmla="*/ 1 w 133"/>
              <a:gd name="T101" fmla="*/ 29 h 154"/>
              <a:gd name="T102" fmla="*/ 0 w 133"/>
              <a:gd name="T103" fmla="*/ 24 h 154"/>
              <a:gd name="T104" fmla="*/ 0 w 133"/>
              <a:gd name="T105" fmla="*/ 18 h 154"/>
              <a:gd name="T106" fmla="*/ 7 w 133"/>
              <a:gd name="T107" fmla="*/ 15 h 154"/>
              <a:gd name="T108" fmla="*/ 20 w 133"/>
              <a:gd name="T109" fmla="*/ 12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79" name="Freeform 485">
            <a:extLst>
              <a:ext uri="{FF2B5EF4-FFF2-40B4-BE49-F238E27FC236}">
                <a16:creationId xmlns:a16="http://schemas.microsoft.com/office/drawing/2014/main" id="{E29FED22-670B-4040-B2BE-63138A7CBB8C}"/>
              </a:ext>
            </a:extLst>
          </p:cNvPr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10742282" y="2675823"/>
            <a:ext cx="201671" cy="244475"/>
          </a:xfrm>
          <a:custGeom>
            <a:avLst/>
            <a:gdLst>
              <a:gd name="T0" fmla="*/ 134 w 485"/>
              <a:gd name="T1" fmla="*/ 351 h 468"/>
              <a:gd name="T2" fmla="*/ 167 w 485"/>
              <a:gd name="T3" fmla="*/ 339 h 468"/>
              <a:gd name="T4" fmla="*/ 200 w 485"/>
              <a:gd name="T5" fmla="*/ 339 h 468"/>
              <a:gd name="T6" fmla="*/ 226 w 485"/>
              <a:gd name="T7" fmla="*/ 348 h 468"/>
              <a:gd name="T8" fmla="*/ 224 w 485"/>
              <a:gd name="T9" fmla="*/ 327 h 468"/>
              <a:gd name="T10" fmla="*/ 220 w 485"/>
              <a:gd name="T11" fmla="*/ 316 h 468"/>
              <a:gd name="T12" fmla="*/ 233 w 485"/>
              <a:gd name="T13" fmla="*/ 303 h 468"/>
              <a:gd name="T14" fmla="*/ 239 w 485"/>
              <a:gd name="T15" fmla="*/ 276 h 468"/>
              <a:gd name="T16" fmla="*/ 242 w 485"/>
              <a:gd name="T17" fmla="*/ 246 h 468"/>
              <a:gd name="T18" fmla="*/ 268 w 485"/>
              <a:gd name="T19" fmla="*/ 255 h 468"/>
              <a:gd name="T20" fmla="*/ 300 w 485"/>
              <a:gd name="T21" fmla="*/ 238 h 468"/>
              <a:gd name="T22" fmla="*/ 316 w 485"/>
              <a:gd name="T23" fmla="*/ 217 h 468"/>
              <a:gd name="T24" fmla="*/ 293 w 485"/>
              <a:gd name="T25" fmla="*/ 194 h 468"/>
              <a:gd name="T26" fmla="*/ 318 w 485"/>
              <a:gd name="T27" fmla="*/ 199 h 468"/>
              <a:gd name="T28" fmla="*/ 343 w 485"/>
              <a:gd name="T29" fmla="*/ 202 h 468"/>
              <a:gd name="T30" fmla="*/ 346 w 485"/>
              <a:gd name="T31" fmla="*/ 185 h 468"/>
              <a:gd name="T32" fmla="*/ 295 w 485"/>
              <a:gd name="T33" fmla="*/ 96 h 468"/>
              <a:gd name="T34" fmla="*/ 285 w 485"/>
              <a:gd name="T35" fmla="*/ 53 h 468"/>
              <a:gd name="T36" fmla="*/ 291 w 485"/>
              <a:gd name="T37" fmla="*/ 19 h 468"/>
              <a:gd name="T38" fmla="*/ 316 w 485"/>
              <a:gd name="T39" fmla="*/ 1 h 468"/>
              <a:gd name="T40" fmla="*/ 336 w 485"/>
              <a:gd name="T41" fmla="*/ 18 h 468"/>
              <a:gd name="T42" fmla="*/ 377 w 485"/>
              <a:gd name="T43" fmla="*/ 45 h 468"/>
              <a:gd name="T44" fmla="*/ 415 w 485"/>
              <a:gd name="T45" fmla="*/ 72 h 468"/>
              <a:gd name="T46" fmla="*/ 426 w 485"/>
              <a:gd name="T47" fmla="*/ 98 h 468"/>
              <a:gd name="T48" fmla="*/ 436 w 485"/>
              <a:gd name="T49" fmla="*/ 137 h 468"/>
              <a:gd name="T50" fmla="*/ 445 w 485"/>
              <a:gd name="T51" fmla="*/ 173 h 468"/>
              <a:gd name="T52" fmla="*/ 428 w 485"/>
              <a:gd name="T53" fmla="*/ 179 h 468"/>
              <a:gd name="T54" fmla="*/ 412 w 485"/>
              <a:gd name="T55" fmla="*/ 185 h 468"/>
              <a:gd name="T56" fmla="*/ 426 w 485"/>
              <a:gd name="T57" fmla="*/ 199 h 468"/>
              <a:gd name="T58" fmla="*/ 445 w 485"/>
              <a:gd name="T59" fmla="*/ 203 h 468"/>
              <a:gd name="T60" fmla="*/ 455 w 485"/>
              <a:gd name="T61" fmla="*/ 262 h 468"/>
              <a:gd name="T62" fmla="*/ 475 w 485"/>
              <a:gd name="T63" fmla="*/ 312 h 468"/>
              <a:gd name="T64" fmla="*/ 480 w 485"/>
              <a:gd name="T65" fmla="*/ 381 h 468"/>
              <a:gd name="T66" fmla="*/ 463 w 485"/>
              <a:gd name="T67" fmla="*/ 364 h 468"/>
              <a:gd name="T68" fmla="*/ 453 w 485"/>
              <a:gd name="T69" fmla="*/ 356 h 468"/>
              <a:gd name="T70" fmla="*/ 436 w 485"/>
              <a:gd name="T71" fmla="*/ 363 h 468"/>
              <a:gd name="T72" fmla="*/ 429 w 485"/>
              <a:gd name="T73" fmla="*/ 399 h 468"/>
              <a:gd name="T74" fmla="*/ 408 w 485"/>
              <a:gd name="T75" fmla="*/ 389 h 468"/>
              <a:gd name="T76" fmla="*/ 389 w 485"/>
              <a:gd name="T77" fmla="*/ 382 h 468"/>
              <a:gd name="T78" fmla="*/ 376 w 485"/>
              <a:gd name="T79" fmla="*/ 402 h 468"/>
              <a:gd name="T80" fmla="*/ 345 w 485"/>
              <a:gd name="T81" fmla="*/ 413 h 468"/>
              <a:gd name="T82" fmla="*/ 334 w 485"/>
              <a:gd name="T83" fmla="*/ 400 h 468"/>
              <a:gd name="T84" fmla="*/ 312 w 485"/>
              <a:gd name="T85" fmla="*/ 395 h 468"/>
              <a:gd name="T86" fmla="*/ 303 w 485"/>
              <a:gd name="T87" fmla="*/ 426 h 468"/>
              <a:gd name="T88" fmla="*/ 299 w 485"/>
              <a:gd name="T89" fmla="*/ 450 h 468"/>
              <a:gd name="T90" fmla="*/ 307 w 485"/>
              <a:gd name="T91" fmla="*/ 466 h 468"/>
              <a:gd name="T92" fmla="*/ 272 w 485"/>
              <a:gd name="T93" fmla="*/ 468 h 468"/>
              <a:gd name="T94" fmla="*/ 258 w 485"/>
              <a:gd name="T95" fmla="*/ 465 h 468"/>
              <a:gd name="T96" fmla="*/ 244 w 485"/>
              <a:gd name="T97" fmla="*/ 440 h 468"/>
              <a:gd name="T98" fmla="*/ 229 w 485"/>
              <a:gd name="T99" fmla="*/ 418 h 468"/>
              <a:gd name="T100" fmla="*/ 204 w 485"/>
              <a:gd name="T101" fmla="*/ 406 h 468"/>
              <a:gd name="T102" fmla="*/ 190 w 485"/>
              <a:gd name="T103" fmla="*/ 394 h 468"/>
              <a:gd name="T104" fmla="*/ 136 w 485"/>
              <a:gd name="T105" fmla="*/ 417 h 468"/>
              <a:gd name="T106" fmla="*/ 90 w 485"/>
              <a:gd name="T107" fmla="*/ 435 h 468"/>
              <a:gd name="T108" fmla="*/ 65 w 485"/>
              <a:gd name="T109" fmla="*/ 459 h 468"/>
              <a:gd name="T110" fmla="*/ 27 w 485"/>
              <a:gd name="T111" fmla="*/ 461 h 468"/>
              <a:gd name="T112" fmla="*/ 7 w 485"/>
              <a:gd name="T113" fmla="*/ 438 h 468"/>
              <a:gd name="T114" fmla="*/ 0 w 485"/>
              <a:gd name="T115" fmla="*/ 417 h 468"/>
              <a:gd name="T116" fmla="*/ 7 w 485"/>
              <a:gd name="T117" fmla="*/ 413 h 468"/>
              <a:gd name="T118" fmla="*/ 27 w 485"/>
              <a:gd name="T119" fmla="*/ 414 h 468"/>
              <a:gd name="T120" fmla="*/ 48 w 485"/>
              <a:gd name="T121" fmla="*/ 405 h 468"/>
              <a:gd name="T122" fmla="*/ 72 w 485"/>
              <a:gd name="T123" fmla="*/ 369 h 468"/>
              <a:gd name="T124" fmla="*/ 93 w 485"/>
              <a:gd name="T125" fmla="*/ 352 h 4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3" name="Freeform 489">
            <a:extLst>
              <a:ext uri="{FF2B5EF4-FFF2-40B4-BE49-F238E27FC236}">
                <a16:creationId xmlns:a16="http://schemas.microsoft.com/office/drawing/2014/main" id="{7767D802-7B37-4030-A2BB-676EF1AE14E6}"/>
              </a:ext>
            </a:extLst>
          </p:cNvPr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9102941" y="1742372"/>
            <a:ext cx="39723" cy="57150"/>
          </a:xfrm>
          <a:custGeom>
            <a:avLst/>
            <a:gdLst>
              <a:gd name="T0" fmla="*/ 93 w 100"/>
              <a:gd name="T1" fmla="*/ 0 h 42"/>
              <a:gd name="T2" fmla="*/ 97 w 100"/>
              <a:gd name="T3" fmla="*/ 7 h 42"/>
              <a:gd name="T4" fmla="*/ 100 w 100"/>
              <a:gd name="T5" fmla="*/ 18 h 42"/>
              <a:gd name="T6" fmla="*/ 92 w 100"/>
              <a:gd name="T7" fmla="*/ 24 h 42"/>
              <a:gd name="T8" fmla="*/ 86 w 100"/>
              <a:gd name="T9" fmla="*/ 29 h 42"/>
              <a:gd name="T10" fmla="*/ 79 w 100"/>
              <a:gd name="T11" fmla="*/ 34 h 42"/>
              <a:gd name="T12" fmla="*/ 72 w 100"/>
              <a:gd name="T13" fmla="*/ 37 h 42"/>
              <a:gd name="T14" fmla="*/ 65 w 100"/>
              <a:gd name="T15" fmla="*/ 39 h 42"/>
              <a:gd name="T16" fmla="*/ 57 w 100"/>
              <a:gd name="T17" fmla="*/ 41 h 42"/>
              <a:gd name="T18" fmla="*/ 49 w 100"/>
              <a:gd name="T19" fmla="*/ 42 h 42"/>
              <a:gd name="T20" fmla="*/ 40 w 100"/>
              <a:gd name="T21" fmla="*/ 42 h 42"/>
              <a:gd name="T22" fmla="*/ 27 w 100"/>
              <a:gd name="T23" fmla="*/ 41 h 42"/>
              <a:gd name="T24" fmla="*/ 12 w 100"/>
              <a:gd name="T25" fmla="*/ 39 h 42"/>
              <a:gd name="T26" fmla="*/ 1 w 100"/>
              <a:gd name="T27" fmla="*/ 37 h 42"/>
              <a:gd name="T28" fmla="*/ 0 w 100"/>
              <a:gd name="T29" fmla="*/ 36 h 42"/>
              <a:gd name="T30" fmla="*/ 6 w 100"/>
              <a:gd name="T31" fmla="*/ 36 h 42"/>
              <a:gd name="T32" fmla="*/ 12 w 100"/>
              <a:gd name="T33" fmla="*/ 35 h 42"/>
              <a:gd name="T34" fmla="*/ 18 w 100"/>
              <a:gd name="T35" fmla="*/ 33 h 42"/>
              <a:gd name="T36" fmla="*/ 23 w 100"/>
              <a:gd name="T37" fmla="*/ 30 h 42"/>
              <a:gd name="T38" fmla="*/ 33 w 100"/>
              <a:gd name="T39" fmla="*/ 25 h 42"/>
              <a:gd name="T40" fmla="*/ 44 w 100"/>
              <a:gd name="T41" fmla="*/ 18 h 42"/>
              <a:gd name="T42" fmla="*/ 55 w 100"/>
              <a:gd name="T43" fmla="*/ 11 h 42"/>
              <a:gd name="T44" fmla="*/ 66 w 100"/>
              <a:gd name="T45" fmla="*/ 5 h 42"/>
              <a:gd name="T46" fmla="*/ 72 w 100"/>
              <a:gd name="T47" fmla="*/ 3 h 42"/>
              <a:gd name="T48" fmla="*/ 79 w 100"/>
              <a:gd name="T49" fmla="*/ 1 h 42"/>
              <a:gd name="T50" fmla="*/ 86 w 100"/>
              <a:gd name="T51" fmla="*/ 0 h 42"/>
              <a:gd name="T52" fmla="*/ 93 w 100"/>
              <a:gd name="T53" fmla="*/ 0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</a:cxnLst>
            <a:rect l="0" t="0" r="r" b="b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4" name="Freeform 490">
            <a:extLst>
              <a:ext uri="{FF2B5EF4-FFF2-40B4-BE49-F238E27FC236}">
                <a16:creationId xmlns:a16="http://schemas.microsoft.com/office/drawing/2014/main" id="{99C54CD8-BA46-4F6E-943E-F00E6826EB92}"/>
              </a:ext>
            </a:extLst>
          </p:cNvPr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9015856" y="1601084"/>
            <a:ext cx="15278" cy="58738"/>
          </a:xfrm>
          <a:custGeom>
            <a:avLst/>
            <a:gdLst>
              <a:gd name="T0" fmla="*/ 40 w 40"/>
              <a:gd name="T1" fmla="*/ 5 h 5"/>
              <a:gd name="T2" fmla="*/ 0 w 40"/>
              <a:gd name="T3" fmla="*/ 5 h 5"/>
              <a:gd name="T4" fmla="*/ 5 w 40"/>
              <a:gd name="T5" fmla="*/ 3 h 5"/>
              <a:gd name="T6" fmla="*/ 9 w 40"/>
              <a:gd name="T7" fmla="*/ 1 h 5"/>
              <a:gd name="T8" fmla="*/ 15 w 40"/>
              <a:gd name="T9" fmla="*/ 0 h 5"/>
              <a:gd name="T10" fmla="*/ 20 w 40"/>
              <a:gd name="T11" fmla="*/ 0 h 5"/>
              <a:gd name="T12" fmla="*/ 25 w 40"/>
              <a:gd name="T13" fmla="*/ 0 h 5"/>
              <a:gd name="T14" fmla="*/ 30 w 40"/>
              <a:gd name="T15" fmla="*/ 1 h 5"/>
              <a:gd name="T16" fmla="*/ 35 w 40"/>
              <a:gd name="T17" fmla="*/ 3 h 5"/>
              <a:gd name="T18" fmla="*/ 40 w 40"/>
              <a:gd name="T19" fmla="*/ 5 h 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6" name="Freeform 492">
            <a:extLst>
              <a:ext uri="{FF2B5EF4-FFF2-40B4-BE49-F238E27FC236}">
                <a16:creationId xmlns:a16="http://schemas.microsoft.com/office/drawing/2014/main" id="{308FA0D3-4F1F-44E0-B584-7B5EEFDDA98C}"/>
              </a:ext>
            </a:extLst>
          </p:cNvPr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9176276" y="1675697"/>
            <a:ext cx="16806" cy="57150"/>
          </a:xfrm>
          <a:custGeom>
            <a:avLst/>
            <a:gdLst>
              <a:gd name="T0" fmla="*/ 41 w 41"/>
              <a:gd name="T1" fmla="*/ 0 h 43"/>
              <a:gd name="T2" fmla="*/ 41 w 41"/>
              <a:gd name="T3" fmla="*/ 43 h 43"/>
              <a:gd name="T4" fmla="*/ 31 w 41"/>
              <a:gd name="T5" fmla="*/ 42 h 43"/>
              <a:gd name="T6" fmla="*/ 24 w 41"/>
              <a:gd name="T7" fmla="*/ 40 h 43"/>
              <a:gd name="T8" fmla="*/ 18 w 41"/>
              <a:gd name="T9" fmla="*/ 37 h 43"/>
              <a:gd name="T10" fmla="*/ 13 w 41"/>
              <a:gd name="T11" fmla="*/ 33 h 43"/>
              <a:gd name="T12" fmla="*/ 5 w 41"/>
              <a:gd name="T13" fmla="*/ 25 h 43"/>
              <a:gd name="T14" fmla="*/ 0 w 41"/>
              <a:gd name="T15" fmla="*/ 19 h 43"/>
              <a:gd name="T16" fmla="*/ 12 w 41"/>
              <a:gd name="T17" fmla="*/ 13 h 43"/>
              <a:gd name="T18" fmla="*/ 25 w 41"/>
              <a:gd name="T19" fmla="*/ 7 h 43"/>
              <a:gd name="T20" fmla="*/ 36 w 41"/>
              <a:gd name="T21" fmla="*/ 2 h 43"/>
              <a:gd name="T22" fmla="*/ 41 w 41"/>
              <a:gd name="T23" fmla="*/ 0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8" name="Freeform 494">
            <a:extLst>
              <a:ext uri="{FF2B5EF4-FFF2-40B4-BE49-F238E27FC236}">
                <a16:creationId xmlns:a16="http://schemas.microsoft.com/office/drawing/2014/main" id="{1D300720-45C8-44E5-BD3F-FF827E55BE77}"/>
              </a:ext>
            </a:extLst>
          </p:cNvPr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9286277" y="1585210"/>
            <a:ext cx="99308" cy="60325"/>
          </a:xfrm>
          <a:custGeom>
            <a:avLst/>
            <a:gdLst>
              <a:gd name="T0" fmla="*/ 41 w 239"/>
              <a:gd name="T1" fmla="*/ 0 h 56"/>
              <a:gd name="T2" fmla="*/ 30 w 239"/>
              <a:gd name="T3" fmla="*/ 3 h 56"/>
              <a:gd name="T4" fmla="*/ 23 w 239"/>
              <a:gd name="T5" fmla="*/ 5 h 56"/>
              <a:gd name="T6" fmla="*/ 19 w 239"/>
              <a:gd name="T7" fmla="*/ 7 h 56"/>
              <a:gd name="T8" fmla="*/ 15 w 239"/>
              <a:gd name="T9" fmla="*/ 9 h 56"/>
              <a:gd name="T10" fmla="*/ 13 w 239"/>
              <a:gd name="T11" fmla="*/ 13 h 56"/>
              <a:gd name="T12" fmla="*/ 10 w 239"/>
              <a:gd name="T13" fmla="*/ 15 h 56"/>
              <a:gd name="T14" fmla="*/ 7 w 239"/>
              <a:gd name="T15" fmla="*/ 17 h 56"/>
              <a:gd name="T16" fmla="*/ 0 w 239"/>
              <a:gd name="T17" fmla="*/ 19 h 56"/>
              <a:gd name="T18" fmla="*/ 2 w 239"/>
              <a:gd name="T19" fmla="*/ 24 h 56"/>
              <a:gd name="T20" fmla="*/ 5 w 239"/>
              <a:gd name="T21" fmla="*/ 27 h 56"/>
              <a:gd name="T22" fmla="*/ 7 w 239"/>
              <a:gd name="T23" fmla="*/ 30 h 56"/>
              <a:gd name="T24" fmla="*/ 10 w 239"/>
              <a:gd name="T25" fmla="*/ 33 h 56"/>
              <a:gd name="T26" fmla="*/ 17 w 239"/>
              <a:gd name="T27" fmla="*/ 36 h 56"/>
              <a:gd name="T28" fmla="*/ 24 w 239"/>
              <a:gd name="T29" fmla="*/ 38 h 56"/>
              <a:gd name="T30" fmla="*/ 41 w 239"/>
              <a:gd name="T31" fmla="*/ 38 h 56"/>
              <a:gd name="T32" fmla="*/ 54 w 239"/>
              <a:gd name="T33" fmla="*/ 38 h 56"/>
              <a:gd name="T34" fmla="*/ 153 w 239"/>
              <a:gd name="T35" fmla="*/ 38 h 56"/>
              <a:gd name="T36" fmla="*/ 155 w 239"/>
              <a:gd name="T37" fmla="*/ 41 h 56"/>
              <a:gd name="T38" fmla="*/ 156 w 239"/>
              <a:gd name="T39" fmla="*/ 44 h 56"/>
              <a:gd name="T40" fmla="*/ 159 w 239"/>
              <a:gd name="T41" fmla="*/ 46 h 56"/>
              <a:gd name="T42" fmla="*/ 162 w 239"/>
              <a:gd name="T43" fmla="*/ 48 h 56"/>
              <a:gd name="T44" fmla="*/ 167 w 239"/>
              <a:gd name="T45" fmla="*/ 51 h 56"/>
              <a:gd name="T46" fmla="*/ 174 w 239"/>
              <a:gd name="T47" fmla="*/ 54 h 56"/>
              <a:gd name="T48" fmla="*/ 188 w 239"/>
              <a:gd name="T49" fmla="*/ 56 h 56"/>
              <a:gd name="T50" fmla="*/ 200 w 239"/>
              <a:gd name="T51" fmla="*/ 56 h 56"/>
              <a:gd name="T52" fmla="*/ 204 w 239"/>
              <a:gd name="T53" fmla="*/ 55 h 56"/>
              <a:gd name="T54" fmla="*/ 210 w 239"/>
              <a:gd name="T55" fmla="*/ 54 h 56"/>
              <a:gd name="T56" fmla="*/ 214 w 239"/>
              <a:gd name="T57" fmla="*/ 52 h 56"/>
              <a:gd name="T58" fmla="*/ 220 w 239"/>
              <a:gd name="T59" fmla="*/ 49 h 56"/>
              <a:gd name="T60" fmla="*/ 230 w 239"/>
              <a:gd name="T61" fmla="*/ 43 h 56"/>
              <a:gd name="T62" fmla="*/ 239 w 239"/>
              <a:gd name="T63" fmla="*/ 38 h 56"/>
              <a:gd name="T64" fmla="*/ 232 w 239"/>
              <a:gd name="T65" fmla="*/ 37 h 56"/>
              <a:gd name="T66" fmla="*/ 225 w 239"/>
              <a:gd name="T67" fmla="*/ 36 h 56"/>
              <a:gd name="T68" fmla="*/ 219 w 239"/>
              <a:gd name="T69" fmla="*/ 34 h 56"/>
              <a:gd name="T70" fmla="*/ 213 w 239"/>
              <a:gd name="T71" fmla="*/ 32 h 56"/>
              <a:gd name="T72" fmla="*/ 201 w 239"/>
              <a:gd name="T73" fmla="*/ 26 h 56"/>
              <a:gd name="T74" fmla="*/ 190 w 239"/>
              <a:gd name="T75" fmla="*/ 19 h 56"/>
              <a:gd name="T76" fmla="*/ 178 w 239"/>
              <a:gd name="T77" fmla="*/ 13 h 56"/>
              <a:gd name="T78" fmla="*/ 167 w 239"/>
              <a:gd name="T79" fmla="*/ 6 h 56"/>
              <a:gd name="T80" fmla="*/ 160 w 239"/>
              <a:gd name="T81" fmla="*/ 4 h 56"/>
              <a:gd name="T82" fmla="*/ 154 w 239"/>
              <a:gd name="T83" fmla="*/ 2 h 56"/>
              <a:gd name="T84" fmla="*/ 147 w 239"/>
              <a:gd name="T85" fmla="*/ 1 h 56"/>
              <a:gd name="T86" fmla="*/ 140 w 239"/>
              <a:gd name="T87" fmla="*/ 0 h 56"/>
              <a:gd name="T88" fmla="*/ 134 w 239"/>
              <a:gd name="T89" fmla="*/ 1 h 56"/>
              <a:gd name="T90" fmla="*/ 127 w 239"/>
              <a:gd name="T91" fmla="*/ 4 h 56"/>
              <a:gd name="T92" fmla="*/ 124 w 239"/>
              <a:gd name="T93" fmla="*/ 6 h 56"/>
              <a:gd name="T94" fmla="*/ 122 w 239"/>
              <a:gd name="T95" fmla="*/ 8 h 56"/>
              <a:gd name="T96" fmla="*/ 121 w 239"/>
              <a:gd name="T97" fmla="*/ 10 h 56"/>
              <a:gd name="T98" fmla="*/ 120 w 239"/>
              <a:gd name="T99" fmla="*/ 13 h 56"/>
              <a:gd name="T100" fmla="*/ 100 w 239"/>
              <a:gd name="T101" fmla="*/ 8 h 56"/>
              <a:gd name="T102" fmla="*/ 80 w 239"/>
              <a:gd name="T103" fmla="*/ 4 h 56"/>
              <a:gd name="T104" fmla="*/ 61 w 239"/>
              <a:gd name="T105" fmla="*/ 1 h 56"/>
              <a:gd name="T106" fmla="*/ 41 w 239"/>
              <a:gd name="T107" fmla="*/ 0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89" name="Freeform 495">
            <a:extLst>
              <a:ext uri="{FF2B5EF4-FFF2-40B4-BE49-F238E27FC236}">
                <a16:creationId xmlns:a16="http://schemas.microsoft.com/office/drawing/2014/main" id="{5682A8FA-8B97-4E05-B7A5-DD8C6DB63D5F}"/>
              </a:ext>
            </a:extLst>
          </p:cNvPr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9399335" y="1599497"/>
            <a:ext cx="79446" cy="57150"/>
          </a:xfrm>
          <a:custGeom>
            <a:avLst/>
            <a:gdLst>
              <a:gd name="T0" fmla="*/ 14 w 187"/>
              <a:gd name="T1" fmla="*/ 19 h 80"/>
              <a:gd name="T2" fmla="*/ 41 w 187"/>
              <a:gd name="T3" fmla="*/ 0 h 80"/>
              <a:gd name="T4" fmla="*/ 44 w 187"/>
              <a:gd name="T5" fmla="*/ 3 h 80"/>
              <a:gd name="T6" fmla="*/ 50 w 187"/>
              <a:gd name="T7" fmla="*/ 6 h 80"/>
              <a:gd name="T8" fmla="*/ 58 w 187"/>
              <a:gd name="T9" fmla="*/ 9 h 80"/>
              <a:gd name="T10" fmla="*/ 67 w 187"/>
              <a:gd name="T11" fmla="*/ 12 h 80"/>
              <a:gd name="T12" fmla="*/ 89 w 187"/>
              <a:gd name="T13" fmla="*/ 19 h 80"/>
              <a:gd name="T14" fmla="*/ 114 w 187"/>
              <a:gd name="T15" fmla="*/ 26 h 80"/>
              <a:gd name="T16" fmla="*/ 139 w 187"/>
              <a:gd name="T17" fmla="*/ 33 h 80"/>
              <a:gd name="T18" fmla="*/ 161 w 187"/>
              <a:gd name="T19" fmla="*/ 38 h 80"/>
              <a:gd name="T20" fmla="*/ 177 w 187"/>
              <a:gd name="T21" fmla="*/ 42 h 80"/>
              <a:gd name="T22" fmla="*/ 187 w 187"/>
              <a:gd name="T23" fmla="*/ 43 h 80"/>
              <a:gd name="T24" fmla="*/ 187 w 187"/>
              <a:gd name="T25" fmla="*/ 56 h 80"/>
              <a:gd name="T26" fmla="*/ 187 w 187"/>
              <a:gd name="T27" fmla="*/ 68 h 80"/>
              <a:gd name="T28" fmla="*/ 170 w 187"/>
              <a:gd name="T29" fmla="*/ 70 h 80"/>
              <a:gd name="T30" fmla="*/ 151 w 187"/>
              <a:gd name="T31" fmla="*/ 71 h 80"/>
              <a:gd name="T32" fmla="*/ 133 w 187"/>
              <a:gd name="T33" fmla="*/ 71 h 80"/>
              <a:gd name="T34" fmla="*/ 116 w 187"/>
              <a:gd name="T35" fmla="*/ 70 h 80"/>
              <a:gd name="T36" fmla="*/ 85 w 187"/>
              <a:gd name="T37" fmla="*/ 69 h 80"/>
              <a:gd name="T38" fmla="*/ 61 w 187"/>
              <a:gd name="T39" fmla="*/ 68 h 80"/>
              <a:gd name="T40" fmla="*/ 55 w 187"/>
              <a:gd name="T41" fmla="*/ 69 h 80"/>
              <a:gd name="T42" fmla="*/ 51 w 187"/>
              <a:gd name="T43" fmla="*/ 70 h 80"/>
              <a:gd name="T44" fmla="*/ 45 w 187"/>
              <a:gd name="T45" fmla="*/ 72 h 80"/>
              <a:gd name="T46" fmla="*/ 41 w 187"/>
              <a:gd name="T47" fmla="*/ 74 h 80"/>
              <a:gd name="T48" fmla="*/ 33 w 187"/>
              <a:gd name="T49" fmla="*/ 78 h 80"/>
              <a:gd name="T50" fmla="*/ 28 w 187"/>
              <a:gd name="T51" fmla="*/ 80 h 80"/>
              <a:gd name="T52" fmla="*/ 22 w 187"/>
              <a:gd name="T53" fmla="*/ 79 h 80"/>
              <a:gd name="T54" fmla="*/ 18 w 187"/>
              <a:gd name="T55" fmla="*/ 76 h 80"/>
              <a:gd name="T56" fmla="*/ 14 w 187"/>
              <a:gd name="T57" fmla="*/ 72 h 80"/>
              <a:gd name="T58" fmla="*/ 9 w 187"/>
              <a:gd name="T59" fmla="*/ 67 h 80"/>
              <a:gd name="T60" fmla="*/ 6 w 187"/>
              <a:gd name="T61" fmla="*/ 62 h 80"/>
              <a:gd name="T62" fmla="*/ 3 w 187"/>
              <a:gd name="T63" fmla="*/ 57 h 80"/>
              <a:gd name="T64" fmla="*/ 2 w 187"/>
              <a:gd name="T65" fmla="*/ 53 h 80"/>
              <a:gd name="T66" fmla="*/ 0 w 187"/>
              <a:gd name="T67" fmla="*/ 50 h 80"/>
              <a:gd name="T68" fmla="*/ 2 w 187"/>
              <a:gd name="T69" fmla="*/ 44 h 80"/>
              <a:gd name="T70" fmla="*/ 3 w 187"/>
              <a:gd name="T71" fmla="*/ 40 h 80"/>
              <a:gd name="T72" fmla="*/ 5 w 187"/>
              <a:gd name="T73" fmla="*/ 36 h 80"/>
              <a:gd name="T74" fmla="*/ 7 w 187"/>
              <a:gd name="T75" fmla="*/ 31 h 80"/>
              <a:gd name="T76" fmla="*/ 13 w 187"/>
              <a:gd name="T77" fmla="*/ 24 h 80"/>
              <a:gd name="T78" fmla="*/ 14 w 187"/>
              <a:gd name="T79" fmla="*/ 19 h 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0" name="Freeform 496">
            <a:extLst>
              <a:ext uri="{FF2B5EF4-FFF2-40B4-BE49-F238E27FC236}">
                <a16:creationId xmlns:a16="http://schemas.microsoft.com/office/drawing/2014/main" id="{259CFC6E-5CC7-46C5-9EE2-EF59B5561BC4}"/>
              </a:ext>
            </a:extLst>
          </p:cNvPr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9906570" y="1724909"/>
            <a:ext cx="76391" cy="58738"/>
          </a:xfrm>
          <a:custGeom>
            <a:avLst/>
            <a:gdLst>
              <a:gd name="T0" fmla="*/ 50 w 183"/>
              <a:gd name="T1" fmla="*/ 0 h 73"/>
              <a:gd name="T2" fmla="*/ 63 w 183"/>
              <a:gd name="T3" fmla="*/ 0 h 73"/>
              <a:gd name="T4" fmla="*/ 75 w 183"/>
              <a:gd name="T5" fmla="*/ 1 h 73"/>
              <a:gd name="T6" fmla="*/ 86 w 183"/>
              <a:gd name="T7" fmla="*/ 4 h 73"/>
              <a:gd name="T8" fmla="*/ 97 w 183"/>
              <a:gd name="T9" fmla="*/ 7 h 73"/>
              <a:gd name="T10" fmla="*/ 106 w 183"/>
              <a:gd name="T11" fmla="*/ 10 h 73"/>
              <a:gd name="T12" fmla="*/ 116 w 183"/>
              <a:gd name="T13" fmla="*/ 15 h 73"/>
              <a:gd name="T14" fmla="*/ 124 w 183"/>
              <a:gd name="T15" fmla="*/ 19 h 73"/>
              <a:gd name="T16" fmla="*/ 131 w 183"/>
              <a:gd name="T17" fmla="*/ 25 h 73"/>
              <a:gd name="T18" fmla="*/ 159 w 183"/>
              <a:gd name="T19" fmla="*/ 49 h 73"/>
              <a:gd name="T20" fmla="*/ 183 w 183"/>
              <a:gd name="T21" fmla="*/ 73 h 73"/>
              <a:gd name="T22" fmla="*/ 137 w 183"/>
              <a:gd name="T23" fmla="*/ 73 h 73"/>
              <a:gd name="T24" fmla="*/ 128 w 183"/>
              <a:gd name="T25" fmla="*/ 72 h 73"/>
              <a:gd name="T26" fmla="*/ 117 w 183"/>
              <a:gd name="T27" fmla="*/ 70 h 73"/>
              <a:gd name="T28" fmla="*/ 104 w 183"/>
              <a:gd name="T29" fmla="*/ 66 h 73"/>
              <a:gd name="T30" fmla="*/ 90 w 183"/>
              <a:gd name="T31" fmla="*/ 62 h 73"/>
              <a:gd name="T32" fmla="*/ 73 w 183"/>
              <a:gd name="T33" fmla="*/ 56 h 73"/>
              <a:gd name="T34" fmla="*/ 58 w 183"/>
              <a:gd name="T35" fmla="*/ 50 h 73"/>
              <a:gd name="T36" fmla="*/ 42 w 183"/>
              <a:gd name="T37" fmla="*/ 44 h 73"/>
              <a:gd name="T38" fmla="*/ 28 w 183"/>
              <a:gd name="T39" fmla="*/ 37 h 73"/>
              <a:gd name="T40" fmla="*/ 16 w 183"/>
              <a:gd name="T41" fmla="*/ 30 h 73"/>
              <a:gd name="T42" fmla="*/ 7 w 183"/>
              <a:gd name="T43" fmla="*/ 23 h 73"/>
              <a:gd name="T44" fmla="*/ 4 w 183"/>
              <a:gd name="T45" fmla="*/ 19 h 73"/>
              <a:gd name="T46" fmla="*/ 2 w 183"/>
              <a:gd name="T47" fmla="*/ 16 h 73"/>
              <a:gd name="T48" fmla="*/ 1 w 183"/>
              <a:gd name="T49" fmla="*/ 14 h 73"/>
              <a:gd name="T50" fmla="*/ 0 w 183"/>
              <a:gd name="T51" fmla="*/ 11 h 73"/>
              <a:gd name="T52" fmla="*/ 1 w 183"/>
              <a:gd name="T53" fmla="*/ 8 h 73"/>
              <a:gd name="T54" fmla="*/ 3 w 183"/>
              <a:gd name="T55" fmla="*/ 6 h 73"/>
              <a:gd name="T56" fmla="*/ 7 w 183"/>
              <a:gd name="T57" fmla="*/ 4 h 73"/>
              <a:gd name="T58" fmla="*/ 13 w 183"/>
              <a:gd name="T59" fmla="*/ 3 h 73"/>
              <a:gd name="T60" fmla="*/ 19 w 183"/>
              <a:gd name="T61" fmla="*/ 1 h 73"/>
              <a:gd name="T62" fmla="*/ 28 w 183"/>
              <a:gd name="T63" fmla="*/ 0 h 73"/>
              <a:gd name="T64" fmla="*/ 38 w 183"/>
              <a:gd name="T65" fmla="*/ 0 h 73"/>
              <a:gd name="T66" fmla="*/ 50 w 183"/>
              <a:gd name="T67" fmla="*/ 0 h 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1" name="Freeform 497">
            <a:extLst>
              <a:ext uri="{FF2B5EF4-FFF2-40B4-BE49-F238E27FC236}">
                <a16:creationId xmlns:a16="http://schemas.microsoft.com/office/drawing/2014/main" id="{6B48AB10-E79E-4C54-A9BD-48DBD0D4DA83}"/>
              </a:ext>
            </a:extLst>
          </p:cNvPr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9970737" y="1742372"/>
            <a:ext cx="32085" cy="57150"/>
          </a:xfrm>
          <a:custGeom>
            <a:avLst/>
            <a:gdLst>
              <a:gd name="T0" fmla="*/ 0 w 79"/>
              <a:gd name="T1" fmla="*/ 6 h 42"/>
              <a:gd name="T2" fmla="*/ 23 w 79"/>
              <a:gd name="T3" fmla="*/ 2 h 42"/>
              <a:gd name="T4" fmla="*/ 41 w 79"/>
              <a:gd name="T5" fmla="*/ 1 h 42"/>
              <a:gd name="T6" fmla="*/ 60 w 79"/>
              <a:gd name="T7" fmla="*/ 0 h 42"/>
              <a:gd name="T8" fmla="*/ 79 w 79"/>
              <a:gd name="T9" fmla="*/ 0 h 42"/>
              <a:gd name="T10" fmla="*/ 79 w 79"/>
              <a:gd name="T11" fmla="*/ 9 h 42"/>
              <a:gd name="T12" fmla="*/ 79 w 79"/>
              <a:gd name="T13" fmla="*/ 18 h 42"/>
              <a:gd name="T14" fmla="*/ 79 w 79"/>
              <a:gd name="T15" fmla="*/ 22 h 42"/>
              <a:gd name="T16" fmla="*/ 75 w 79"/>
              <a:gd name="T17" fmla="*/ 27 h 42"/>
              <a:gd name="T18" fmla="*/ 72 w 79"/>
              <a:gd name="T19" fmla="*/ 31 h 42"/>
              <a:gd name="T20" fmla="*/ 68 w 79"/>
              <a:gd name="T21" fmla="*/ 35 h 42"/>
              <a:gd name="T22" fmla="*/ 62 w 79"/>
              <a:gd name="T23" fmla="*/ 38 h 42"/>
              <a:gd name="T24" fmla="*/ 57 w 79"/>
              <a:gd name="T25" fmla="*/ 40 h 42"/>
              <a:gd name="T26" fmla="*/ 51 w 79"/>
              <a:gd name="T27" fmla="*/ 42 h 42"/>
              <a:gd name="T28" fmla="*/ 46 w 79"/>
              <a:gd name="T29" fmla="*/ 42 h 42"/>
              <a:gd name="T30" fmla="*/ 40 w 79"/>
              <a:gd name="T31" fmla="*/ 42 h 42"/>
              <a:gd name="T32" fmla="*/ 35 w 79"/>
              <a:gd name="T33" fmla="*/ 41 h 42"/>
              <a:gd name="T34" fmla="*/ 29 w 79"/>
              <a:gd name="T35" fmla="*/ 39 h 42"/>
              <a:gd name="T36" fmla="*/ 25 w 79"/>
              <a:gd name="T37" fmla="*/ 37 h 42"/>
              <a:gd name="T38" fmla="*/ 16 w 79"/>
              <a:gd name="T39" fmla="*/ 32 h 42"/>
              <a:gd name="T40" fmla="*/ 11 w 79"/>
              <a:gd name="T41" fmla="*/ 26 h 42"/>
              <a:gd name="T42" fmla="*/ 5 w 79"/>
              <a:gd name="T43" fmla="*/ 20 h 42"/>
              <a:gd name="T44" fmla="*/ 2 w 79"/>
              <a:gd name="T45" fmla="*/ 14 h 42"/>
              <a:gd name="T46" fmla="*/ 0 w 79"/>
              <a:gd name="T47" fmla="*/ 9 h 42"/>
              <a:gd name="T48" fmla="*/ 0 w 79"/>
              <a:gd name="T49" fmla="*/ 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2" name="Freeform 498">
            <a:extLst>
              <a:ext uri="{FF2B5EF4-FFF2-40B4-BE49-F238E27FC236}">
                <a16:creationId xmlns:a16="http://schemas.microsoft.com/office/drawing/2014/main" id="{9EAD1283-4687-4179-B538-FCDA839451D0}"/>
              </a:ext>
            </a:extLst>
          </p:cNvPr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9999767" y="1753484"/>
            <a:ext cx="50417" cy="58738"/>
          </a:xfrm>
          <a:custGeom>
            <a:avLst/>
            <a:gdLst>
              <a:gd name="T0" fmla="*/ 113 w 113"/>
              <a:gd name="T1" fmla="*/ 39 h 52"/>
              <a:gd name="T2" fmla="*/ 112 w 113"/>
              <a:gd name="T3" fmla="*/ 42 h 52"/>
              <a:gd name="T4" fmla="*/ 109 w 113"/>
              <a:gd name="T5" fmla="*/ 45 h 52"/>
              <a:gd name="T6" fmla="*/ 106 w 113"/>
              <a:gd name="T7" fmla="*/ 47 h 52"/>
              <a:gd name="T8" fmla="*/ 103 w 113"/>
              <a:gd name="T9" fmla="*/ 49 h 52"/>
              <a:gd name="T10" fmla="*/ 94 w 113"/>
              <a:gd name="T11" fmla="*/ 51 h 52"/>
              <a:gd name="T12" fmla="*/ 85 w 113"/>
              <a:gd name="T13" fmla="*/ 52 h 52"/>
              <a:gd name="T14" fmla="*/ 66 w 113"/>
              <a:gd name="T15" fmla="*/ 52 h 52"/>
              <a:gd name="T16" fmla="*/ 53 w 113"/>
              <a:gd name="T17" fmla="*/ 51 h 52"/>
              <a:gd name="T18" fmla="*/ 47 w 113"/>
              <a:gd name="T19" fmla="*/ 51 h 52"/>
              <a:gd name="T20" fmla="*/ 39 w 113"/>
              <a:gd name="T21" fmla="*/ 48 h 52"/>
              <a:gd name="T22" fmla="*/ 30 w 113"/>
              <a:gd name="T23" fmla="*/ 45 h 52"/>
              <a:gd name="T24" fmla="*/ 21 w 113"/>
              <a:gd name="T25" fmla="*/ 41 h 52"/>
              <a:gd name="T26" fmla="*/ 13 w 113"/>
              <a:gd name="T27" fmla="*/ 36 h 52"/>
              <a:gd name="T28" fmla="*/ 6 w 113"/>
              <a:gd name="T29" fmla="*/ 31 h 52"/>
              <a:gd name="T30" fmla="*/ 4 w 113"/>
              <a:gd name="T31" fmla="*/ 28 h 52"/>
              <a:gd name="T32" fmla="*/ 2 w 113"/>
              <a:gd name="T33" fmla="*/ 25 h 52"/>
              <a:gd name="T34" fmla="*/ 1 w 113"/>
              <a:gd name="T35" fmla="*/ 22 h 52"/>
              <a:gd name="T36" fmla="*/ 0 w 113"/>
              <a:gd name="T37" fmla="*/ 20 h 52"/>
              <a:gd name="T38" fmla="*/ 1 w 113"/>
              <a:gd name="T39" fmla="*/ 15 h 52"/>
              <a:gd name="T40" fmla="*/ 1 w 113"/>
              <a:gd name="T41" fmla="*/ 11 h 52"/>
              <a:gd name="T42" fmla="*/ 3 w 113"/>
              <a:gd name="T43" fmla="*/ 8 h 52"/>
              <a:gd name="T44" fmla="*/ 5 w 113"/>
              <a:gd name="T45" fmla="*/ 5 h 52"/>
              <a:gd name="T46" fmla="*/ 7 w 113"/>
              <a:gd name="T47" fmla="*/ 3 h 52"/>
              <a:gd name="T48" fmla="*/ 10 w 113"/>
              <a:gd name="T49" fmla="*/ 2 h 52"/>
              <a:gd name="T50" fmla="*/ 14 w 113"/>
              <a:gd name="T51" fmla="*/ 1 h 52"/>
              <a:gd name="T52" fmla="*/ 17 w 113"/>
              <a:gd name="T53" fmla="*/ 0 h 52"/>
              <a:gd name="T54" fmla="*/ 26 w 113"/>
              <a:gd name="T55" fmla="*/ 0 h 52"/>
              <a:gd name="T56" fmla="*/ 36 w 113"/>
              <a:gd name="T57" fmla="*/ 2 h 52"/>
              <a:gd name="T58" fmla="*/ 46 w 113"/>
              <a:gd name="T59" fmla="*/ 5 h 52"/>
              <a:gd name="T60" fmla="*/ 57 w 113"/>
              <a:gd name="T61" fmla="*/ 9 h 52"/>
              <a:gd name="T62" fmla="*/ 77 w 113"/>
              <a:gd name="T63" fmla="*/ 18 h 52"/>
              <a:gd name="T64" fmla="*/ 95 w 113"/>
              <a:gd name="T65" fmla="*/ 29 h 52"/>
              <a:gd name="T66" fmla="*/ 108 w 113"/>
              <a:gd name="T67" fmla="*/ 36 h 52"/>
              <a:gd name="T68" fmla="*/ 113 w 113"/>
              <a:gd name="T69" fmla="*/ 39 h 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3" name="Freeform 499">
            <a:extLst>
              <a:ext uri="{FF2B5EF4-FFF2-40B4-BE49-F238E27FC236}">
                <a16:creationId xmlns:a16="http://schemas.microsoft.com/office/drawing/2014/main" id="{C0A9053E-835C-47D7-9C37-B13718DA41D9}"/>
              </a:ext>
            </a:extLst>
          </p:cNvPr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9779761" y="1726498"/>
            <a:ext cx="59584" cy="58737"/>
          </a:xfrm>
          <a:custGeom>
            <a:avLst/>
            <a:gdLst>
              <a:gd name="T0" fmla="*/ 0 w 139"/>
              <a:gd name="T1" fmla="*/ 8 h 40"/>
              <a:gd name="T2" fmla="*/ 8 w 139"/>
              <a:gd name="T3" fmla="*/ 9 h 40"/>
              <a:gd name="T4" fmla="*/ 19 w 139"/>
              <a:gd name="T5" fmla="*/ 8 h 40"/>
              <a:gd name="T6" fmla="*/ 30 w 139"/>
              <a:gd name="T7" fmla="*/ 7 h 40"/>
              <a:gd name="T8" fmla="*/ 42 w 139"/>
              <a:gd name="T9" fmla="*/ 5 h 40"/>
              <a:gd name="T10" fmla="*/ 53 w 139"/>
              <a:gd name="T11" fmla="*/ 2 h 40"/>
              <a:gd name="T12" fmla="*/ 64 w 139"/>
              <a:gd name="T13" fmla="*/ 1 h 40"/>
              <a:gd name="T14" fmla="*/ 73 w 139"/>
              <a:gd name="T15" fmla="*/ 0 h 40"/>
              <a:gd name="T16" fmla="*/ 80 w 139"/>
              <a:gd name="T17" fmla="*/ 2 h 40"/>
              <a:gd name="T18" fmla="*/ 139 w 139"/>
              <a:gd name="T19" fmla="*/ 39 h 40"/>
              <a:gd name="T20" fmla="*/ 133 w 139"/>
              <a:gd name="T21" fmla="*/ 40 h 40"/>
              <a:gd name="T22" fmla="*/ 125 w 139"/>
              <a:gd name="T23" fmla="*/ 39 h 40"/>
              <a:gd name="T24" fmla="*/ 116 w 139"/>
              <a:gd name="T25" fmla="*/ 38 h 40"/>
              <a:gd name="T26" fmla="*/ 106 w 139"/>
              <a:gd name="T27" fmla="*/ 36 h 40"/>
              <a:gd name="T28" fmla="*/ 86 w 139"/>
              <a:gd name="T29" fmla="*/ 30 h 40"/>
              <a:gd name="T30" fmla="*/ 64 w 139"/>
              <a:gd name="T31" fmla="*/ 24 h 40"/>
              <a:gd name="T32" fmla="*/ 44 w 139"/>
              <a:gd name="T33" fmla="*/ 16 h 40"/>
              <a:gd name="T34" fmla="*/ 26 w 139"/>
              <a:gd name="T35" fmla="*/ 11 h 40"/>
              <a:gd name="T36" fmla="*/ 17 w 139"/>
              <a:gd name="T37" fmla="*/ 9 h 40"/>
              <a:gd name="T38" fmla="*/ 11 w 139"/>
              <a:gd name="T39" fmla="*/ 7 h 40"/>
              <a:gd name="T40" fmla="*/ 4 w 139"/>
              <a:gd name="T41" fmla="*/ 7 h 40"/>
              <a:gd name="T42" fmla="*/ 0 w 139"/>
              <a:gd name="T43" fmla="*/ 8 h 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4" name="Freeform 500">
            <a:extLst>
              <a:ext uri="{FF2B5EF4-FFF2-40B4-BE49-F238E27FC236}">
                <a16:creationId xmlns:a16="http://schemas.microsoft.com/office/drawing/2014/main" id="{30483BDD-EF26-4DC8-89BD-44C05F165F73}"/>
              </a:ext>
            </a:extLst>
          </p:cNvPr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10068517" y="1667759"/>
            <a:ext cx="134447" cy="57150"/>
          </a:xfrm>
          <a:custGeom>
            <a:avLst/>
            <a:gdLst>
              <a:gd name="T0" fmla="*/ 10 w 325"/>
              <a:gd name="T1" fmla="*/ 7 h 71"/>
              <a:gd name="T2" fmla="*/ 31 w 325"/>
              <a:gd name="T3" fmla="*/ 1 h 71"/>
              <a:gd name="T4" fmla="*/ 53 w 325"/>
              <a:gd name="T5" fmla="*/ 0 h 71"/>
              <a:gd name="T6" fmla="*/ 73 w 325"/>
              <a:gd name="T7" fmla="*/ 4 h 71"/>
              <a:gd name="T8" fmla="*/ 92 w 325"/>
              <a:gd name="T9" fmla="*/ 10 h 71"/>
              <a:gd name="T10" fmla="*/ 110 w 325"/>
              <a:gd name="T11" fmla="*/ 18 h 71"/>
              <a:gd name="T12" fmla="*/ 122 w 325"/>
              <a:gd name="T13" fmla="*/ 29 h 71"/>
              <a:gd name="T14" fmla="*/ 130 w 325"/>
              <a:gd name="T15" fmla="*/ 38 h 71"/>
              <a:gd name="T16" fmla="*/ 136 w 325"/>
              <a:gd name="T17" fmla="*/ 34 h 71"/>
              <a:gd name="T18" fmla="*/ 139 w 325"/>
              <a:gd name="T19" fmla="*/ 15 h 71"/>
              <a:gd name="T20" fmla="*/ 161 w 325"/>
              <a:gd name="T21" fmla="*/ 7 h 71"/>
              <a:gd name="T22" fmla="*/ 216 w 325"/>
              <a:gd name="T23" fmla="*/ 13 h 71"/>
              <a:gd name="T24" fmla="*/ 258 w 325"/>
              <a:gd name="T25" fmla="*/ 23 h 71"/>
              <a:gd name="T26" fmla="*/ 283 w 325"/>
              <a:gd name="T27" fmla="*/ 32 h 71"/>
              <a:gd name="T28" fmla="*/ 305 w 325"/>
              <a:gd name="T29" fmla="*/ 43 h 71"/>
              <a:gd name="T30" fmla="*/ 320 w 325"/>
              <a:gd name="T31" fmla="*/ 55 h 71"/>
              <a:gd name="T32" fmla="*/ 316 w 325"/>
              <a:gd name="T33" fmla="*/ 64 h 71"/>
              <a:gd name="T34" fmla="*/ 294 w 325"/>
              <a:gd name="T35" fmla="*/ 68 h 71"/>
              <a:gd name="T36" fmla="*/ 259 w 325"/>
              <a:gd name="T37" fmla="*/ 71 h 71"/>
              <a:gd name="T38" fmla="*/ 210 w 325"/>
              <a:gd name="T39" fmla="*/ 70 h 71"/>
              <a:gd name="T40" fmla="*/ 167 w 325"/>
              <a:gd name="T41" fmla="*/ 68 h 71"/>
              <a:gd name="T42" fmla="*/ 133 w 325"/>
              <a:gd name="T43" fmla="*/ 69 h 71"/>
              <a:gd name="T44" fmla="*/ 90 w 325"/>
              <a:gd name="T45" fmla="*/ 71 h 71"/>
              <a:gd name="T46" fmla="*/ 72 w 325"/>
              <a:gd name="T47" fmla="*/ 68 h 71"/>
              <a:gd name="T48" fmla="*/ 67 w 325"/>
              <a:gd name="T49" fmla="*/ 64 h 71"/>
              <a:gd name="T50" fmla="*/ 58 w 325"/>
              <a:gd name="T51" fmla="*/ 61 h 71"/>
              <a:gd name="T52" fmla="*/ 46 w 325"/>
              <a:gd name="T53" fmla="*/ 59 h 71"/>
              <a:gd name="T54" fmla="*/ 35 w 325"/>
              <a:gd name="T55" fmla="*/ 53 h 71"/>
              <a:gd name="T56" fmla="*/ 25 w 325"/>
              <a:gd name="T57" fmla="*/ 45 h 71"/>
              <a:gd name="T58" fmla="*/ 16 w 325"/>
              <a:gd name="T59" fmla="*/ 39 h 71"/>
              <a:gd name="T60" fmla="*/ 6 w 325"/>
              <a:gd name="T61" fmla="*/ 37 h 71"/>
              <a:gd name="T62" fmla="*/ 0 w 325"/>
              <a:gd name="T63" fmla="*/ 22 h 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5" name="Freeform 501">
            <a:extLst>
              <a:ext uri="{FF2B5EF4-FFF2-40B4-BE49-F238E27FC236}">
                <a16:creationId xmlns:a16="http://schemas.microsoft.com/office/drawing/2014/main" id="{4C3042F9-532A-485A-8DC9-470BD2C17DDE}"/>
              </a:ext>
            </a:extLst>
          </p:cNvPr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10222826" y="1675697"/>
            <a:ext cx="91669" cy="57150"/>
          </a:xfrm>
          <a:custGeom>
            <a:avLst/>
            <a:gdLst>
              <a:gd name="T0" fmla="*/ 87 w 220"/>
              <a:gd name="T1" fmla="*/ 25 h 72"/>
              <a:gd name="T2" fmla="*/ 92 w 220"/>
              <a:gd name="T3" fmla="*/ 26 h 72"/>
              <a:gd name="T4" fmla="*/ 98 w 220"/>
              <a:gd name="T5" fmla="*/ 27 h 72"/>
              <a:gd name="T6" fmla="*/ 101 w 220"/>
              <a:gd name="T7" fmla="*/ 28 h 72"/>
              <a:gd name="T8" fmla="*/ 104 w 220"/>
              <a:gd name="T9" fmla="*/ 27 h 72"/>
              <a:gd name="T10" fmla="*/ 109 w 220"/>
              <a:gd name="T11" fmla="*/ 27 h 72"/>
              <a:gd name="T12" fmla="*/ 113 w 220"/>
              <a:gd name="T13" fmla="*/ 25 h 72"/>
              <a:gd name="T14" fmla="*/ 114 w 220"/>
              <a:gd name="T15" fmla="*/ 26 h 72"/>
              <a:gd name="T16" fmla="*/ 115 w 220"/>
              <a:gd name="T17" fmla="*/ 26 h 72"/>
              <a:gd name="T18" fmla="*/ 116 w 220"/>
              <a:gd name="T19" fmla="*/ 25 h 72"/>
              <a:gd name="T20" fmla="*/ 117 w 220"/>
              <a:gd name="T21" fmla="*/ 25 h 72"/>
              <a:gd name="T22" fmla="*/ 119 w 220"/>
              <a:gd name="T23" fmla="*/ 22 h 72"/>
              <a:gd name="T24" fmla="*/ 120 w 220"/>
              <a:gd name="T25" fmla="*/ 17 h 72"/>
              <a:gd name="T26" fmla="*/ 120 w 220"/>
              <a:gd name="T27" fmla="*/ 7 h 72"/>
              <a:gd name="T28" fmla="*/ 120 w 220"/>
              <a:gd name="T29" fmla="*/ 0 h 72"/>
              <a:gd name="T30" fmla="*/ 125 w 220"/>
              <a:gd name="T31" fmla="*/ 5 h 72"/>
              <a:gd name="T32" fmla="*/ 131 w 220"/>
              <a:gd name="T33" fmla="*/ 10 h 72"/>
              <a:gd name="T34" fmla="*/ 137 w 220"/>
              <a:gd name="T35" fmla="*/ 15 h 72"/>
              <a:gd name="T36" fmla="*/ 143 w 220"/>
              <a:gd name="T37" fmla="*/ 19 h 72"/>
              <a:gd name="T38" fmla="*/ 156 w 220"/>
              <a:gd name="T39" fmla="*/ 25 h 72"/>
              <a:gd name="T40" fmla="*/ 170 w 220"/>
              <a:gd name="T41" fmla="*/ 30 h 72"/>
              <a:gd name="T42" fmla="*/ 183 w 220"/>
              <a:gd name="T43" fmla="*/ 35 h 72"/>
              <a:gd name="T44" fmla="*/ 196 w 220"/>
              <a:gd name="T45" fmla="*/ 41 h 72"/>
              <a:gd name="T46" fmla="*/ 203 w 220"/>
              <a:gd name="T47" fmla="*/ 44 h 72"/>
              <a:gd name="T48" fmla="*/ 209 w 220"/>
              <a:gd name="T49" fmla="*/ 47 h 72"/>
              <a:gd name="T50" fmla="*/ 214 w 220"/>
              <a:gd name="T51" fmla="*/ 51 h 72"/>
              <a:gd name="T52" fmla="*/ 220 w 220"/>
              <a:gd name="T53" fmla="*/ 55 h 72"/>
              <a:gd name="T54" fmla="*/ 206 w 220"/>
              <a:gd name="T55" fmla="*/ 56 h 72"/>
              <a:gd name="T56" fmla="*/ 194 w 220"/>
              <a:gd name="T57" fmla="*/ 57 h 72"/>
              <a:gd name="T58" fmla="*/ 182 w 220"/>
              <a:gd name="T59" fmla="*/ 58 h 72"/>
              <a:gd name="T60" fmla="*/ 171 w 220"/>
              <a:gd name="T61" fmla="*/ 60 h 72"/>
              <a:gd name="T62" fmla="*/ 151 w 220"/>
              <a:gd name="T63" fmla="*/ 65 h 72"/>
              <a:gd name="T64" fmla="*/ 134 w 220"/>
              <a:gd name="T65" fmla="*/ 70 h 72"/>
              <a:gd name="T66" fmla="*/ 126 w 220"/>
              <a:gd name="T67" fmla="*/ 71 h 72"/>
              <a:gd name="T68" fmla="*/ 117 w 220"/>
              <a:gd name="T69" fmla="*/ 72 h 72"/>
              <a:gd name="T70" fmla="*/ 110 w 220"/>
              <a:gd name="T71" fmla="*/ 72 h 72"/>
              <a:gd name="T72" fmla="*/ 103 w 220"/>
              <a:gd name="T73" fmla="*/ 72 h 72"/>
              <a:gd name="T74" fmla="*/ 95 w 220"/>
              <a:gd name="T75" fmla="*/ 70 h 72"/>
              <a:gd name="T76" fmla="*/ 88 w 220"/>
              <a:gd name="T77" fmla="*/ 66 h 72"/>
              <a:gd name="T78" fmla="*/ 81 w 220"/>
              <a:gd name="T79" fmla="*/ 61 h 72"/>
              <a:gd name="T80" fmla="*/ 74 w 220"/>
              <a:gd name="T81" fmla="*/ 55 h 72"/>
              <a:gd name="T82" fmla="*/ 59 w 220"/>
              <a:gd name="T83" fmla="*/ 53 h 72"/>
              <a:gd name="T84" fmla="*/ 45 w 220"/>
              <a:gd name="T85" fmla="*/ 50 h 72"/>
              <a:gd name="T86" fmla="*/ 33 w 220"/>
              <a:gd name="T87" fmla="*/ 47 h 72"/>
              <a:gd name="T88" fmla="*/ 22 w 220"/>
              <a:gd name="T89" fmla="*/ 43 h 72"/>
              <a:gd name="T90" fmla="*/ 18 w 220"/>
              <a:gd name="T91" fmla="*/ 41 h 72"/>
              <a:gd name="T92" fmla="*/ 13 w 220"/>
              <a:gd name="T93" fmla="*/ 38 h 72"/>
              <a:gd name="T94" fmla="*/ 9 w 220"/>
              <a:gd name="T95" fmla="*/ 35 h 72"/>
              <a:gd name="T96" fmla="*/ 7 w 220"/>
              <a:gd name="T97" fmla="*/ 31 h 72"/>
              <a:gd name="T98" fmla="*/ 3 w 220"/>
              <a:gd name="T99" fmla="*/ 27 h 72"/>
              <a:gd name="T100" fmla="*/ 2 w 220"/>
              <a:gd name="T101" fmla="*/ 23 h 72"/>
              <a:gd name="T102" fmla="*/ 1 w 220"/>
              <a:gd name="T103" fmla="*/ 18 h 72"/>
              <a:gd name="T104" fmla="*/ 0 w 220"/>
              <a:gd name="T105" fmla="*/ 13 h 72"/>
              <a:gd name="T106" fmla="*/ 23 w 220"/>
              <a:gd name="T107" fmla="*/ 17 h 72"/>
              <a:gd name="T108" fmla="*/ 44 w 220"/>
              <a:gd name="T109" fmla="*/ 21 h 72"/>
              <a:gd name="T110" fmla="*/ 64 w 220"/>
              <a:gd name="T111" fmla="*/ 24 h 72"/>
              <a:gd name="T112" fmla="*/ 87 w 220"/>
              <a:gd name="T113" fmla="*/ 25 h 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6" name="Freeform 502">
            <a:extLst>
              <a:ext uri="{FF2B5EF4-FFF2-40B4-BE49-F238E27FC236}">
                <a16:creationId xmlns:a16="http://schemas.microsoft.com/office/drawing/2014/main" id="{5F571C52-5177-4F9D-ABCA-7A212489BA5A}"/>
              </a:ext>
            </a:extLst>
          </p:cNvPr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10184630" y="1723323"/>
            <a:ext cx="61112" cy="58737"/>
          </a:xfrm>
          <a:custGeom>
            <a:avLst/>
            <a:gdLst>
              <a:gd name="T0" fmla="*/ 146 w 146"/>
              <a:gd name="T1" fmla="*/ 25 h 30"/>
              <a:gd name="T2" fmla="*/ 140 w 146"/>
              <a:gd name="T3" fmla="*/ 16 h 30"/>
              <a:gd name="T4" fmla="*/ 137 w 146"/>
              <a:gd name="T5" fmla="*/ 9 h 30"/>
              <a:gd name="T6" fmla="*/ 133 w 146"/>
              <a:gd name="T7" fmla="*/ 4 h 30"/>
              <a:gd name="T8" fmla="*/ 128 w 146"/>
              <a:gd name="T9" fmla="*/ 1 h 30"/>
              <a:gd name="T10" fmla="*/ 126 w 146"/>
              <a:gd name="T11" fmla="*/ 1 h 30"/>
              <a:gd name="T12" fmla="*/ 124 w 146"/>
              <a:gd name="T13" fmla="*/ 1 h 30"/>
              <a:gd name="T14" fmla="*/ 120 w 146"/>
              <a:gd name="T15" fmla="*/ 2 h 30"/>
              <a:gd name="T16" fmla="*/ 118 w 146"/>
              <a:gd name="T17" fmla="*/ 3 h 30"/>
              <a:gd name="T18" fmla="*/ 113 w 146"/>
              <a:gd name="T19" fmla="*/ 9 h 30"/>
              <a:gd name="T20" fmla="*/ 105 w 146"/>
              <a:gd name="T21" fmla="*/ 19 h 30"/>
              <a:gd name="T22" fmla="*/ 72 w 146"/>
              <a:gd name="T23" fmla="*/ 19 h 30"/>
              <a:gd name="T24" fmla="*/ 63 w 146"/>
              <a:gd name="T25" fmla="*/ 18 h 30"/>
              <a:gd name="T26" fmla="*/ 55 w 146"/>
              <a:gd name="T27" fmla="*/ 17 h 30"/>
              <a:gd name="T28" fmla="*/ 47 w 146"/>
              <a:gd name="T29" fmla="*/ 14 h 30"/>
              <a:gd name="T30" fmla="*/ 40 w 146"/>
              <a:gd name="T31" fmla="*/ 12 h 30"/>
              <a:gd name="T32" fmla="*/ 29 w 146"/>
              <a:gd name="T33" fmla="*/ 6 h 30"/>
              <a:gd name="T34" fmla="*/ 19 w 146"/>
              <a:gd name="T35" fmla="*/ 0 h 30"/>
              <a:gd name="T36" fmla="*/ 14 w 146"/>
              <a:gd name="T37" fmla="*/ 9 h 30"/>
              <a:gd name="T38" fmla="*/ 10 w 146"/>
              <a:gd name="T39" fmla="*/ 15 h 30"/>
              <a:gd name="T40" fmla="*/ 4 w 146"/>
              <a:gd name="T41" fmla="*/ 20 h 30"/>
              <a:gd name="T42" fmla="*/ 0 w 146"/>
              <a:gd name="T43" fmla="*/ 25 h 30"/>
              <a:gd name="T44" fmla="*/ 33 w 146"/>
              <a:gd name="T45" fmla="*/ 25 h 30"/>
              <a:gd name="T46" fmla="*/ 57 w 146"/>
              <a:gd name="T47" fmla="*/ 25 h 30"/>
              <a:gd name="T48" fmla="*/ 77 w 146"/>
              <a:gd name="T49" fmla="*/ 25 h 30"/>
              <a:gd name="T50" fmla="*/ 99 w 146"/>
              <a:gd name="T51" fmla="*/ 25 h 30"/>
              <a:gd name="T52" fmla="*/ 110 w 146"/>
              <a:gd name="T53" fmla="*/ 26 h 30"/>
              <a:gd name="T54" fmla="*/ 123 w 146"/>
              <a:gd name="T55" fmla="*/ 29 h 30"/>
              <a:gd name="T56" fmla="*/ 128 w 146"/>
              <a:gd name="T57" fmla="*/ 30 h 30"/>
              <a:gd name="T58" fmla="*/ 135 w 146"/>
              <a:gd name="T59" fmla="*/ 30 h 30"/>
              <a:gd name="T60" fmla="*/ 140 w 146"/>
              <a:gd name="T61" fmla="*/ 28 h 30"/>
              <a:gd name="T62" fmla="*/ 146 w 146"/>
              <a:gd name="T63" fmla="*/ 25 h 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</a:cxnLst>
            <a:rect l="0" t="0" r="r" b="b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7" name="Freeform 503">
            <a:extLst>
              <a:ext uri="{FF2B5EF4-FFF2-40B4-BE49-F238E27FC236}">
                <a16:creationId xmlns:a16="http://schemas.microsoft.com/office/drawing/2014/main" id="{8F1381A0-9600-42A8-BF54-DD0664164983}"/>
              </a:ext>
            </a:extLst>
          </p:cNvPr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10164770" y="1720148"/>
            <a:ext cx="19861" cy="58737"/>
          </a:xfrm>
          <a:custGeom>
            <a:avLst/>
            <a:gdLst>
              <a:gd name="T0" fmla="*/ 0 w 53"/>
              <a:gd name="T1" fmla="*/ 9 h 9"/>
              <a:gd name="T2" fmla="*/ 17 w 53"/>
              <a:gd name="T3" fmla="*/ 9 h 9"/>
              <a:gd name="T4" fmla="*/ 29 w 53"/>
              <a:gd name="T5" fmla="*/ 9 h 9"/>
              <a:gd name="T6" fmla="*/ 40 w 53"/>
              <a:gd name="T7" fmla="*/ 9 h 9"/>
              <a:gd name="T8" fmla="*/ 53 w 53"/>
              <a:gd name="T9" fmla="*/ 9 h 9"/>
              <a:gd name="T10" fmla="*/ 46 w 53"/>
              <a:gd name="T11" fmla="*/ 6 h 9"/>
              <a:gd name="T12" fmla="*/ 38 w 53"/>
              <a:gd name="T13" fmla="*/ 3 h 9"/>
              <a:gd name="T14" fmla="*/ 31 w 53"/>
              <a:gd name="T15" fmla="*/ 1 h 9"/>
              <a:gd name="T16" fmla="*/ 25 w 53"/>
              <a:gd name="T17" fmla="*/ 0 h 9"/>
              <a:gd name="T18" fmla="*/ 19 w 53"/>
              <a:gd name="T19" fmla="*/ 0 h 9"/>
              <a:gd name="T20" fmla="*/ 14 w 53"/>
              <a:gd name="T21" fmla="*/ 0 h 9"/>
              <a:gd name="T22" fmla="*/ 9 w 53"/>
              <a:gd name="T23" fmla="*/ 1 h 9"/>
              <a:gd name="T24" fmla="*/ 6 w 53"/>
              <a:gd name="T25" fmla="*/ 3 h 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8" name="Line 504">
            <a:extLst>
              <a:ext uri="{FF2B5EF4-FFF2-40B4-BE49-F238E27FC236}">
                <a16:creationId xmlns:a16="http://schemas.microsoft.com/office/drawing/2014/main" id="{1AAC761D-C8A6-4AF1-AF67-02C5F99D4E60}"/>
              </a:ext>
            </a:extLst>
          </p:cNvPr>
          <p:cNvSpPr>
            <a:spLocks noChangeShapeType="1"/>
          </p:cNvSpPr>
          <p:nvPr>
            <p:custDataLst>
              <p:tags r:id="rId336"/>
            </p:custDataLst>
          </p:nvPr>
        </p:nvSpPr>
        <p:spPr bwMode="auto">
          <a:xfrm flipV="1">
            <a:off x="10166297" y="1718559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499" name="Freeform 505">
            <a:extLst>
              <a:ext uri="{FF2B5EF4-FFF2-40B4-BE49-F238E27FC236}">
                <a16:creationId xmlns:a16="http://schemas.microsoft.com/office/drawing/2014/main" id="{71DC0F18-312C-443B-8C93-9E4BE669BB1B}"/>
              </a:ext>
            </a:extLst>
          </p:cNvPr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9367252" y="1647122"/>
            <a:ext cx="10694" cy="55562"/>
          </a:xfrm>
          <a:custGeom>
            <a:avLst/>
            <a:gdLst>
              <a:gd name="T0" fmla="*/ 0 w 26"/>
              <a:gd name="T1" fmla="*/ 25 h 25"/>
              <a:gd name="T2" fmla="*/ 5 w 26"/>
              <a:gd name="T3" fmla="*/ 17 h 25"/>
              <a:gd name="T4" fmla="*/ 13 w 26"/>
              <a:gd name="T5" fmla="*/ 8 h 25"/>
              <a:gd name="T6" fmla="*/ 16 w 26"/>
              <a:gd name="T7" fmla="*/ 5 h 25"/>
              <a:gd name="T8" fmla="*/ 20 w 26"/>
              <a:gd name="T9" fmla="*/ 2 h 25"/>
              <a:gd name="T10" fmla="*/ 23 w 26"/>
              <a:gd name="T11" fmla="*/ 1 h 25"/>
              <a:gd name="T12" fmla="*/ 26 w 26"/>
              <a:gd name="T13" fmla="*/ 0 h 25"/>
              <a:gd name="T14" fmla="*/ 26 w 26"/>
              <a:gd name="T15" fmla="*/ 25 h 25"/>
              <a:gd name="T16" fmla="*/ 20 w 26"/>
              <a:gd name="T17" fmla="*/ 25 h 25"/>
              <a:gd name="T18" fmla="*/ 13 w 26"/>
              <a:gd name="T19" fmla="*/ 25 h 25"/>
              <a:gd name="T20" fmla="*/ 0 w 26"/>
              <a:gd name="T21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0" name="Freeform 506">
            <a:extLst>
              <a:ext uri="{FF2B5EF4-FFF2-40B4-BE49-F238E27FC236}">
                <a16:creationId xmlns:a16="http://schemas.microsoft.com/office/drawing/2014/main" id="{8F19DA85-E9A1-4C69-AE70-61B1EFBF2F6B}"/>
              </a:ext>
            </a:extLst>
          </p:cNvPr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10088380" y="1718559"/>
            <a:ext cx="9167" cy="57150"/>
          </a:xfrm>
          <a:custGeom>
            <a:avLst/>
            <a:gdLst>
              <a:gd name="T0" fmla="*/ 33 w 33"/>
              <a:gd name="T1" fmla="*/ 25 h 25"/>
              <a:gd name="T2" fmla="*/ 33 w 33"/>
              <a:gd name="T3" fmla="*/ 12 h 25"/>
              <a:gd name="T4" fmla="*/ 33 w 33"/>
              <a:gd name="T5" fmla="*/ 0 h 25"/>
              <a:gd name="T6" fmla="*/ 0 w 33"/>
              <a:gd name="T7" fmla="*/ 0 h 25"/>
              <a:gd name="T8" fmla="*/ 9 w 33"/>
              <a:gd name="T9" fmla="*/ 9 h 25"/>
              <a:gd name="T10" fmla="*/ 16 w 33"/>
              <a:gd name="T11" fmla="*/ 17 h 25"/>
              <a:gd name="T12" fmla="*/ 20 w 33"/>
              <a:gd name="T13" fmla="*/ 20 h 25"/>
              <a:gd name="T14" fmla="*/ 24 w 33"/>
              <a:gd name="T15" fmla="*/ 23 h 25"/>
              <a:gd name="T16" fmla="*/ 28 w 33"/>
              <a:gd name="T17" fmla="*/ 24 h 25"/>
              <a:gd name="T18" fmla="*/ 33 w 33"/>
              <a:gd name="T19" fmla="*/ 25 h 2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1" name="Freeform 507">
            <a:extLst>
              <a:ext uri="{FF2B5EF4-FFF2-40B4-BE49-F238E27FC236}">
                <a16:creationId xmlns:a16="http://schemas.microsoft.com/office/drawing/2014/main" id="{019FD9E3-383F-4298-9956-B53404BD9DD5}"/>
              </a:ext>
            </a:extLst>
          </p:cNvPr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10044073" y="1682047"/>
            <a:ext cx="9167" cy="57150"/>
          </a:xfrm>
          <a:custGeom>
            <a:avLst/>
            <a:gdLst>
              <a:gd name="T0" fmla="*/ 0 w 20"/>
              <a:gd name="T1" fmla="*/ 0 h 18"/>
              <a:gd name="T2" fmla="*/ 13 w 20"/>
              <a:gd name="T3" fmla="*/ 18 h 18"/>
              <a:gd name="T4" fmla="*/ 16 w 20"/>
              <a:gd name="T5" fmla="*/ 11 h 18"/>
              <a:gd name="T6" fmla="*/ 20 w 20"/>
              <a:gd name="T7" fmla="*/ 0 h 18"/>
              <a:gd name="T8" fmla="*/ 0 w 20"/>
              <a:gd name="T9" fmla="*/ 0 h 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2" name="Freeform 508">
            <a:extLst>
              <a:ext uri="{FF2B5EF4-FFF2-40B4-BE49-F238E27FC236}">
                <a16:creationId xmlns:a16="http://schemas.microsoft.com/office/drawing/2014/main" id="{B674D619-F2CF-4A2E-9F57-44757CEAD068}"/>
              </a:ext>
            </a:extLst>
          </p:cNvPr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10525333" y="2251959"/>
            <a:ext cx="12222" cy="58738"/>
          </a:xfrm>
          <a:custGeom>
            <a:avLst/>
            <a:gdLst>
              <a:gd name="T0" fmla="*/ 0 w 33"/>
              <a:gd name="T1" fmla="*/ 31 h 31"/>
              <a:gd name="T2" fmla="*/ 0 w 33"/>
              <a:gd name="T3" fmla="*/ 0 h 31"/>
              <a:gd name="T4" fmla="*/ 9 w 33"/>
              <a:gd name="T5" fmla="*/ 0 h 31"/>
              <a:gd name="T6" fmla="*/ 16 w 33"/>
              <a:gd name="T7" fmla="*/ 0 h 31"/>
              <a:gd name="T8" fmla="*/ 24 w 33"/>
              <a:gd name="T9" fmla="*/ 0 h 31"/>
              <a:gd name="T10" fmla="*/ 33 w 33"/>
              <a:gd name="T11" fmla="*/ 0 h 31"/>
              <a:gd name="T12" fmla="*/ 30 w 33"/>
              <a:gd name="T13" fmla="*/ 2 h 31"/>
              <a:gd name="T14" fmla="*/ 29 w 33"/>
              <a:gd name="T15" fmla="*/ 5 h 31"/>
              <a:gd name="T16" fmla="*/ 28 w 33"/>
              <a:gd name="T17" fmla="*/ 9 h 31"/>
              <a:gd name="T18" fmla="*/ 28 w 33"/>
              <a:gd name="T19" fmla="*/ 13 h 31"/>
              <a:gd name="T20" fmla="*/ 28 w 33"/>
              <a:gd name="T21" fmla="*/ 17 h 31"/>
              <a:gd name="T22" fmla="*/ 29 w 33"/>
              <a:gd name="T23" fmla="*/ 21 h 31"/>
              <a:gd name="T24" fmla="*/ 30 w 33"/>
              <a:gd name="T25" fmla="*/ 26 h 31"/>
              <a:gd name="T26" fmla="*/ 33 w 33"/>
              <a:gd name="T27" fmla="*/ 31 h 31"/>
              <a:gd name="T28" fmla="*/ 0 w 33"/>
              <a:gd name="T29" fmla="*/ 31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3" name="Freeform 509">
            <a:extLst>
              <a:ext uri="{FF2B5EF4-FFF2-40B4-BE49-F238E27FC236}">
                <a16:creationId xmlns:a16="http://schemas.microsoft.com/office/drawing/2014/main" id="{6BDF2286-FB01-41D5-9029-EAB19768E217}"/>
              </a:ext>
            </a:extLst>
          </p:cNvPr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10807978" y="1774123"/>
            <a:ext cx="53474" cy="58737"/>
          </a:xfrm>
          <a:custGeom>
            <a:avLst/>
            <a:gdLst>
              <a:gd name="T0" fmla="*/ 3 w 129"/>
              <a:gd name="T1" fmla="*/ 44 h 56"/>
              <a:gd name="T2" fmla="*/ 1 w 129"/>
              <a:gd name="T3" fmla="*/ 42 h 56"/>
              <a:gd name="T4" fmla="*/ 1 w 129"/>
              <a:gd name="T5" fmla="*/ 40 h 56"/>
              <a:gd name="T6" fmla="*/ 0 w 129"/>
              <a:gd name="T7" fmla="*/ 37 h 56"/>
              <a:gd name="T8" fmla="*/ 1 w 129"/>
              <a:gd name="T9" fmla="*/ 33 h 56"/>
              <a:gd name="T10" fmla="*/ 2 w 129"/>
              <a:gd name="T11" fmla="*/ 25 h 56"/>
              <a:gd name="T12" fmla="*/ 3 w 129"/>
              <a:gd name="T13" fmla="*/ 18 h 56"/>
              <a:gd name="T14" fmla="*/ 9 w 129"/>
              <a:gd name="T15" fmla="*/ 13 h 56"/>
              <a:gd name="T16" fmla="*/ 16 w 129"/>
              <a:gd name="T17" fmla="*/ 9 h 56"/>
              <a:gd name="T18" fmla="*/ 21 w 129"/>
              <a:gd name="T19" fmla="*/ 6 h 56"/>
              <a:gd name="T20" fmla="*/ 27 w 129"/>
              <a:gd name="T21" fmla="*/ 5 h 56"/>
              <a:gd name="T22" fmla="*/ 39 w 129"/>
              <a:gd name="T23" fmla="*/ 3 h 56"/>
              <a:gd name="T24" fmla="*/ 57 w 129"/>
              <a:gd name="T25" fmla="*/ 0 h 56"/>
              <a:gd name="T26" fmla="*/ 60 w 129"/>
              <a:gd name="T27" fmla="*/ 5 h 56"/>
              <a:gd name="T28" fmla="*/ 64 w 129"/>
              <a:gd name="T29" fmla="*/ 8 h 56"/>
              <a:gd name="T30" fmla="*/ 69 w 129"/>
              <a:gd name="T31" fmla="*/ 11 h 56"/>
              <a:gd name="T32" fmla="*/ 73 w 129"/>
              <a:gd name="T33" fmla="*/ 14 h 56"/>
              <a:gd name="T34" fmla="*/ 83 w 129"/>
              <a:gd name="T35" fmla="*/ 18 h 56"/>
              <a:gd name="T36" fmla="*/ 93 w 129"/>
              <a:gd name="T37" fmla="*/ 21 h 56"/>
              <a:gd name="T38" fmla="*/ 103 w 129"/>
              <a:gd name="T39" fmla="*/ 25 h 56"/>
              <a:gd name="T40" fmla="*/ 113 w 129"/>
              <a:gd name="T41" fmla="*/ 29 h 56"/>
              <a:gd name="T42" fmla="*/ 117 w 129"/>
              <a:gd name="T43" fmla="*/ 32 h 56"/>
              <a:gd name="T44" fmla="*/ 121 w 129"/>
              <a:gd name="T45" fmla="*/ 35 h 56"/>
              <a:gd name="T46" fmla="*/ 126 w 129"/>
              <a:gd name="T47" fmla="*/ 38 h 56"/>
              <a:gd name="T48" fmla="*/ 129 w 129"/>
              <a:gd name="T49" fmla="*/ 44 h 56"/>
              <a:gd name="T50" fmla="*/ 119 w 129"/>
              <a:gd name="T51" fmla="*/ 48 h 56"/>
              <a:gd name="T52" fmla="*/ 109 w 129"/>
              <a:gd name="T53" fmla="*/ 51 h 56"/>
              <a:gd name="T54" fmla="*/ 99 w 129"/>
              <a:gd name="T55" fmla="*/ 53 h 56"/>
              <a:gd name="T56" fmla="*/ 90 w 129"/>
              <a:gd name="T57" fmla="*/ 54 h 56"/>
              <a:gd name="T58" fmla="*/ 70 w 129"/>
              <a:gd name="T59" fmla="*/ 56 h 56"/>
              <a:gd name="T60" fmla="*/ 49 w 129"/>
              <a:gd name="T61" fmla="*/ 56 h 56"/>
              <a:gd name="T62" fmla="*/ 40 w 129"/>
              <a:gd name="T63" fmla="*/ 55 h 56"/>
              <a:gd name="T64" fmla="*/ 31 w 129"/>
              <a:gd name="T65" fmla="*/ 54 h 56"/>
              <a:gd name="T66" fmla="*/ 23 w 129"/>
              <a:gd name="T67" fmla="*/ 52 h 56"/>
              <a:gd name="T68" fmla="*/ 16 w 129"/>
              <a:gd name="T69" fmla="*/ 50 h 56"/>
              <a:gd name="T70" fmla="*/ 6 w 129"/>
              <a:gd name="T71" fmla="*/ 46 h 56"/>
              <a:gd name="T72" fmla="*/ 3 w 129"/>
              <a:gd name="T73" fmla="*/ 44 h 5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</a:cxnLst>
            <a:rect l="0" t="0" r="r" b="b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4" name="Freeform 510">
            <a:extLst>
              <a:ext uri="{FF2B5EF4-FFF2-40B4-BE49-F238E27FC236}">
                <a16:creationId xmlns:a16="http://schemas.microsoft.com/office/drawing/2014/main" id="{A5E2A9BC-7621-4D34-9095-CCD48770463B}"/>
              </a:ext>
            </a:extLst>
          </p:cNvPr>
          <p:cNvSpPr>
            <a:spLocks/>
          </p:cNvSpPr>
          <p:nvPr>
            <p:custDataLst>
              <p:tags r:id="rId342"/>
            </p:custDataLst>
          </p:nvPr>
        </p:nvSpPr>
        <p:spPr bwMode="auto">
          <a:xfrm>
            <a:off x="10939369" y="2126547"/>
            <a:ext cx="13751" cy="57150"/>
          </a:xfrm>
          <a:custGeom>
            <a:avLst/>
            <a:gdLst>
              <a:gd name="T0" fmla="*/ 21 w 41"/>
              <a:gd name="T1" fmla="*/ 42 h 42"/>
              <a:gd name="T2" fmla="*/ 0 w 41"/>
              <a:gd name="T3" fmla="*/ 30 h 42"/>
              <a:gd name="T4" fmla="*/ 0 w 41"/>
              <a:gd name="T5" fmla="*/ 6 h 42"/>
              <a:gd name="T6" fmla="*/ 7 w 41"/>
              <a:gd name="T7" fmla="*/ 5 h 42"/>
              <a:gd name="T8" fmla="*/ 14 w 41"/>
              <a:gd name="T9" fmla="*/ 3 h 42"/>
              <a:gd name="T10" fmla="*/ 24 w 41"/>
              <a:gd name="T11" fmla="*/ 1 h 42"/>
              <a:gd name="T12" fmla="*/ 34 w 41"/>
              <a:gd name="T13" fmla="*/ 0 h 42"/>
              <a:gd name="T14" fmla="*/ 34 w 41"/>
              <a:gd name="T15" fmla="*/ 18 h 42"/>
              <a:gd name="T16" fmla="*/ 41 w 41"/>
              <a:gd name="T17" fmla="*/ 18 h 42"/>
              <a:gd name="T18" fmla="*/ 21 w 41"/>
              <a:gd name="T19" fmla="*/ 42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</a:cxnLst>
            <a:rect l="0" t="0" r="r" b="b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5" name="Freeform 511">
            <a:extLst>
              <a:ext uri="{FF2B5EF4-FFF2-40B4-BE49-F238E27FC236}">
                <a16:creationId xmlns:a16="http://schemas.microsoft.com/office/drawing/2014/main" id="{4B7F9FEE-E7F6-40B8-AA3E-491DFA2090AC}"/>
              </a:ext>
            </a:extLst>
          </p:cNvPr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11082985" y="2239260"/>
            <a:ext cx="41251" cy="60325"/>
          </a:xfrm>
          <a:custGeom>
            <a:avLst/>
            <a:gdLst>
              <a:gd name="T0" fmla="*/ 60 w 93"/>
              <a:gd name="T1" fmla="*/ 9 h 39"/>
              <a:gd name="T2" fmla="*/ 67 w 93"/>
              <a:gd name="T3" fmla="*/ 18 h 39"/>
              <a:gd name="T4" fmla="*/ 77 w 93"/>
              <a:gd name="T5" fmla="*/ 28 h 39"/>
              <a:gd name="T6" fmla="*/ 81 w 93"/>
              <a:gd name="T7" fmla="*/ 33 h 39"/>
              <a:gd name="T8" fmla="*/ 86 w 93"/>
              <a:gd name="T9" fmla="*/ 36 h 39"/>
              <a:gd name="T10" fmla="*/ 90 w 93"/>
              <a:gd name="T11" fmla="*/ 38 h 39"/>
              <a:gd name="T12" fmla="*/ 93 w 93"/>
              <a:gd name="T13" fmla="*/ 39 h 39"/>
              <a:gd name="T14" fmla="*/ 60 w 93"/>
              <a:gd name="T15" fmla="*/ 39 h 39"/>
              <a:gd name="T16" fmla="*/ 50 w 93"/>
              <a:gd name="T17" fmla="*/ 36 h 39"/>
              <a:gd name="T18" fmla="*/ 43 w 93"/>
              <a:gd name="T19" fmla="*/ 32 h 39"/>
              <a:gd name="T20" fmla="*/ 36 w 93"/>
              <a:gd name="T21" fmla="*/ 28 h 39"/>
              <a:gd name="T22" fmla="*/ 30 w 93"/>
              <a:gd name="T23" fmla="*/ 23 h 39"/>
              <a:gd name="T24" fmla="*/ 24 w 93"/>
              <a:gd name="T25" fmla="*/ 18 h 39"/>
              <a:gd name="T26" fmla="*/ 16 w 93"/>
              <a:gd name="T27" fmla="*/ 13 h 39"/>
              <a:gd name="T28" fmla="*/ 9 w 93"/>
              <a:gd name="T29" fmla="*/ 7 h 39"/>
              <a:gd name="T30" fmla="*/ 0 w 93"/>
              <a:gd name="T31" fmla="*/ 3 h 39"/>
              <a:gd name="T32" fmla="*/ 11 w 93"/>
              <a:gd name="T33" fmla="*/ 1 h 39"/>
              <a:gd name="T34" fmla="*/ 20 w 93"/>
              <a:gd name="T35" fmla="*/ 0 h 39"/>
              <a:gd name="T36" fmla="*/ 26 w 93"/>
              <a:gd name="T37" fmla="*/ 0 h 39"/>
              <a:gd name="T38" fmla="*/ 33 w 93"/>
              <a:gd name="T39" fmla="*/ 1 h 39"/>
              <a:gd name="T40" fmla="*/ 44 w 93"/>
              <a:gd name="T41" fmla="*/ 4 h 39"/>
              <a:gd name="T42" fmla="*/ 60 w 93"/>
              <a:gd name="T43" fmla="*/ 9 h 3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</a:cxnLst>
            <a:rect l="0" t="0" r="r" b="b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6" name="Freeform 512">
            <a:extLst>
              <a:ext uri="{FF2B5EF4-FFF2-40B4-BE49-F238E27FC236}">
                <a16:creationId xmlns:a16="http://schemas.microsoft.com/office/drawing/2014/main" id="{BD38468A-5C8F-413E-AFE5-BACD3293826F}"/>
              </a:ext>
            </a:extLst>
          </p:cNvPr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11131874" y="2255134"/>
            <a:ext cx="18334" cy="58738"/>
          </a:xfrm>
          <a:custGeom>
            <a:avLst/>
            <a:gdLst>
              <a:gd name="T0" fmla="*/ 39 w 39"/>
              <a:gd name="T1" fmla="*/ 19 h 19"/>
              <a:gd name="T2" fmla="*/ 13 w 39"/>
              <a:gd name="T3" fmla="*/ 19 h 19"/>
              <a:gd name="T4" fmla="*/ 8 w 39"/>
              <a:gd name="T5" fmla="*/ 19 h 19"/>
              <a:gd name="T6" fmla="*/ 5 w 39"/>
              <a:gd name="T7" fmla="*/ 17 h 19"/>
              <a:gd name="T8" fmla="*/ 3 w 39"/>
              <a:gd name="T9" fmla="*/ 14 h 19"/>
              <a:gd name="T10" fmla="*/ 2 w 39"/>
              <a:gd name="T11" fmla="*/ 11 h 19"/>
              <a:gd name="T12" fmla="*/ 0 w 39"/>
              <a:gd name="T13" fmla="*/ 5 h 19"/>
              <a:gd name="T14" fmla="*/ 0 w 39"/>
              <a:gd name="T15" fmla="*/ 0 h 19"/>
              <a:gd name="T16" fmla="*/ 13 w 39"/>
              <a:gd name="T17" fmla="*/ 4 h 19"/>
              <a:gd name="T18" fmla="*/ 22 w 39"/>
              <a:gd name="T19" fmla="*/ 9 h 19"/>
              <a:gd name="T20" fmla="*/ 30 w 39"/>
              <a:gd name="T21" fmla="*/ 14 h 19"/>
              <a:gd name="T22" fmla="*/ 39 w 39"/>
              <a:gd name="T23" fmla="*/ 19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7" name="Freeform 513">
            <a:extLst>
              <a:ext uri="{FF2B5EF4-FFF2-40B4-BE49-F238E27FC236}">
                <a16:creationId xmlns:a16="http://schemas.microsoft.com/office/drawing/2014/main" id="{CE670DA5-79DC-4DC0-807A-29C96C688EFE}"/>
              </a:ext>
            </a:extLst>
          </p:cNvPr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11002011" y="2382134"/>
            <a:ext cx="13750" cy="57150"/>
          </a:xfrm>
          <a:custGeom>
            <a:avLst/>
            <a:gdLst>
              <a:gd name="T0" fmla="*/ 0 w 26"/>
              <a:gd name="T1" fmla="*/ 36 h 36"/>
              <a:gd name="T2" fmla="*/ 3 w 26"/>
              <a:gd name="T3" fmla="*/ 31 h 36"/>
              <a:gd name="T4" fmla="*/ 10 w 26"/>
              <a:gd name="T5" fmla="*/ 20 h 36"/>
              <a:gd name="T6" fmla="*/ 18 w 26"/>
              <a:gd name="T7" fmla="*/ 8 h 36"/>
              <a:gd name="T8" fmla="*/ 26 w 26"/>
              <a:gd name="T9" fmla="*/ 0 h 36"/>
              <a:gd name="T10" fmla="*/ 26 w 26"/>
              <a:gd name="T11" fmla="*/ 9 h 36"/>
              <a:gd name="T12" fmla="*/ 26 w 26"/>
              <a:gd name="T13" fmla="*/ 18 h 36"/>
              <a:gd name="T14" fmla="*/ 25 w 26"/>
              <a:gd name="T15" fmla="*/ 22 h 36"/>
              <a:gd name="T16" fmla="*/ 24 w 26"/>
              <a:gd name="T17" fmla="*/ 26 h 36"/>
              <a:gd name="T18" fmla="*/ 21 w 26"/>
              <a:gd name="T19" fmla="*/ 29 h 36"/>
              <a:gd name="T20" fmla="*/ 17 w 26"/>
              <a:gd name="T21" fmla="*/ 32 h 36"/>
              <a:gd name="T22" fmla="*/ 14 w 26"/>
              <a:gd name="T23" fmla="*/ 34 h 36"/>
              <a:gd name="T24" fmla="*/ 10 w 26"/>
              <a:gd name="T25" fmla="*/ 35 h 36"/>
              <a:gd name="T26" fmla="*/ 4 w 26"/>
              <a:gd name="T27" fmla="*/ 36 h 36"/>
              <a:gd name="T28" fmla="*/ 0 w 26"/>
              <a:gd name="T29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8" name="Freeform 514">
            <a:extLst>
              <a:ext uri="{FF2B5EF4-FFF2-40B4-BE49-F238E27FC236}">
                <a16:creationId xmlns:a16="http://schemas.microsoft.com/office/drawing/2014/main" id="{38BE167B-854C-4596-93D4-B08233677CB9}"/>
              </a:ext>
            </a:extLst>
          </p:cNvPr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11012705" y="2410710"/>
            <a:ext cx="3056" cy="60325"/>
          </a:xfrm>
          <a:custGeom>
            <a:avLst/>
            <a:gdLst>
              <a:gd name="T0" fmla="*/ 0 w 6"/>
              <a:gd name="T1" fmla="*/ 37 h 37"/>
              <a:gd name="T2" fmla="*/ 0 w 6"/>
              <a:gd name="T3" fmla="*/ 0 h 37"/>
              <a:gd name="T4" fmla="*/ 6 w 6"/>
              <a:gd name="T5" fmla="*/ 0 h 37"/>
              <a:gd name="T6" fmla="*/ 6 w 6"/>
              <a:gd name="T7" fmla="*/ 31 h 37"/>
              <a:gd name="T8" fmla="*/ 0 w 6"/>
              <a:gd name="T9" fmla="*/ 37 h 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09" name="Freeform 515">
            <a:extLst>
              <a:ext uri="{FF2B5EF4-FFF2-40B4-BE49-F238E27FC236}">
                <a16:creationId xmlns:a16="http://schemas.microsoft.com/office/drawing/2014/main" id="{2E820CD7-67A0-449E-A66C-71ACFFB80BC4}"/>
              </a:ext>
            </a:extLst>
          </p:cNvPr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11000483" y="2493260"/>
            <a:ext cx="9167" cy="55563"/>
          </a:xfrm>
          <a:custGeom>
            <a:avLst/>
            <a:gdLst>
              <a:gd name="T0" fmla="*/ 0 w 20"/>
              <a:gd name="T1" fmla="*/ 31 h 43"/>
              <a:gd name="T2" fmla="*/ 0 w 20"/>
              <a:gd name="T3" fmla="*/ 25 h 43"/>
              <a:gd name="T4" fmla="*/ 0 w 20"/>
              <a:gd name="T5" fmla="*/ 18 h 43"/>
              <a:gd name="T6" fmla="*/ 2 w 20"/>
              <a:gd name="T7" fmla="*/ 9 h 43"/>
              <a:gd name="T8" fmla="*/ 7 w 20"/>
              <a:gd name="T9" fmla="*/ 0 h 43"/>
              <a:gd name="T10" fmla="*/ 11 w 20"/>
              <a:gd name="T11" fmla="*/ 7 h 43"/>
              <a:gd name="T12" fmla="*/ 16 w 20"/>
              <a:gd name="T13" fmla="*/ 12 h 43"/>
              <a:gd name="T14" fmla="*/ 17 w 20"/>
              <a:gd name="T15" fmla="*/ 14 h 43"/>
              <a:gd name="T16" fmla="*/ 19 w 20"/>
              <a:gd name="T17" fmla="*/ 18 h 43"/>
              <a:gd name="T18" fmla="*/ 19 w 20"/>
              <a:gd name="T19" fmla="*/ 21 h 43"/>
              <a:gd name="T20" fmla="*/ 20 w 20"/>
              <a:gd name="T21" fmla="*/ 25 h 43"/>
              <a:gd name="T22" fmla="*/ 19 w 20"/>
              <a:gd name="T23" fmla="*/ 27 h 43"/>
              <a:gd name="T24" fmla="*/ 18 w 20"/>
              <a:gd name="T25" fmla="*/ 30 h 43"/>
              <a:gd name="T26" fmla="*/ 16 w 20"/>
              <a:gd name="T27" fmla="*/ 33 h 43"/>
              <a:gd name="T28" fmla="*/ 12 w 20"/>
              <a:gd name="T29" fmla="*/ 36 h 43"/>
              <a:gd name="T30" fmla="*/ 9 w 20"/>
              <a:gd name="T31" fmla="*/ 39 h 43"/>
              <a:gd name="T32" fmla="*/ 6 w 20"/>
              <a:gd name="T33" fmla="*/ 41 h 43"/>
              <a:gd name="T34" fmla="*/ 2 w 20"/>
              <a:gd name="T35" fmla="*/ 42 h 43"/>
              <a:gd name="T36" fmla="*/ 0 w 20"/>
              <a:gd name="T37" fmla="*/ 43 h 43"/>
              <a:gd name="T38" fmla="*/ 0 w 20"/>
              <a:gd name="T39" fmla="*/ 31 h 4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0" name="Freeform 516">
            <a:extLst>
              <a:ext uri="{FF2B5EF4-FFF2-40B4-BE49-F238E27FC236}">
                <a16:creationId xmlns:a16="http://schemas.microsoft.com/office/drawing/2014/main" id="{98639B31-ACD7-4944-9893-4786ABA01185}"/>
              </a:ext>
            </a:extLst>
          </p:cNvPr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10979092" y="2528184"/>
            <a:ext cx="0" cy="58738"/>
          </a:xfrm>
          <a:custGeom>
            <a:avLst/>
            <a:gdLst>
              <a:gd name="T0" fmla="*/ 30 h 30"/>
              <a:gd name="T1" fmla="*/ 25 h 30"/>
              <a:gd name="T2" fmla="*/ 18 h 30"/>
              <a:gd name="T3" fmla="*/ 9 h 30"/>
              <a:gd name="T4" fmla="*/ 0 h 30"/>
            </a:gdLst>
            <a:ahLst/>
            <a:cxnLst>
              <a:cxn ang="0">
                <a:pos x="0" y="T0"/>
              </a:cxn>
              <a:cxn ang="0">
                <a:pos x="0" y="T1"/>
              </a:cxn>
              <a:cxn ang="0">
                <a:pos x="0" y="T2"/>
              </a:cxn>
              <a:cxn ang="0">
                <a:pos x="0" y="T3"/>
              </a:cxn>
              <a:cxn ang="0">
                <a:pos x="0" y="T4"/>
              </a:cxn>
            </a:cxnLst>
            <a:rect l="0" t="0" r="r" b="b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1" name="Freeform 517">
            <a:extLst>
              <a:ext uri="{FF2B5EF4-FFF2-40B4-BE49-F238E27FC236}">
                <a16:creationId xmlns:a16="http://schemas.microsoft.com/office/drawing/2014/main" id="{5F79E64E-455D-4A60-87F5-26A4C67111D8}"/>
              </a:ext>
            </a:extLst>
          </p:cNvPr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10979092" y="2528184"/>
            <a:ext cx="7640" cy="58738"/>
          </a:xfrm>
          <a:custGeom>
            <a:avLst/>
            <a:gdLst>
              <a:gd name="T0" fmla="*/ 0 w 20"/>
              <a:gd name="T1" fmla="*/ 0 h 24"/>
              <a:gd name="T2" fmla="*/ 20 w 20"/>
              <a:gd name="T3" fmla="*/ 0 h 24"/>
              <a:gd name="T4" fmla="*/ 0 w 20"/>
              <a:gd name="T5" fmla="*/ 24 h 2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</a:cxnLst>
            <a:rect l="0" t="0" r="r" b="b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2" name="Freeform 518">
            <a:extLst>
              <a:ext uri="{FF2B5EF4-FFF2-40B4-BE49-F238E27FC236}">
                <a16:creationId xmlns:a16="http://schemas.microsoft.com/office/drawing/2014/main" id="{0709D0AB-455F-4C47-88AC-2852E2A840FC}"/>
              </a:ext>
            </a:extLst>
          </p:cNvPr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10742282" y="2115435"/>
            <a:ext cx="16805" cy="60325"/>
          </a:xfrm>
          <a:custGeom>
            <a:avLst/>
            <a:gdLst>
              <a:gd name="T0" fmla="*/ 0 w 46"/>
              <a:gd name="T1" fmla="*/ 0 h 19"/>
              <a:gd name="T2" fmla="*/ 9 w 46"/>
              <a:gd name="T3" fmla="*/ 3 h 19"/>
              <a:gd name="T4" fmla="*/ 14 w 46"/>
              <a:gd name="T5" fmla="*/ 5 h 19"/>
              <a:gd name="T6" fmla="*/ 19 w 46"/>
              <a:gd name="T7" fmla="*/ 8 h 19"/>
              <a:gd name="T8" fmla="*/ 23 w 46"/>
              <a:gd name="T9" fmla="*/ 10 h 19"/>
              <a:gd name="T10" fmla="*/ 26 w 46"/>
              <a:gd name="T11" fmla="*/ 12 h 19"/>
              <a:gd name="T12" fmla="*/ 32 w 46"/>
              <a:gd name="T13" fmla="*/ 14 h 19"/>
              <a:gd name="T14" fmla="*/ 37 w 46"/>
              <a:gd name="T15" fmla="*/ 17 h 19"/>
              <a:gd name="T16" fmla="*/ 46 w 46"/>
              <a:gd name="T17" fmla="*/ 19 h 19"/>
              <a:gd name="T18" fmla="*/ 33 w 46"/>
              <a:gd name="T19" fmla="*/ 19 h 19"/>
              <a:gd name="T20" fmla="*/ 24 w 46"/>
              <a:gd name="T21" fmla="*/ 19 h 19"/>
              <a:gd name="T22" fmla="*/ 18 w 46"/>
              <a:gd name="T23" fmla="*/ 18 h 19"/>
              <a:gd name="T24" fmla="*/ 13 w 46"/>
              <a:gd name="T25" fmla="*/ 17 h 19"/>
              <a:gd name="T26" fmla="*/ 10 w 46"/>
              <a:gd name="T27" fmla="*/ 14 h 19"/>
              <a:gd name="T28" fmla="*/ 7 w 46"/>
              <a:gd name="T29" fmla="*/ 11 h 19"/>
              <a:gd name="T30" fmla="*/ 4 w 46"/>
              <a:gd name="T31" fmla="*/ 7 h 19"/>
              <a:gd name="T32" fmla="*/ 0 w 46"/>
              <a:gd name="T33" fmla="*/ 0 h 1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</a:cxnLst>
            <a:rect l="0" t="0" r="r" b="b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3" name="Freeform 519">
            <a:extLst>
              <a:ext uri="{FF2B5EF4-FFF2-40B4-BE49-F238E27FC236}">
                <a16:creationId xmlns:a16="http://schemas.microsoft.com/office/drawing/2014/main" id="{1F1D8BEE-E833-483A-ADEC-F6C720B6E349}"/>
              </a:ext>
            </a:extLst>
          </p:cNvPr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8158753" y="2255134"/>
            <a:ext cx="45834" cy="58738"/>
          </a:xfrm>
          <a:custGeom>
            <a:avLst/>
            <a:gdLst>
              <a:gd name="T0" fmla="*/ 33 w 100"/>
              <a:gd name="T1" fmla="*/ 0 h 55"/>
              <a:gd name="T2" fmla="*/ 100 w 100"/>
              <a:gd name="T3" fmla="*/ 12 h 55"/>
              <a:gd name="T4" fmla="*/ 100 w 100"/>
              <a:gd name="T5" fmla="*/ 55 h 55"/>
              <a:gd name="T6" fmla="*/ 13 w 100"/>
              <a:gd name="T7" fmla="*/ 55 h 55"/>
              <a:gd name="T8" fmla="*/ 0 w 100"/>
              <a:gd name="T9" fmla="*/ 43 h 55"/>
              <a:gd name="T10" fmla="*/ 1 w 100"/>
              <a:gd name="T11" fmla="*/ 38 h 55"/>
              <a:gd name="T12" fmla="*/ 4 w 100"/>
              <a:gd name="T13" fmla="*/ 32 h 55"/>
              <a:gd name="T14" fmla="*/ 10 w 100"/>
              <a:gd name="T15" fmla="*/ 25 h 55"/>
              <a:gd name="T16" fmla="*/ 16 w 100"/>
              <a:gd name="T17" fmla="*/ 18 h 55"/>
              <a:gd name="T18" fmla="*/ 27 w 100"/>
              <a:gd name="T19" fmla="*/ 5 h 55"/>
              <a:gd name="T20" fmla="*/ 33 w 100"/>
              <a:gd name="T21" fmla="*/ 0 h 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</a:cxnLst>
            <a:rect l="0" t="0" r="r" b="b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4" name="Freeform 520">
            <a:extLst>
              <a:ext uri="{FF2B5EF4-FFF2-40B4-BE49-F238E27FC236}">
                <a16:creationId xmlns:a16="http://schemas.microsoft.com/office/drawing/2014/main" id="{81B65866-895A-4022-A145-A2E36DFE8FB5}"/>
              </a:ext>
            </a:extLst>
          </p:cNvPr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8591123" y="1847148"/>
            <a:ext cx="41250" cy="58737"/>
          </a:xfrm>
          <a:custGeom>
            <a:avLst/>
            <a:gdLst>
              <a:gd name="T0" fmla="*/ 53 w 99"/>
              <a:gd name="T1" fmla="*/ 2 h 51"/>
              <a:gd name="T2" fmla="*/ 58 w 99"/>
              <a:gd name="T3" fmla="*/ 1 h 51"/>
              <a:gd name="T4" fmla="*/ 62 w 99"/>
              <a:gd name="T5" fmla="*/ 0 h 51"/>
              <a:gd name="T6" fmla="*/ 65 w 99"/>
              <a:gd name="T7" fmla="*/ 0 h 51"/>
              <a:gd name="T8" fmla="*/ 69 w 99"/>
              <a:gd name="T9" fmla="*/ 1 h 51"/>
              <a:gd name="T10" fmla="*/ 74 w 99"/>
              <a:gd name="T11" fmla="*/ 5 h 51"/>
              <a:gd name="T12" fmla="*/ 79 w 99"/>
              <a:gd name="T13" fmla="*/ 11 h 51"/>
              <a:gd name="T14" fmla="*/ 83 w 99"/>
              <a:gd name="T15" fmla="*/ 18 h 51"/>
              <a:gd name="T16" fmla="*/ 87 w 99"/>
              <a:gd name="T17" fmla="*/ 25 h 51"/>
              <a:gd name="T18" fmla="*/ 91 w 99"/>
              <a:gd name="T19" fmla="*/ 28 h 51"/>
              <a:gd name="T20" fmla="*/ 93 w 99"/>
              <a:gd name="T21" fmla="*/ 30 h 51"/>
              <a:gd name="T22" fmla="*/ 96 w 99"/>
              <a:gd name="T23" fmla="*/ 32 h 51"/>
              <a:gd name="T24" fmla="*/ 99 w 99"/>
              <a:gd name="T25" fmla="*/ 34 h 51"/>
              <a:gd name="T26" fmla="*/ 99 w 99"/>
              <a:gd name="T27" fmla="*/ 37 h 51"/>
              <a:gd name="T28" fmla="*/ 97 w 99"/>
              <a:gd name="T29" fmla="*/ 40 h 51"/>
              <a:gd name="T30" fmla="*/ 95 w 99"/>
              <a:gd name="T31" fmla="*/ 43 h 51"/>
              <a:gd name="T32" fmla="*/ 91 w 99"/>
              <a:gd name="T33" fmla="*/ 45 h 51"/>
              <a:gd name="T34" fmla="*/ 86 w 99"/>
              <a:gd name="T35" fmla="*/ 47 h 51"/>
              <a:gd name="T36" fmla="*/ 81 w 99"/>
              <a:gd name="T37" fmla="*/ 48 h 51"/>
              <a:gd name="T38" fmla="*/ 74 w 99"/>
              <a:gd name="T39" fmla="*/ 50 h 51"/>
              <a:gd name="T40" fmla="*/ 68 w 99"/>
              <a:gd name="T41" fmla="*/ 50 h 51"/>
              <a:gd name="T42" fmla="*/ 52 w 99"/>
              <a:gd name="T43" fmla="*/ 51 h 51"/>
              <a:gd name="T44" fmla="*/ 36 w 99"/>
              <a:gd name="T45" fmla="*/ 49 h 51"/>
              <a:gd name="T46" fmla="*/ 27 w 99"/>
              <a:gd name="T47" fmla="*/ 48 h 51"/>
              <a:gd name="T48" fmla="*/ 18 w 99"/>
              <a:gd name="T49" fmla="*/ 45 h 51"/>
              <a:gd name="T50" fmla="*/ 9 w 99"/>
              <a:gd name="T51" fmla="*/ 43 h 51"/>
              <a:gd name="T52" fmla="*/ 1 w 99"/>
              <a:gd name="T53" fmla="*/ 40 h 51"/>
              <a:gd name="T54" fmla="*/ 0 w 99"/>
              <a:gd name="T55" fmla="*/ 39 h 51"/>
              <a:gd name="T56" fmla="*/ 1 w 99"/>
              <a:gd name="T57" fmla="*/ 37 h 51"/>
              <a:gd name="T58" fmla="*/ 3 w 99"/>
              <a:gd name="T59" fmla="*/ 35 h 51"/>
              <a:gd name="T60" fmla="*/ 6 w 99"/>
              <a:gd name="T61" fmla="*/ 33 h 51"/>
              <a:gd name="T62" fmla="*/ 14 w 99"/>
              <a:gd name="T63" fmla="*/ 29 h 51"/>
              <a:gd name="T64" fmla="*/ 25 w 99"/>
              <a:gd name="T65" fmla="*/ 24 h 51"/>
              <a:gd name="T66" fmla="*/ 35 w 99"/>
              <a:gd name="T67" fmla="*/ 19 h 51"/>
              <a:gd name="T68" fmla="*/ 45 w 99"/>
              <a:gd name="T69" fmla="*/ 12 h 51"/>
              <a:gd name="T70" fmla="*/ 48 w 99"/>
              <a:gd name="T71" fmla="*/ 10 h 51"/>
              <a:gd name="T72" fmla="*/ 51 w 99"/>
              <a:gd name="T73" fmla="*/ 7 h 51"/>
              <a:gd name="T74" fmla="*/ 52 w 99"/>
              <a:gd name="T75" fmla="*/ 5 h 51"/>
              <a:gd name="T76" fmla="*/ 53 w 99"/>
              <a:gd name="T77" fmla="*/ 2 h 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5" name="Freeform 521">
            <a:extLst>
              <a:ext uri="{FF2B5EF4-FFF2-40B4-BE49-F238E27FC236}">
                <a16:creationId xmlns:a16="http://schemas.microsoft.com/office/drawing/2014/main" id="{927BC00D-E54B-4D92-9529-F86AB28809DB}"/>
              </a:ext>
            </a:extLst>
          </p:cNvPr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8624735" y="1659822"/>
            <a:ext cx="220005" cy="163512"/>
          </a:xfrm>
          <a:custGeom>
            <a:avLst/>
            <a:gdLst>
              <a:gd name="T0" fmla="*/ 315 w 525"/>
              <a:gd name="T1" fmla="*/ 27 h 311"/>
              <a:gd name="T2" fmla="*/ 342 w 525"/>
              <a:gd name="T3" fmla="*/ 21 h 311"/>
              <a:gd name="T4" fmla="*/ 385 w 525"/>
              <a:gd name="T5" fmla="*/ 20 h 311"/>
              <a:gd name="T6" fmla="*/ 408 w 525"/>
              <a:gd name="T7" fmla="*/ 17 h 311"/>
              <a:gd name="T8" fmla="*/ 427 w 525"/>
              <a:gd name="T9" fmla="*/ 7 h 311"/>
              <a:gd name="T10" fmla="*/ 514 w 525"/>
              <a:gd name="T11" fmla="*/ 6 h 311"/>
              <a:gd name="T12" fmla="*/ 525 w 525"/>
              <a:gd name="T13" fmla="*/ 19 h 311"/>
              <a:gd name="T14" fmla="*/ 468 w 525"/>
              <a:gd name="T15" fmla="*/ 47 h 311"/>
              <a:gd name="T16" fmla="*/ 392 w 525"/>
              <a:gd name="T17" fmla="*/ 73 h 311"/>
              <a:gd name="T18" fmla="*/ 356 w 525"/>
              <a:gd name="T19" fmla="*/ 80 h 311"/>
              <a:gd name="T20" fmla="*/ 321 w 525"/>
              <a:gd name="T21" fmla="*/ 83 h 311"/>
              <a:gd name="T22" fmla="*/ 279 w 525"/>
              <a:gd name="T23" fmla="*/ 101 h 311"/>
              <a:gd name="T24" fmla="*/ 244 w 525"/>
              <a:gd name="T25" fmla="*/ 121 h 311"/>
              <a:gd name="T26" fmla="*/ 218 w 525"/>
              <a:gd name="T27" fmla="*/ 129 h 311"/>
              <a:gd name="T28" fmla="*/ 187 w 525"/>
              <a:gd name="T29" fmla="*/ 123 h 311"/>
              <a:gd name="T30" fmla="*/ 178 w 525"/>
              <a:gd name="T31" fmla="*/ 137 h 311"/>
              <a:gd name="T32" fmla="*/ 175 w 525"/>
              <a:gd name="T33" fmla="*/ 145 h 311"/>
              <a:gd name="T34" fmla="*/ 185 w 525"/>
              <a:gd name="T35" fmla="*/ 148 h 311"/>
              <a:gd name="T36" fmla="*/ 184 w 525"/>
              <a:gd name="T37" fmla="*/ 157 h 311"/>
              <a:gd name="T38" fmla="*/ 176 w 525"/>
              <a:gd name="T39" fmla="*/ 167 h 311"/>
              <a:gd name="T40" fmla="*/ 180 w 525"/>
              <a:gd name="T41" fmla="*/ 179 h 311"/>
              <a:gd name="T42" fmla="*/ 162 w 525"/>
              <a:gd name="T43" fmla="*/ 194 h 311"/>
              <a:gd name="T44" fmla="*/ 144 w 525"/>
              <a:gd name="T45" fmla="*/ 204 h 311"/>
              <a:gd name="T46" fmla="*/ 141 w 525"/>
              <a:gd name="T47" fmla="*/ 213 h 311"/>
              <a:gd name="T48" fmla="*/ 144 w 525"/>
              <a:gd name="T49" fmla="*/ 228 h 311"/>
              <a:gd name="T50" fmla="*/ 163 w 525"/>
              <a:gd name="T51" fmla="*/ 247 h 311"/>
              <a:gd name="T52" fmla="*/ 191 w 525"/>
              <a:gd name="T53" fmla="*/ 267 h 311"/>
              <a:gd name="T54" fmla="*/ 256 w 525"/>
              <a:gd name="T55" fmla="*/ 300 h 311"/>
              <a:gd name="T56" fmla="*/ 243 w 525"/>
              <a:gd name="T57" fmla="*/ 311 h 311"/>
              <a:gd name="T58" fmla="*/ 189 w 525"/>
              <a:gd name="T59" fmla="*/ 309 h 311"/>
              <a:gd name="T60" fmla="*/ 145 w 525"/>
              <a:gd name="T61" fmla="*/ 308 h 311"/>
              <a:gd name="T62" fmla="*/ 129 w 525"/>
              <a:gd name="T63" fmla="*/ 304 h 311"/>
              <a:gd name="T64" fmla="*/ 123 w 525"/>
              <a:gd name="T65" fmla="*/ 298 h 311"/>
              <a:gd name="T66" fmla="*/ 120 w 525"/>
              <a:gd name="T67" fmla="*/ 282 h 311"/>
              <a:gd name="T68" fmla="*/ 116 w 525"/>
              <a:gd name="T69" fmla="*/ 278 h 311"/>
              <a:gd name="T70" fmla="*/ 95 w 525"/>
              <a:gd name="T71" fmla="*/ 277 h 311"/>
              <a:gd name="T72" fmla="*/ 80 w 525"/>
              <a:gd name="T73" fmla="*/ 296 h 311"/>
              <a:gd name="T74" fmla="*/ 44 w 525"/>
              <a:gd name="T75" fmla="*/ 282 h 311"/>
              <a:gd name="T76" fmla="*/ 0 w 525"/>
              <a:gd name="T77" fmla="*/ 246 h 311"/>
              <a:gd name="T78" fmla="*/ 18 w 525"/>
              <a:gd name="T79" fmla="*/ 239 h 311"/>
              <a:gd name="T80" fmla="*/ 34 w 525"/>
              <a:gd name="T81" fmla="*/ 222 h 311"/>
              <a:gd name="T82" fmla="*/ 28 w 525"/>
              <a:gd name="T83" fmla="*/ 213 h 311"/>
              <a:gd name="T84" fmla="*/ 34 w 525"/>
              <a:gd name="T85" fmla="*/ 200 h 311"/>
              <a:gd name="T86" fmla="*/ 40 w 525"/>
              <a:gd name="T87" fmla="*/ 188 h 311"/>
              <a:gd name="T88" fmla="*/ 34 w 525"/>
              <a:gd name="T89" fmla="*/ 179 h 311"/>
              <a:gd name="T90" fmla="*/ 134 w 525"/>
              <a:gd name="T91" fmla="*/ 179 h 311"/>
              <a:gd name="T92" fmla="*/ 131 w 525"/>
              <a:gd name="T93" fmla="*/ 177 h 311"/>
              <a:gd name="T94" fmla="*/ 90 w 525"/>
              <a:gd name="T95" fmla="*/ 166 h 311"/>
              <a:gd name="T96" fmla="*/ 54 w 525"/>
              <a:gd name="T97" fmla="*/ 148 h 311"/>
              <a:gd name="T98" fmla="*/ 84 w 525"/>
              <a:gd name="T99" fmla="*/ 134 h 311"/>
              <a:gd name="T100" fmla="*/ 120 w 525"/>
              <a:gd name="T101" fmla="*/ 111 h 311"/>
              <a:gd name="T102" fmla="*/ 111 w 525"/>
              <a:gd name="T103" fmla="*/ 103 h 311"/>
              <a:gd name="T104" fmla="*/ 100 w 525"/>
              <a:gd name="T105" fmla="*/ 80 h 311"/>
              <a:gd name="T106" fmla="*/ 127 w 525"/>
              <a:gd name="T107" fmla="*/ 76 h 311"/>
              <a:gd name="T108" fmla="*/ 184 w 525"/>
              <a:gd name="T109" fmla="*/ 58 h 311"/>
              <a:gd name="T110" fmla="*/ 254 w 525"/>
              <a:gd name="T111" fmla="*/ 35 h 3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6" name="Freeform 522">
            <a:extLst>
              <a:ext uri="{FF2B5EF4-FFF2-40B4-BE49-F238E27FC236}">
                <a16:creationId xmlns:a16="http://schemas.microsoft.com/office/drawing/2014/main" id="{213BAA9A-61D2-4784-9C82-50D5D4ED1E96}"/>
              </a:ext>
            </a:extLst>
          </p:cNvPr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8424592" y="1970972"/>
            <a:ext cx="30556" cy="55562"/>
          </a:xfrm>
          <a:custGeom>
            <a:avLst/>
            <a:gdLst>
              <a:gd name="T0" fmla="*/ 46 w 79"/>
              <a:gd name="T1" fmla="*/ 0 h 38"/>
              <a:gd name="T2" fmla="*/ 54 w 79"/>
              <a:gd name="T3" fmla="*/ 1 h 38"/>
              <a:gd name="T4" fmla="*/ 62 w 79"/>
              <a:gd name="T5" fmla="*/ 3 h 38"/>
              <a:gd name="T6" fmla="*/ 68 w 79"/>
              <a:gd name="T7" fmla="*/ 7 h 38"/>
              <a:gd name="T8" fmla="*/ 72 w 79"/>
              <a:gd name="T9" fmla="*/ 12 h 38"/>
              <a:gd name="T10" fmla="*/ 75 w 79"/>
              <a:gd name="T11" fmla="*/ 17 h 38"/>
              <a:gd name="T12" fmla="*/ 77 w 79"/>
              <a:gd name="T13" fmla="*/ 22 h 38"/>
              <a:gd name="T14" fmla="*/ 79 w 79"/>
              <a:gd name="T15" fmla="*/ 27 h 38"/>
              <a:gd name="T16" fmla="*/ 79 w 79"/>
              <a:gd name="T17" fmla="*/ 32 h 38"/>
              <a:gd name="T18" fmla="*/ 77 w 79"/>
              <a:gd name="T19" fmla="*/ 34 h 38"/>
              <a:gd name="T20" fmla="*/ 75 w 79"/>
              <a:gd name="T21" fmla="*/ 35 h 38"/>
              <a:gd name="T22" fmla="*/ 72 w 79"/>
              <a:gd name="T23" fmla="*/ 36 h 38"/>
              <a:gd name="T24" fmla="*/ 68 w 79"/>
              <a:gd name="T25" fmla="*/ 37 h 38"/>
              <a:gd name="T26" fmla="*/ 57 w 79"/>
              <a:gd name="T27" fmla="*/ 38 h 38"/>
              <a:gd name="T28" fmla="*/ 46 w 79"/>
              <a:gd name="T29" fmla="*/ 38 h 38"/>
              <a:gd name="T30" fmla="*/ 38 w 79"/>
              <a:gd name="T31" fmla="*/ 37 h 38"/>
              <a:gd name="T32" fmla="*/ 30 w 79"/>
              <a:gd name="T33" fmla="*/ 36 h 38"/>
              <a:gd name="T34" fmla="*/ 21 w 79"/>
              <a:gd name="T35" fmla="*/ 35 h 38"/>
              <a:gd name="T36" fmla="*/ 15 w 79"/>
              <a:gd name="T37" fmla="*/ 32 h 38"/>
              <a:gd name="T38" fmla="*/ 8 w 79"/>
              <a:gd name="T39" fmla="*/ 29 h 38"/>
              <a:gd name="T40" fmla="*/ 4 w 79"/>
              <a:gd name="T41" fmla="*/ 25 h 38"/>
              <a:gd name="T42" fmla="*/ 2 w 79"/>
              <a:gd name="T43" fmla="*/ 22 h 38"/>
              <a:gd name="T44" fmla="*/ 1 w 79"/>
              <a:gd name="T45" fmla="*/ 20 h 38"/>
              <a:gd name="T46" fmla="*/ 0 w 79"/>
              <a:gd name="T47" fmla="*/ 17 h 38"/>
              <a:gd name="T48" fmla="*/ 0 w 79"/>
              <a:gd name="T49" fmla="*/ 13 h 38"/>
              <a:gd name="T50" fmla="*/ 1 w 79"/>
              <a:gd name="T51" fmla="*/ 11 h 38"/>
              <a:gd name="T52" fmla="*/ 4 w 79"/>
              <a:gd name="T53" fmla="*/ 9 h 38"/>
              <a:gd name="T54" fmla="*/ 10 w 79"/>
              <a:gd name="T55" fmla="*/ 6 h 38"/>
              <a:gd name="T56" fmla="*/ 17 w 79"/>
              <a:gd name="T57" fmla="*/ 4 h 38"/>
              <a:gd name="T58" fmla="*/ 32 w 79"/>
              <a:gd name="T59" fmla="*/ 1 h 38"/>
              <a:gd name="T60" fmla="*/ 46 w 79"/>
              <a:gd name="T61" fmla="*/ 0 h 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17" name="Freeform 523">
            <a:extLst>
              <a:ext uri="{FF2B5EF4-FFF2-40B4-BE49-F238E27FC236}">
                <a16:creationId xmlns:a16="http://schemas.microsoft.com/office/drawing/2014/main" id="{D1E3D63D-57A4-4B75-91CF-35821541FB67}"/>
              </a:ext>
            </a:extLst>
          </p:cNvPr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10642974" y="2267834"/>
            <a:ext cx="189449" cy="268288"/>
          </a:xfrm>
          <a:custGeom>
            <a:avLst/>
            <a:gdLst>
              <a:gd name="T0" fmla="*/ 26 w 459"/>
              <a:gd name="T1" fmla="*/ 45 h 511"/>
              <a:gd name="T2" fmla="*/ 12 w 459"/>
              <a:gd name="T3" fmla="*/ 25 h 511"/>
              <a:gd name="T4" fmla="*/ 0 w 459"/>
              <a:gd name="T5" fmla="*/ 0 h 511"/>
              <a:gd name="T6" fmla="*/ 22 w 459"/>
              <a:gd name="T7" fmla="*/ 7 h 511"/>
              <a:gd name="T8" fmla="*/ 33 w 459"/>
              <a:gd name="T9" fmla="*/ 6 h 511"/>
              <a:gd name="T10" fmla="*/ 95 w 459"/>
              <a:gd name="T11" fmla="*/ 67 h 511"/>
              <a:gd name="T12" fmla="*/ 146 w 459"/>
              <a:gd name="T13" fmla="*/ 123 h 511"/>
              <a:gd name="T14" fmla="*/ 216 w 459"/>
              <a:gd name="T15" fmla="*/ 198 h 511"/>
              <a:gd name="T16" fmla="*/ 258 w 459"/>
              <a:gd name="T17" fmla="*/ 237 h 511"/>
              <a:gd name="T18" fmla="*/ 303 w 459"/>
              <a:gd name="T19" fmla="*/ 266 h 511"/>
              <a:gd name="T20" fmla="*/ 372 w 459"/>
              <a:gd name="T21" fmla="*/ 311 h 511"/>
              <a:gd name="T22" fmla="*/ 398 w 459"/>
              <a:gd name="T23" fmla="*/ 336 h 511"/>
              <a:gd name="T24" fmla="*/ 365 w 459"/>
              <a:gd name="T25" fmla="*/ 320 h 511"/>
              <a:gd name="T26" fmla="*/ 324 w 459"/>
              <a:gd name="T27" fmla="*/ 296 h 511"/>
              <a:gd name="T28" fmla="*/ 314 w 459"/>
              <a:gd name="T29" fmla="*/ 298 h 511"/>
              <a:gd name="T30" fmla="*/ 313 w 459"/>
              <a:gd name="T31" fmla="*/ 311 h 511"/>
              <a:gd name="T32" fmla="*/ 317 w 459"/>
              <a:gd name="T33" fmla="*/ 337 h 511"/>
              <a:gd name="T34" fmla="*/ 326 w 459"/>
              <a:gd name="T35" fmla="*/ 358 h 511"/>
              <a:gd name="T36" fmla="*/ 348 w 459"/>
              <a:gd name="T37" fmla="*/ 387 h 511"/>
              <a:gd name="T38" fmla="*/ 394 w 459"/>
              <a:gd name="T39" fmla="*/ 421 h 511"/>
              <a:gd name="T40" fmla="*/ 440 w 459"/>
              <a:gd name="T41" fmla="*/ 458 h 511"/>
              <a:gd name="T42" fmla="*/ 448 w 459"/>
              <a:gd name="T43" fmla="*/ 476 h 511"/>
              <a:gd name="T44" fmla="*/ 428 w 459"/>
              <a:gd name="T45" fmla="*/ 469 h 511"/>
              <a:gd name="T46" fmla="*/ 392 w 459"/>
              <a:gd name="T47" fmla="*/ 462 h 511"/>
              <a:gd name="T48" fmla="*/ 393 w 459"/>
              <a:gd name="T49" fmla="*/ 494 h 511"/>
              <a:gd name="T50" fmla="*/ 398 w 459"/>
              <a:gd name="T51" fmla="*/ 511 h 511"/>
              <a:gd name="T52" fmla="*/ 388 w 459"/>
              <a:gd name="T53" fmla="*/ 492 h 511"/>
              <a:gd name="T54" fmla="*/ 363 w 459"/>
              <a:gd name="T55" fmla="*/ 466 h 511"/>
              <a:gd name="T56" fmla="*/ 343 w 459"/>
              <a:gd name="T57" fmla="*/ 445 h 511"/>
              <a:gd name="T58" fmla="*/ 339 w 459"/>
              <a:gd name="T59" fmla="*/ 431 h 511"/>
              <a:gd name="T60" fmla="*/ 328 w 459"/>
              <a:gd name="T61" fmla="*/ 411 h 511"/>
              <a:gd name="T62" fmla="*/ 310 w 459"/>
              <a:gd name="T63" fmla="*/ 384 h 511"/>
              <a:gd name="T64" fmla="*/ 298 w 459"/>
              <a:gd name="T65" fmla="*/ 367 h 511"/>
              <a:gd name="T66" fmla="*/ 280 w 459"/>
              <a:gd name="T67" fmla="*/ 358 h 511"/>
              <a:gd name="T68" fmla="*/ 264 w 459"/>
              <a:gd name="T69" fmla="*/ 343 h 511"/>
              <a:gd name="T70" fmla="*/ 249 w 459"/>
              <a:gd name="T71" fmla="*/ 314 h 511"/>
              <a:gd name="T72" fmla="*/ 245 w 459"/>
              <a:gd name="T73" fmla="*/ 293 h 511"/>
              <a:gd name="T74" fmla="*/ 234 w 459"/>
              <a:gd name="T75" fmla="*/ 281 h 511"/>
              <a:gd name="T76" fmla="*/ 194 w 459"/>
              <a:gd name="T77" fmla="*/ 244 h 511"/>
              <a:gd name="T78" fmla="*/ 171 w 459"/>
              <a:gd name="T79" fmla="*/ 220 h 511"/>
              <a:gd name="T80" fmla="*/ 163 w 459"/>
              <a:gd name="T81" fmla="*/ 203 h 511"/>
              <a:gd name="T82" fmla="*/ 154 w 459"/>
              <a:gd name="T83" fmla="*/ 187 h 511"/>
              <a:gd name="T84" fmla="*/ 115 w 459"/>
              <a:gd name="T85" fmla="*/ 155 h 511"/>
              <a:gd name="T86" fmla="*/ 70 w 459"/>
              <a:gd name="T87" fmla="*/ 130 h 511"/>
              <a:gd name="T88" fmla="*/ 47 w 459"/>
              <a:gd name="T89" fmla="*/ 110 h 511"/>
              <a:gd name="T90" fmla="*/ 38 w 459"/>
              <a:gd name="T91" fmla="*/ 93 h 511"/>
              <a:gd name="T92" fmla="*/ 34 w 459"/>
              <a:gd name="T93" fmla="*/ 75 h 5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grpSp>
        <p:nvGrpSpPr>
          <p:cNvPr id="518" name="Group 524">
            <a:extLst>
              <a:ext uri="{FF2B5EF4-FFF2-40B4-BE49-F238E27FC236}">
                <a16:creationId xmlns:a16="http://schemas.microsoft.com/office/drawing/2014/main" id="{57C385FF-2493-4065-9847-152B5D5E295E}"/>
              </a:ext>
            </a:extLst>
          </p:cNvPr>
          <p:cNvGrpSpPr>
            <a:grpSpLocks/>
          </p:cNvGrpSpPr>
          <p:nvPr>
            <p:custDataLst>
              <p:tags r:id="rId356"/>
            </p:custDataLst>
          </p:nvPr>
        </p:nvGrpSpPr>
        <p:grpSpPr bwMode="auto">
          <a:xfrm>
            <a:off x="9478782" y="2223385"/>
            <a:ext cx="646265" cy="384175"/>
            <a:chOff x="4115" y="1551"/>
            <a:chExt cx="504" cy="244"/>
          </a:xfrm>
        </p:grpSpPr>
        <p:sp>
          <p:nvSpPr>
            <p:cNvPr id="519" name="Freeform 525">
              <a:extLst>
                <a:ext uri="{FF2B5EF4-FFF2-40B4-BE49-F238E27FC236}">
                  <a16:creationId xmlns:a16="http://schemas.microsoft.com/office/drawing/2014/main" id="{15149CF1-123D-4F3E-BE8D-6AE4F9DF9224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13 w 240"/>
                <a:gd name="T1" fmla="*/ 247 h 259"/>
                <a:gd name="T2" fmla="*/ 79 w 240"/>
                <a:gd name="T3" fmla="*/ 259 h 259"/>
                <a:gd name="T4" fmla="*/ 120 w 240"/>
                <a:gd name="T5" fmla="*/ 240 h 259"/>
                <a:gd name="T6" fmla="*/ 133 w 240"/>
                <a:gd name="T7" fmla="*/ 210 h 259"/>
                <a:gd name="T8" fmla="*/ 192 w 240"/>
                <a:gd name="T9" fmla="*/ 161 h 259"/>
                <a:gd name="T10" fmla="*/ 212 w 240"/>
                <a:gd name="T11" fmla="*/ 111 h 259"/>
                <a:gd name="T12" fmla="*/ 240 w 240"/>
                <a:gd name="T13" fmla="*/ 26 h 259"/>
                <a:gd name="T14" fmla="*/ 212 w 240"/>
                <a:gd name="T15" fmla="*/ 0 h 259"/>
                <a:gd name="T16" fmla="*/ 206 w 240"/>
                <a:gd name="T17" fmla="*/ 32 h 259"/>
                <a:gd name="T18" fmla="*/ 199 w 240"/>
                <a:gd name="T19" fmla="*/ 74 h 259"/>
                <a:gd name="T20" fmla="*/ 166 w 240"/>
                <a:gd name="T21" fmla="*/ 105 h 259"/>
                <a:gd name="T22" fmla="*/ 133 w 240"/>
                <a:gd name="T23" fmla="*/ 149 h 259"/>
                <a:gd name="T24" fmla="*/ 113 w 240"/>
                <a:gd name="T25" fmla="*/ 179 h 259"/>
                <a:gd name="T26" fmla="*/ 93 w 240"/>
                <a:gd name="T27" fmla="*/ 216 h 259"/>
                <a:gd name="T28" fmla="*/ 20 w 240"/>
                <a:gd name="T29" fmla="*/ 222 h 259"/>
                <a:gd name="T30" fmla="*/ 0 w 240"/>
                <a:gd name="T31" fmla="*/ 222 h 259"/>
                <a:gd name="T32" fmla="*/ 13 w 240"/>
                <a:gd name="T33" fmla="*/ 247 h 2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520" name="Freeform 526">
              <a:extLst>
                <a:ext uri="{FF2B5EF4-FFF2-40B4-BE49-F238E27FC236}">
                  <a16:creationId xmlns:a16="http://schemas.microsoft.com/office/drawing/2014/main" id="{62BDCBB6-364C-4F90-A117-C6BB4D550DF8}"/>
                </a:ext>
              </a:extLst>
            </p:cNvPr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33 w 259"/>
                <a:gd name="T1" fmla="*/ 104 h 104"/>
                <a:gd name="T2" fmla="*/ 26 w 259"/>
                <a:gd name="T3" fmla="*/ 86 h 104"/>
                <a:gd name="T4" fmla="*/ 52 w 259"/>
                <a:gd name="T5" fmla="*/ 62 h 104"/>
                <a:gd name="T6" fmla="*/ 72 w 259"/>
                <a:gd name="T7" fmla="*/ 49 h 104"/>
                <a:gd name="T8" fmla="*/ 126 w 259"/>
                <a:gd name="T9" fmla="*/ 43 h 104"/>
                <a:gd name="T10" fmla="*/ 172 w 259"/>
                <a:gd name="T11" fmla="*/ 43 h 104"/>
                <a:gd name="T12" fmla="*/ 246 w 259"/>
                <a:gd name="T13" fmla="*/ 31 h 104"/>
                <a:gd name="T14" fmla="*/ 259 w 259"/>
                <a:gd name="T15" fmla="*/ 7 h 104"/>
                <a:gd name="T16" fmla="*/ 246 w 259"/>
                <a:gd name="T17" fmla="*/ 0 h 104"/>
                <a:gd name="T18" fmla="*/ 205 w 259"/>
                <a:gd name="T19" fmla="*/ 13 h 104"/>
                <a:gd name="T20" fmla="*/ 152 w 259"/>
                <a:gd name="T21" fmla="*/ 7 h 104"/>
                <a:gd name="T22" fmla="*/ 106 w 259"/>
                <a:gd name="T23" fmla="*/ 13 h 104"/>
                <a:gd name="T24" fmla="*/ 52 w 259"/>
                <a:gd name="T25" fmla="*/ 19 h 104"/>
                <a:gd name="T26" fmla="*/ 26 w 259"/>
                <a:gd name="T27" fmla="*/ 43 h 104"/>
                <a:gd name="T28" fmla="*/ 0 w 259"/>
                <a:gd name="T29" fmla="*/ 68 h 104"/>
                <a:gd name="T30" fmla="*/ 0 w 259"/>
                <a:gd name="T31" fmla="*/ 104 h 104"/>
                <a:gd name="T32" fmla="*/ 33 w 259"/>
                <a:gd name="T33" fmla="*/ 104 h 1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21" name="Freeform 527">
            <a:extLst>
              <a:ext uri="{FF2B5EF4-FFF2-40B4-BE49-F238E27FC236}">
                <a16:creationId xmlns:a16="http://schemas.microsoft.com/office/drawing/2014/main" id="{A5917556-164E-4109-A02B-58952008DE17}"/>
              </a:ext>
            </a:extLst>
          </p:cNvPr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8571262" y="2972685"/>
            <a:ext cx="510289" cy="511175"/>
          </a:xfrm>
          <a:custGeom>
            <a:avLst/>
            <a:gdLst>
              <a:gd name="T0" fmla="*/ 932 w 1227"/>
              <a:gd name="T1" fmla="*/ 466 h 979"/>
              <a:gd name="T2" fmla="*/ 932 w 1227"/>
              <a:gd name="T3" fmla="*/ 442 h 979"/>
              <a:gd name="T4" fmla="*/ 930 w 1227"/>
              <a:gd name="T5" fmla="*/ 412 h 979"/>
              <a:gd name="T6" fmla="*/ 908 w 1227"/>
              <a:gd name="T7" fmla="*/ 385 h 979"/>
              <a:gd name="T8" fmla="*/ 899 w 1227"/>
              <a:gd name="T9" fmla="*/ 367 h 979"/>
              <a:gd name="T10" fmla="*/ 817 w 1227"/>
              <a:gd name="T11" fmla="*/ 312 h 979"/>
              <a:gd name="T12" fmla="*/ 759 w 1227"/>
              <a:gd name="T13" fmla="*/ 263 h 979"/>
              <a:gd name="T14" fmla="*/ 752 w 1227"/>
              <a:gd name="T15" fmla="*/ 229 h 979"/>
              <a:gd name="T16" fmla="*/ 726 w 1227"/>
              <a:gd name="T17" fmla="*/ 218 h 979"/>
              <a:gd name="T18" fmla="*/ 695 w 1227"/>
              <a:gd name="T19" fmla="*/ 207 h 979"/>
              <a:gd name="T20" fmla="*/ 638 w 1227"/>
              <a:gd name="T21" fmla="*/ 196 h 979"/>
              <a:gd name="T22" fmla="*/ 596 w 1227"/>
              <a:gd name="T23" fmla="*/ 201 h 979"/>
              <a:gd name="T24" fmla="*/ 570 w 1227"/>
              <a:gd name="T25" fmla="*/ 204 h 979"/>
              <a:gd name="T26" fmla="*/ 530 w 1227"/>
              <a:gd name="T27" fmla="*/ 195 h 979"/>
              <a:gd name="T28" fmla="*/ 505 w 1227"/>
              <a:gd name="T29" fmla="*/ 179 h 979"/>
              <a:gd name="T30" fmla="*/ 483 w 1227"/>
              <a:gd name="T31" fmla="*/ 128 h 979"/>
              <a:gd name="T32" fmla="*/ 465 w 1227"/>
              <a:gd name="T33" fmla="*/ 103 h 979"/>
              <a:gd name="T34" fmla="*/ 432 w 1227"/>
              <a:gd name="T35" fmla="*/ 81 h 979"/>
              <a:gd name="T36" fmla="*/ 365 w 1227"/>
              <a:gd name="T37" fmla="*/ 61 h 979"/>
              <a:gd name="T38" fmla="*/ 303 w 1227"/>
              <a:gd name="T39" fmla="*/ 32 h 979"/>
              <a:gd name="T40" fmla="*/ 214 w 1227"/>
              <a:gd name="T41" fmla="*/ 10 h 979"/>
              <a:gd name="T42" fmla="*/ 166 w 1227"/>
              <a:gd name="T43" fmla="*/ 38 h 979"/>
              <a:gd name="T44" fmla="*/ 151 w 1227"/>
              <a:gd name="T45" fmla="*/ 61 h 979"/>
              <a:gd name="T46" fmla="*/ 153 w 1227"/>
              <a:gd name="T47" fmla="*/ 90 h 979"/>
              <a:gd name="T48" fmla="*/ 169 w 1227"/>
              <a:gd name="T49" fmla="*/ 118 h 979"/>
              <a:gd name="T50" fmla="*/ 151 w 1227"/>
              <a:gd name="T51" fmla="*/ 150 h 979"/>
              <a:gd name="T52" fmla="*/ 95 w 1227"/>
              <a:gd name="T53" fmla="*/ 186 h 979"/>
              <a:gd name="T54" fmla="*/ 54 w 1227"/>
              <a:gd name="T55" fmla="*/ 190 h 979"/>
              <a:gd name="T56" fmla="*/ 9 w 1227"/>
              <a:gd name="T57" fmla="*/ 183 h 979"/>
              <a:gd name="T58" fmla="*/ 0 w 1227"/>
              <a:gd name="T59" fmla="*/ 236 h 979"/>
              <a:gd name="T60" fmla="*/ 9 w 1227"/>
              <a:gd name="T61" fmla="*/ 269 h 979"/>
              <a:gd name="T62" fmla="*/ 25 w 1227"/>
              <a:gd name="T63" fmla="*/ 282 h 979"/>
              <a:gd name="T64" fmla="*/ 40 w 1227"/>
              <a:gd name="T65" fmla="*/ 307 h 979"/>
              <a:gd name="T66" fmla="*/ 83 w 1227"/>
              <a:gd name="T67" fmla="*/ 364 h 979"/>
              <a:gd name="T68" fmla="*/ 102 w 1227"/>
              <a:gd name="T69" fmla="*/ 414 h 979"/>
              <a:gd name="T70" fmla="*/ 121 w 1227"/>
              <a:gd name="T71" fmla="*/ 427 h 979"/>
              <a:gd name="T72" fmla="*/ 133 w 1227"/>
              <a:gd name="T73" fmla="*/ 438 h 979"/>
              <a:gd name="T74" fmla="*/ 148 w 1227"/>
              <a:gd name="T75" fmla="*/ 469 h 979"/>
              <a:gd name="T76" fmla="*/ 224 w 1227"/>
              <a:gd name="T77" fmla="*/ 546 h 979"/>
              <a:gd name="T78" fmla="*/ 249 w 1227"/>
              <a:gd name="T79" fmla="*/ 585 h 979"/>
              <a:gd name="T80" fmla="*/ 256 w 1227"/>
              <a:gd name="T81" fmla="*/ 624 h 979"/>
              <a:gd name="T82" fmla="*/ 266 w 1227"/>
              <a:gd name="T83" fmla="*/ 659 h 979"/>
              <a:gd name="T84" fmla="*/ 299 w 1227"/>
              <a:gd name="T85" fmla="*/ 701 h 979"/>
              <a:gd name="T86" fmla="*/ 361 w 1227"/>
              <a:gd name="T87" fmla="*/ 761 h 979"/>
              <a:gd name="T88" fmla="*/ 388 w 1227"/>
              <a:gd name="T89" fmla="*/ 814 h 979"/>
              <a:gd name="T90" fmla="*/ 425 w 1227"/>
              <a:gd name="T91" fmla="*/ 867 h 979"/>
              <a:gd name="T92" fmla="*/ 483 w 1227"/>
              <a:gd name="T93" fmla="*/ 938 h 979"/>
              <a:gd name="T94" fmla="*/ 528 w 1227"/>
              <a:gd name="T95" fmla="*/ 979 h 979"/>
              <a:gd name="T96" fmla="*/ 543 w 1227"/>
              <a:gd name="T97" fmla="*/ 953 h 979"/>
              <a:gd name="T98" fmla="*/ 546 w 1227"/>
              <a:gd name="T99" fmla="*/ 909 h 979"/>
              <a:gd name="T100" fmla="*/ 570 w 1227"/>
              <a:gd name="T101" fmla="*/ 896 h 979"/>
              <a:gd name="T102" fmla="*/ 605 w 1227"/>
              <a:gd name="T103" fmla="*/ 895 h 979"/>
              <a:gd name="T104" fmla="*/ 660 w 1227"/>
              <a:gd name="T105" fmla="*/ 909 h 979"/>
              <a:gd name="T106" fmla="*/ 708 w 1227"/>
              <a:gd name="T107" fmla="*/ 943 h 979"/>
              <a:gd name="T108" fmla="*/ 787 w 1227"/>
              <a:gd name="T109" fmla="*/ 838 h 979"/>
              <a:gd name="T110" fmla="*/ 1199 w 1227"/>
              <a:gd name="T111" fmla="*/ 567 h 979"/>
              <a:gd name="T112" fmla="*/ 940 w 1227"/>
              <a:gd name="T113" fmla="*/ 468 h 97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</a:cxnLst>
            <a:rect l="0" t="0" r="r" b="b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2" name="Freeform 528">
            <a:extLst>
              <a:ext uri="{FF2B5EF4-FFF2-40B4-BE49-F238E27FC236}">
                <a16:creationId xmlns:a16="http://schemas.microsoft.com/office/drawing/2014/main" id="{C62073D6-6C5D-459E-8318-112979143961}"/>
              </a:ext>
            </a:extLst>
          </p:cNvPr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8065556" y="2517072"/>
            <a:ext cx="55001" cy="57150"/>
          </a:xfrm>
          <a:custGeom>
            <a:avLst/>
            <a:gdLst>
              <a:gd name="T0" fmla="*/ 146 w 146"/>
              <a:gd name="T1" fmla="*/ 18 h 81"/>
              <a:gd name="T2" fmla="*/ 138 w 146"/>
              <a:gd name="T3" fmla="*/ 24 h 81"/>
              <a:gd name="T4" fmla="*/ 130 w 146"/>
              <a:gd name="T5" fmla="*/ 29 h 81"/>
              <a:gd name="T6" fmla="*/ 123 w 146"/>
              <a:gd name="T7" fmla="*/ 35 h 81"/>
              <a:gd name="T8" fmla="*/ 118 w 146"/>
              <a:gd name="T9" fmla="*/ 41 h 81"/>
              <a:gd name="T10" fmla="*/ 108 w 146"/>
              <a:gd name="T11" fmla="*/ 53 h 81"/>
              <a:gd name="T12" fmla="*/ 98 w 146"/>
              <a:gd name="T13" fmla="*/ 64 h 81"/>
              <a:gd name="T14" fmla="*/ 93 w 146"/>
              <a:gd name="T15" fmla="*/ 69 h 81"/>
              <a:gd name="T16" fmla="*/ 85 w 146"/>
              <a:gd name="T17" fmla="*/ 73 h 81"/>
              <a:gd name="T18" fmla="*/ 76 w 146"/>
              <a:gd name="T19" fmla="*/ 77 h 81"/>
              <a:gd name="T20" fmla="*/ 66 w 146"/>
              <a:gd name="T21" fmla="*/ 80 h 81"/>
              <a:gd name="T22" fmla="*/ 53 w 146"/>
              <a:gd name="T23" fmla="*/ 81 h 81"/>
              <a:gd name="T24" fmla="*/ 39 w 146"/>
              <a:gd name="T25" fmla="*/ 80 h 81"/>
              <a:gd name="T26" fmla="*/ 21 w 146"/>
              <a:gd name="T27" fmla="*/ 77 h 81"/>
              <a:gd name="T28" fmla="*/ 0 w 146"/>
              <a:gd name="T29" fmla="*/ 74 h 81"/>
              <a:gd name="T30" fmla="*/ 0 w 146"/>
              <a:gd name="T31" fmla="*/ 62 h 81"/>
              <a:gd name="T32" fmla="*/ 0 w 146"/>
              <a:gd name="T33" fmla="*/ 49 h 81"/>
              <a:gd name="T34" fmla="*/ 0 w 146"/>
              <a:gd name="T35" fmla="*/ 34 h 81"/>
              <a:gd name="T36" fmla="*/ 0 w 146"/>
              <a:gd name="T37" fmla="*/ 18 h 81"/>
              <a:gd name="T38" fmla="*/ 14 w 146"/>
              <a:gd name="T39" fmla="*/ 18 h 81"/>
              <a:gd name="T40" fmla="*/ 22 w 146"/>
              <a:gd name="T41" fmla="*/ 18 h 81"/>
              <a:gd name="T42" fmla="*/ 31 w 146"/>
              <a:gd name="T43" fmla="*/ 18 h 81"/>
              <a:gd name="T44" fmla="*/ 40 w 146"/>
              <a:gd name="T45" fmla="*/ 18 h 81"/>
              <a:gd name="T46" fmla="*/ 52 w 146"/>
              <a:gd name="T47" fmla="*/ 18 h 81"/>
              <a:gd name="T48" fmla="*/ 63 w 146"/>
              <a:gd name="T49" fmla="*/ 16 h 81"/>
              <a:gd name="T50" fmla="*/ 73 w 146"/>
              <a:gd name="T51" fmla="*/ 14 h 81"/>
              <a:gd name="T52" fmla="*/ 83 w 146"/>
              <a:gd name="T53" fmla="*/ 11 h 81"/>
              <a:gd name="T54" fmla="*/ 101 w 146"/>
              <a:gd name="T55" fmla="*/ 5 h 81"/>
              <a:gd name="T56" fmla="*/ 120 w 146"/>
              <a:gd name="T57" fmla="*/ 0 h 81"/>
              <a:gd name="T58" fmla="*/ 129 w 146"/>
              <a:gd name="T59" fmla="*/ 4 h 81"/>
              <a:gd name="T60" fmla="*/ 135 w 146"/>
              <a:gd name="T61" fmla="*/ 9 h 81"/>
              <a:gd name="T62" fmla="*/ 141 w 146"/>
              <a:gd name="T63" fmla="*/ 14 h 81"/>
              <a:gd name="T64" fmla="*/ 146 w 146"/>
              <a:gd name="T65" fmla="*/ 18 h 8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3" name="Freeform 529">
            <a:extLst>
              <a:ext uri="{FF2B5EF4-FFF2-40B4-BE49-F238E27FC236}">
                <a16:creationId xmlns:a16="http://schemas.microsoft.com/office/drawing/2014/main" id="{5F8F6061-C573-41F3-8101-7210630587BE}"/>
              </a:ext>
            </a:extLst>
          </p:cNvPr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7814996" y="2729797"/>
            <a:ext cx="15278" cy="57150"/>
          </a:xfrm>
          <a:custGeom>
            <a:avLst/>
            <a:gdLst>
              <a:gd name="T0" fmla="*/ 34 w 34"/>
              <a:gd name="T1" fmla="*/ 49 h 49"/>
              <a:gd name="T2" fmla="*/ 34 w 34"/>
              <a:gd name="T3" fmla="*/ 34 h 49"/>
              <a:gd name="T4" fmla="*/ 34 w 34"/>
              <a:gd name="T5" fmla="*/ 25 h 49"/>
              <a:gd name="T6" fmla="*/ 33 w 34"/>
              <a:gd name="T7" fmla="*/ 21 h 49"/>
              <a:gd name="T8" fmla="*/ 33 w 34"/>
              <a:gd name="T9" fmla="*/ 17 h 49"/>
              <a:gd name="T10" fmla="*/ 31 w 34"/>
              <a:gd name="T11" fmla="*/ 15 h 49"/>
              <a:gd name="T12" fmla="*/ 30 w 34"/>
              <a:gd name="T13" fmla="*/ 12 h 49"/>
              <a:gd name="T14" fmla="*/ 25 w 34"/>
              <a:gd name="T15" fmla="*/ 8 h 49"/>
              <a:gd name="T16" fmla="*/ 21 w 34"/>
              <a:gd name="T17" fmla="*/ 0 h 49"/>
              <a:gd name="T18" fmla="*/ 8 w 34"/>
              <a:gd name="T19" fmla="*/ 0 h 49"/>
              <a:gd name="T20" fmla="*/ 0 w 34"/>
              <a:gd name="T21" fmla="*/ 0 h 49"/>
              <a:gd name="T22" fmla="*/ 3 w 34"/>
              <a:gd name="T23" fmla="*/ 11 h 49"/>
              <a:gd name="T24" fmla="*/ 7 w 34"/>
              <a:gd name="T25" fmla="*/ 20 h 49"/>
              <a:gd name="T26" fmla="*/ 10 w 34"/>
              <a:gd name="T27" fmla="*/ 27 h 49"/>
              <a:gd name="T28" fmla="*/ 14 w 34"/>
              <a:gd name="T29" fmla="*/ 34 h 49"/>
              <a:gd name="T30" fmla="*/ 19 w 34"/>
              <a:gd name="T31" fmla="*/ 39 h 49"/>
              <a:gd name="T32" fmla="*/ 24 w 34"/>
              <a:gd name="T33" fmla="*/ 43 h 49"/>
              <a:gd name="T34" fmla="*/ 29 w 34"/>
              <a:gd name="T35" fmla="*/ 46 h 49"/>
              <a:gd name="T36" fmla="*/ 34 w 34"/>
              <a:gd name="T37" fmla="*/ 49 h 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</a:cxnLst>
            <a:rect l="0" t="0" r="r" b="b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4" name="Freeform 530">
            <a:extLst>
              <a:ext uri="{FF2B5EF4-FFF2-40B4-BE49-F238E27FC236}">
                <a16:creationId xmlns:a16="http://schemas.microsoft.com/office/drawing/2014/main" id="{781F4990-6431-40CD-9C7A-4270D6AB3ADA}"/>
              </a:ext>
            </a:extLst>
          </p:cNvPr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7422348" y="3075872"/>
            <a:ext cx="27501" cy="57150"/>
          </a:xfrm>
          <a:custGeom>
            <a:avLst/>
            <a:gdLst>
              <a:gd name="T0" fmla="*/ 60 w 60"/>
              <a:gd name="T1" fmla="*/ 0 h 74"/>
              <a:gd name="T2" fmla="*/ 56 w 60"/>
              <a:gd name="T3" fmla="*/ 4 h 74"/>
              <a:gd name="T4" fmla="*/ 51 w 60"/>
              <a:gd name="T5" fmla="*/ 10 h 74"/>
              <a:gd name="T6" fmla="*/ 48 w 60"/>
              <a:gd name="T7" fmla="*/ 15 h 74"/>
              <a:gd name="T8" fmla="*/ 46 w 60"/>
              <a:gd name="T9" fmla="*/ 21 h 74"/>
              <a:gd name="T10" fmla="*/ 41 w 60"/>
              <a:gd name="T11" fmla="*/ 31 h 74"/>
              <a:gd name="T12" fmla="*/ 37 w 60"/>
              <a:gd name="T13" fmla="*/ 42 h 74"/>
              <a:gd name="T14" fmla="*/ 35 w 60"/>
              <a:gd name="T15" fmla="*/ 47 h 74"/>
              <a:gd name="T16" fmla="*/ 32 w 60"/>
              <a:gd name="T17" fmla="*/ 51 h 74"/>
              <a:gd name="T18" fmla="*/ 29 w 60"/>
              <a:gd name="T19" fmla="*/ 56 h 74"/>
              <a:gd name="T20" fmla="*/ 25 w 60"/>
              <a:gd name="T21" fmla="*/ 60 h 74"/>
              <a:gd name="T22" fmla="*/ 20 w 60"/>
              <a:gd name="T23" fmla="*/ 65 h 74"/>
              <a:gd name="T24" fmla="*/ 15 w 60"/>
              <a:gd name="T25" fmla="*/ 69 h 74"/>
              <a:gd name="T26" fmla="*/ 8 w 60"/>
              <a:gd name="T27" fmla="*/ 72 h 74"/>
              <a:gd name="T28" fmla="*/ 0 w 60"/>
              <a:gd name="T29" fmla="*/ 74 h 74"/>
              <a:gd name="T30" fmla="*/ 5 w 60"/>
              <a:gd name="T31" fmla="*/ 60 h 74"/>
              <a:gd name="T32" fmla="*/ 12 w 60"/>
              <a:gd name="T33" fmla="*/ 47 h 74"/>
              <a:gd name="T34" fmla="*/ 19 w 60"/>
              <a:gd name="T35" fmla="*/ 34 h 74"/>
              <a:gd name="T36" fmla="*/ 27 w 60"/>
              <a:gd name="T37" fmla="*/ 23 h 74"/>
              <a:gd name="T38" fmla="*/ 36 w 60"/>
              <a:gd name="T39" fmla="*/ 14 h 74"/>
              <a:gd name="T40" fmla="*/ 43 w 60"/>
              <a:gd name="T41" fmla="*/ 6 h 74"/>
              <a:gd name="T42" fmla="*/ 48 w 60"/>
              <a:gd name="T43" fmla="*/ 3 h 74"/>
              <a:gd name="T44" fmla="*/ 52 w 60"/>
              <a:gd name="T45" fmla="*/ 1 h 74"/>
              <a:gd name="T46" fmla="*/ 56 w 60"/>
              <a:gd name="T47" fmla="*/ 0 h 74"/>
              <a:gd name="T48" fmla="*/ 60 w 60"/>
              <a:gd name="T49" fmla="*/ 0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5" name="Freeform 531">
            <a:extLst>
              <a:ext uri="{FF2B5EF4-FFF2-40B4-BE49-F238E27FC236}">
                <a16:creationId xmlns:a16="http://schemas.microsoft.com/office/drawing/2014/main" id="{3A79AB2D-24B8-4363-8757-EA008C3BE2C0}"/>
              </a:ext>
            </a:extLst>
          </p:cNvPr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7365819" y="3091748"/>
            <a:ext cx="22917" cy="60325"/>
          </a:xfrm>
          <a:custGeom>
            <a:avLst/>
            <a:gdLst>
              <a:gd name="T0" fmla="*/ 13 w 47"/>
              <a:gd name="T1" fmla="*/ 8 h 45"/>
              <a:gd name="T2" fmla="*/ 22 w 47"/>
              <a:gd name="T3" fmla="*/ 8 h 45"/>
              <a:gd name="T4" fmla="*/ 28 w 47"/>
              <a:gd name="T5" fmla="*/ 6 h 45"/>
              <a:gd name="T6" fmla="*/ 32 w 47"/>
              <a:gd name="T7" fmla="*/ 5 h 45"/>
              <a:gd name="T8" fmla="*/ 35 w 47"/>
              <a:gd name="T9" fmla="*/ 3 h 45"/>
              <a:gd name="T10" fmla="*/ 37 w 47"/>
              <a:gd name="T11" fmla="*/ 1 h 45"/>
              <a:gd name="T12" fmla="*/ 39 w 47"/>
              <a:gd name="T13" fmla="*/ 0 h 45"/>
              <a:gd name="T14" fmla="*/ 43 w 47"/>
              <a:gd name="T15" fmla="*/ 1 h 45"/>
              <a:gd name="T16" fmla="*/ 47 w 47"/>
              <a:gd name="T17" fmla="*/ 2 h 45"/>
              <a:gd name="T18" fmla="*/ 46 w 47"/>
              <a:gd name="T19" fmla="*/ 7 h 45"/>
              <a:gd name="T20" fmla="*/ 46 w 47"/>
              <a:gd name="T21" fmla="*/ 11 h 45"/>
              <a:gd name="T22" fmla="*/ 44 w 47"/>
              <a:gd name="T23" fmla="*/ 15 h 45"/>
              <a:gd name="T24" fmla="*/ 43 w 47"/>
              <a:gd name="T25" fmla="*/ 19 h 45"/>
              <a:gd name="T26" fmla="*/ 37 w 47"/>
              <a:gd name="T27" fmla="*/ 26 h 45"/>
              <a:gd name="T28" fmla="*/ 30 w 47"/>
              <a:gd name="T29" fmla="*/ 32 h 45"/>
              <a:gd name="T30" fmla="*/ 24 w 47"/>
              <a:gd name="T31" fmla="*/ 38 h 45"/>
              <a:gd name="T32" fmla="*/ 16 w 47"/>
              <a:gd name="T33" fmla="*/ 42 h 45"/>
              <a:gd name="T34" fmla="*/ 7 w 47"/>
              <a:gd name="T35" fmla="*/ 45 h 45"/>
              <a:gd name="T36" fmla="*/ 0 w 47"/>
              <a:gd name="T37" fmla="*/ 45 h 45"/>
              <a:gd name="T38" fmla="*/ 2 w 47"/>
              <a:gd name="T39" fmla="*/ 38 h 45"/>
              <a:gd name="T40" fmla="*/ 6 w 47"/>
              <a:gd name="T41" fmla="*/ 26 h 45"/>
              <a:gd name="T42" fmla="*/ 11 w 47"/>
              <a:gd name="T43" fmla="*/ 15 h 45"/>
              <a:gd name="T44" fmla="*/ 13 w 47"/>
              <a:gd name="T45" fmla="*/ 8 h 4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</a:cxnLst>
            <a:rect l="0" t="0" r="r" b="b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6" name="Freeform 532">
            <a:extLst>
              <a:ext uri="{FF2B5EF4-FFF2-40B4-BE49-F238E27FC236}">
                <a16:creationId xmlns:a16="http://schemas.microsoft.com/office/drawing/2014/main" id="{3881C7E9-3072-4CDE-9C45-1C3E7C6CDB6F}"/>
              </a:ext>
            </a:extLst>
          </p:cNvPr>
          <p:cNvSpPr>
            <a:spLocks/>
          </p:cNvSpPr>
          <p:nvPr>
            <p:custDataLst>
              <p:tags r:id="rId362"/>
            </p:custDataLst>
          </p:nvPr>
        </p:nvSpPr>
        <p:spPr bwMode="auto">
          <a:xfrm>
            <a:off x="7341374" y="3085397"/>
            <a:ext cx="6111" cy="57150"/>
          </a:xfrm>
          <a:custGeom>
            <a:avLst/>
            <a:gdLst>
              <a:gd name="T0" fmla="*/ 6 w 26"/>
              <a:gd name="T1" fmla="*/ 36 h 36"/>
              <a:gd name="T2" fmla="*/ 5 w 26"/>
              <a:gd name="T3" fmla="*/ 30 h 36"/>
              <a:gd name="T4" fmla="*/ 3 w 26"/>
              <a:gd name="T5" fmla="*/ 20 h 36"/>
              <a:gd name="T6" fmla="*/ 1 w 26"/>
              <a:gd name="T7" fmla="*/ 10 h 36"/>
              <a:gd name="T8" fmla="*/ 0 w 26"/>
              <a:gd name="T9" fmla="*/ 0 h 36"/>
              <a:gd name="T10" fmla="*/ 26 w 26"/>
              <a:gd name="T11" fmla="*/ 0 h 36"/>
              <a:gd name="T12" fmla="*/ 25 w 26"/>
              <a:gd name="T13" fmla="*/ 12 h 36"/>
              <a:gd name="T14" fmla="*/ 24 w 26"/>
              <a:gd name="T15" fmla="*/ 23 h 36"/>
              <a:gd name="T16" fmla="*/ 23 w 26"/>
              <a:gd name="T17" fmla="*/ 27 h 36"/>
              <a:gd name="T18" fmla="*/ 23 w 26"/>
              <a:gd name="T19" fmla="*/ 31 h 36"/>
              <a:gd name="T20" fmla="*/ 24 w 26"/>
              <a:gd name="T21" fmla="*/ 34 h 36"/>
              <a:gd name="T22" fmla="*/ 26 w 26"/>
              <a:gd name="T23" fmla="*/ 36 h 36"/>
              <a:gd name="T24" fmla="*/ 6 w 26"/>
              <a:gd name="T25" fmla="*/ 36 h 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</a:cxnLst>
            <a:rect l="0" t="0" r="r" b="b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27" name="Freeform 533">
            <a:extLst>
              <a:ext uri="{FF2B5EF4-FFF2-40B4-BE49-F238E27FC236}">
                <a16:creationId xmlns:a16="http://schemas.microsoft.com/office/drawing/2014/main" id="{5BE49195-9BBD-4CB5-81BF-B97E6A6CD08A}"/>
              </a:ext>
            </a:extLst>
          </p:cNvPr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8565151" y="2813934"/>
            <a:ext cx="168059" cy="158750"/>
          </a:xfrm>
          <a:custGeom>
            <a:avLst/>
            <a:gdLst>
              <a:gd name="T0" fmla="*/ 26 w 405"/>
              <a:gd name="T1" fmla="*/ 162 h 302"/>
              <a:gd name="T2" fmla="*/ 28 w 405"/>
              <a:gd name="T3" fmla="*/ 156 h 302"/>
              <a:gd name="T4" fmla="*/ 30 w 405"/>
              <a:gd name="T5" fmla="*/ 154 h 302"/>
              <a:gd name="T6" fmla="*/ 28 w 405"/>
              <a:gd name="T7" fmla="*/ 151 h 302"/>
              <a:gd name="T8" fmla="*/ 18 w 405"/>
              <a:gd name="T9" fmla="*/ 143 h 302"/>
              <a:gd name="T10" fmla="*/ 6 w 405"/>
              <a:gd name="T11" fmla="*/ 127 h 302"/>
              <a:gd name="T12" fmla="*/ 2 w 405"/>
              <a:gd name="T13" fmla="*/ 116 h 302"/>
              <a:gd name="T14" fmla="*/ 5 w 405"/>
              <a:gd name="T15" fmla="*/ 112 h 302"/>
              <a:gd name="T16" fmla="*/ 6 w 405"/>
              <a:gd name="T17" fmla="*/ 104 h 302"/>
              <a:gd name="T18" fmla="*/ 17 w 405"/>
              <a:gd name="T19" fmla="*/ 97 h 302"/>
              <a:gd name="T20" fmla="*/ 34 w 405"/>
              <a:gd name="T21" fmla="*/ 93 h 302"/>
              <a:gd name="T22" fmla="*/ 47 w 405"/>
              <a:gd name="T23" fmla="*/ 88 h 302"/>
              <a:gd name="T24" fmla="*/ 57 w 405"/>
              <a:gd name="T25" fmla="*/ 82 h 302"/>
              <a:gd name="T26" fmla="*/ 67 w 405"/>
              <a:gd name="T27" fmla="*/ 70 h 302"/>
              <a:gd name="T28" fmla="*/ 75 w 405"/>
              <a:gd name="T29" fmla="*/ 52 h 302"/>
              <a:gd name="T30" fmla="*/ 84 w 405"/>
              <a:gd name="T31" fmla="*/ 47 h 302"/>
              <a:gd name="T32" fmla="*/ 95 w 405"/>
              <a:gd name="T33" fmla="*/ 52 h 302"/>
              <a:gd name="T34" fmla="*/ 117 w 405"/>
              <a:gd name="T35" fmla="*/ 54 h 302"/>
              <a:gd name="T36" fmla="*/ 169 w 405"/>
              <a:gd name="T37" fmla="*/ 46 h 302"/>
              <a:gd name="T38" fmla="*/ 212 w 405"/>
              <a:gd name="T39" fmla="*/ 43 h 302"/>
              <a:gd name="T40" fmla="*/ 234 w 405"/>
              <a:gd name="T41" fmla="*/ 41 h 302"/>
              <a:gd name="T42" fmla="*/ 264 w 405"/>
              <a:gd name="T43" fmla="*/ 35 h 302"/>
              <a:gd name="T44" fmla="*/ 318 w 405"/>
              <a:gd name="T45" fmla="*/ 17 h 302"/>
              <a:gd name="T46" fmla="*/ 359 w 405"/>
              <a:gd name="T47" fmla="*/ 4 h 302"/>
              <a:gd name="T48" fmla="*/ 372 w 405"/>
              <a:gd name="T49" fmla="*/ 3 h 302"/>
              <a:gd name="T50" fmla="*/ 385 w 405"/>
              <a:gd name="T51" fmla="*/ 3 h 302"/>
              <a:gd name="T52" fmla="*/ 398 w 405"/>
              <a:gd name="T53" fmla="*/ 1 h 302"/>
              <a:gd name="T54" fmla="*/ 395 w 405"/>
              <a:gd name="T55" fmla="*/ 8 h 302"/>
              <a:gd name="T56" fmla="*/ 360 w 405"/>
              <a:gd name="T57" fmla="*/ 41 h 302"/>
              <a:gd name="T58" fmla="*/ 344 w 405"/>
              <a:gd name="T59" fmla="*/ 57 h 302"/>
              <a:gd name="T60" fmla="*/ 339 w 405"/>
              <a:gd name="T61" fmla="*/ 64 h 302"/>
              <a:gd name="T62" fmla="*/ 339 w 405"/>
              <a:gd name="T63" fmla="*/ 96 h 302"/>
              <a:gd name="T64" fmla="*/ 337 w 405"/>
              <a:gd name="T65" fmla="*/ 149 h 302"/>
              <a:gd name="T66" fmla="*/ 335 w 405"/>
              <a:gd name="T67" fmla="*/ 180 h 302"/>
              <a:gd name="T68" fmla="*/ 326 w 405"/>
              <a:gd name="T69" fmla="*/ 198 h 302"/>
              <a:gd name="T70" fmla="*/ 305 w 405"/>
              <a:gd name="T71" fmla="*/ 210 h 302"/>
              <a:gd name="T72" fmla="*/ 265 w 405"/>
              <a:gd name="T73" fmla="*/ 227 h 302"/>
              <a:gd name="T74" fmla="*/ 106 w 405"/>
              <a:gd name="T75" fmla="*/ 302 h 302"/>
              <a:gd name="T76" fmla="*/ 57 w 405"/>
              <a:gd name="T77" fmla="*/ 260 h 302"/>
              <a:gd name="T78" fmla="*/ 70 w 405"/>
              <a:gd name="T79" fmla="*/ 228 h 302"/>
              <a:gd name="T80" fmla="*/ 81 w 405"/>
              <a:gd name="T81" fmla="*/ 209 h 302"/>
              <a:gd name="T82" fmla="*/ 86 w 405"/>
              <a:gd name="T83" fmla="*/ 172 h 302"/>
              <a:gd name="T84" fmla="*/ 71 w 405"/>
              <a:gd name="T85" fmla="*/ 173 h 302"/>
              <a:gd name="T86" fmla="*/ 57 w 405"/>
              <a:gd name="T87" fmla="*/ 169 h 302"/>
              <a:gd name="T88" fmla="*/ 41 w 405"/>
              <a:gd name="T89" fmla="*/ 165 h 302"/>
              <a:gd name="T90" fmla="*/ 26 w 405"/>
              <a:gd name="T91" fmla="*/ 166 h 30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528" name="Freeform 534">
            <a:extLst>
              <a:ext uri="{FF2B5EF4-FFF2-40B4-BE49-F238E27FC236}">
                <a16:creationId xmlns:a16="http://schemas.microsoft.com/office/drawing/2014/main" id="{469690EF-3F05-4E4C-92AF-7D43FE7D588E}"/>
              </a:ext>
            </a:extLst>
          </p:cNvPr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10580334" y="3194935"/>
            <a:ext cx="41250" cy="79375"/>
          </a:xfrm>
          <a:custGeom>
            <a:avLst/>
            <a:gdLst>
              <a:gd name="T0" fmla="*/ 100 w 100"/>
              <a:gd name="T1" fmla="*/ 1 h 155"/>
              <a:gd name="T2" fmla="*/ 100 w 100"/>
              <a:gd name="T3" fmla="*/ 30 h 155"/>
              <a:gd name="T4" fmla="*/ 100 w 100"/>
              <a:gd name="T5" fmla="*/ 55 h 155"/>
              <a:gd name="T6" fmla="*/ 100 w 100"/>
              <a:gd name="T7" fmla="*/ 78 h 155"/>
              <a:gd name="T8" fmla="*/ 100 w 100"/>
              <a:gd name="T9" fmla="*/ 99 h 155"/>
              <a:gd name="T10" fmla="*/ 98 w 100"/>
              <a:gd name="T11" fmla="*/ 109 h 155"/>
              <a:gd name="T12" fmla="*/ 94 w 100"/>
              <a:gd name="T13" fmla="*/ 118 h 155"/>
              <a:gd name="T14" fmla="*/ 89 w 100"/>
              <a:gd name="T15" fmla="*/ 128 h 155"/>
              <a:gd name="T16" fmla="*/ 82 w 100"/>
              <a:gd name="T17" fmla="*/ 137 h 155"/>
              <a:gd name="T18" fmla="*/ 73 w 100"/>
              <a:gd name="T19" fmla="*/ 144 h 155"/>
              <a:gd name="T20" fmla="*/ 62 w 100"/>
              <a:gd name="T21" fmla="*/ 150 h 155"/>
              <a:gd name="T22" fmla="*/ 57 w 100"/>
              <a:gd name="T23" fmla="*/ 152 h 155"/>
              <a:gd name="T24" fmla="*/ 51 w 100"/>
              <a:gd name="T25" fmla="*/ 154 h 155"/>
              <a:gd name="T26" fmla="*/ 46 w 100"/>
              <a:gd name="T27" fmla="*/ 155 h 155"/>
              <a:gd name="T28" fmla="*/ 39 w 100"/>
              <a:gd name="T29" fmla="*/ 155 h 155"/>
              <a:gd name="T30" fmla="*/ 35 w 100"/>
              <a:gd name="T31" fmla="*/ 154 h 155"/>
              <a:gd name="T32" fmla="*/ 30 w 100"/>
              <a:gd name="T33" fmla="*/ 153 h 155"/>
              <a:gd name="T34" fmla="*/ 26 w 100"/>
              <a:gd name="T35" fmla="*/ 151 h 155"/>
              <a:gd name="T36" fmla="*/ 22 w 100"/>
              <a:gd name="T37" fmla="*/ 149 h 155"/>
              <a:gd name="T38" fmla="*/ 15 w 100"/>
              <a:gd name="T39" fmla="*/ 142 h 155"/>
              <a:gd name="T40" fmla="*/ 9 w 100"/>
              <a:gd name="T41" fmla="*/ 134 h 155"/>
              <a:gd name="T42" fmla="*/ 5 w 100"/>
              <a:gd name="T43" fmla="*/ 124 h 155"/>
              <a:gd name="T44" fmla="*/ 2 w 100"/>
              <a:gd name="T45" fmla="*/ 113 h 155"/>
              <a:gd name="T46" fmla="*/ 0 w 100"/>
              <a:gd name="T47" fmla="*/ 103 h 155"/>
              <a:gd name="T48" fmla="*/ 0 w 100"/>
              <a:gd name="T49" fmla="*/ 93 h 155"/>
              <a:gd name="T50" fmla="*/ 0 w 100"/>
              <a:gd name="T51" fmla="*/ 77 h 155"/>
              <a:gd name="T52" fmla="*/ 0 w 100"/>
              <a:gd name="T53" fmla="*/ 65 h 155"/>
              <a:gd name="T54" fmla="*/ 0 w 100"/>
              <a:gd name="T55" fmla="*/ 56 h 155"/>
              <a:gd name="T56" fmla="*/ 0 w 100"/>
              <a:gd name="T57" fmla="*/ 50 h 155"/>
              <a:gd name="T58" fmla="*/ 15 w 100"/>
              <a:gd name="T59" fmla="*/ 50 h 155"/>
              <a:gd name="T60" fmla="*/ 26 w 100"/>
              <a:gd name="T61" fmla="*/ 50 h 155"/>
              <a:gd name="T62" fmla="*/ 26 w 100"/>
              <a:gd name="T63" fmla="*/ 40 h 155"/>
              <a:gd name="T64" fmla="*/ 27 w 100"/>
              <a:gd name="T65" fmla="*/ 31 h 155"/>
              <a:gd name="T66" fmla="*/ 29 w 100"/>
              <a:gd name="T67" fmla="*/ 23 h 155"/>
              <a:gd name="T68" fmla="*/ 31 w 100"/>
              <a:gd name="T69" fmla="*/ 17 h 155"/>
              <a:gd name="T70" fmla="*/ 35 w 100"/>
              <a:gd name="T71" fmla="*/ 12 h 155"/>
              <a:gd name="T72" fmla="*/ 39 w 100"/>
              <a:gd name="T73" fmla="*/ 7 h 155"/>
              <a:gd name="T74" fmla="*/ 42 w 100"/>
              <a:gd name="T75" fmla="*/ 4 h 155"/>
              <a:gd name="T76" fmla="*/ 48 w 100"/>
              <a:gd name="T77" fmla="*/ 2 h 155"/>
              <a:gd name="T78" fmla="*/ 59 w 100"/>
              <a:gd name="T79" fmla="*/ 0 h 155"/>
              <a:gd name="T80" fmla="*/ 71 w 100"/>
              <a:gd name="T81" fmla="*/ 0 h 155"/>
              <a:gd name="T82" fmla="*/ 84 w 100"/>
              <a:gd name="T83" fmla="*/ 0 h 155"/>
              <a:gd name="T84" fmla="*/ 100 w 100"/>
              <a:gd name="T85" fmla="*/ 1 h 15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grpSp>
        <p:nvGrpSpPr>
          <p:cNvPr id="529" name="Group 535">
            <a:extLst>
              <a:ext uri="{FF2B5EF4-FFF2-40B4-BE49-F238E27FC236}">
                <a16:creationId xmlns:a16="http://schemas.microsoft.com/office/drawing/2014/main" id="{5696C512-F7FE-44DD-86BA-63130F86F2B8}"/>
              </a:ext>
            </a:extLst>
          </p:cNvPr>
          <p:cNvGrpSpPr>
            <a:grpSpLocks/>
          </p:cNvGrpSpPr>
          <p:nvPr>
            <p:custDataLst>
              <p:tags r:id="rId365"/>
            </p:custDataLst>
          </p:nvPr>
        </p:nvGrpSpPr>
        <p:grpSpPr bwMode="auto">
          <a:xfrm>
            <a:off x="8316117" y="2663122"/>
            <a:ext cx="464455" cy="201612"/>
            <a:chOff x="3289" y="1830"/>
            <a:chExt cx="363" cy="128"/>
          </a:xfrm>
        </p:grpSpPr>
        <p:sp>
          <p:nvSpPr>
            <p:cNvPr id="530" name="Freeform 536">
              <a:extLst>
                <a:ext uri="{FF2B5EF4-FFF2-40B4-BE49-F238E27FC236}">
                  <a16:creationId xmlns:a16="http://schemas.microsoft.com/office/drawing/2014/main" id="{1C560725-5B24-4B9E-A421-CE8906FF895E}"/>
                </a:ext>
              </a:extLst>
            </p:cNvPr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13 w 13"/>
                <a:gd name="T1" fmla="*/ 0 h 7"/>
                <a:gd name="T2" fmla="*/ 12 w 13"/>
                <a:gd name="T3" fmla="*/ 1 h 7"/>
                <a:gd name="T4" fmla="*/ 9 w 13"/>
                <a:gd name="T5" fmla="*/ 3 h 7"/>
                <a:gd name="T6" fmla="*/ 4 w 13"/>
                <a:gd name="T7" fmla="*/ 5 h 7"/>
                <a:gd name="T8" fmla="*/ 0 w 13"/>
                <a:gd name="T9" fmla="*/ 7 h 7"/>
                <a:gd name="T10" fmla="*/ 7 w 13"/>
                <a:gd name="T11" fmla="*/ 3 h 7"/>
                <a:gd name="T12" fmla="*/ 13 w 13"/>
                <a:gd name="T13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31" name="Freeform 537">
              <a:extLst>
                <a:ext uri="{FF2B5EF4-FFF2-40B4-BE49-F238E27FC236}">
                  <a16:creationId xmlns:a16="http://schemas.microsoft.com/office/drawing/2014/main" id="{3455E50C-17E9-4ACF-931C-E4A67ECD4876}"/>
                </a:ext>
              </a:extLst>
            </p:cNvPr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6 h 8"/>
                <a:gd name="T2" fmla="*/ 7 w 34"/>
                <a:gd name="T3" fmla="*/ 5 h 8"/>
                <a:gd name="T4" fmla="*/ 15 w 34"/>
                <a:gd name="T5" fmla="*/ 3 h 8"/>
                <a:gd name="T6" fmla="*/ 25 w 34"/>
                <a:gd name="T7" fmla="*/ 1 h 8"/>
                <a:gd name="T8" fmla="*/ 34 w 34"/>
                <a:gd name="T9" fmla="*/ 0 h 8"/>
                <a:gd name="T10" fmla="*/ 31 w 34"/>
                <a:gd name="T11" fmla="*/ 2 h 8"/>
                <a:gd name="T12" fmla="*/ 27 w 34"/>
                <a:gd name="T13" fmla="*/ 4 h 8"/>
                <a:gd name="T14" fmla="*/ 22 w 34"/>
                <a:gd name="T15" fmla="*/ 6 h 8"/>
                <a:gd name="T16" fmla="*/ 18 w 34"/>
                <a:gd name="T17" fmla="*/ 7 h 8"/>
                <a:gd name="T18" fmla="*/ 12 w 34"/>
                <a:gd name="T19" fmla="*/ 8 h 8"/>
                <a:gd name="T20" fmla="*/ 8 w 34"/>
                <a:gd name="T21" fmla="*/ 8 h 8"/>
                <a:gd name="T22" fmla="*/ 4 w 34"/>
                <a:gd name="T23" fmla="*/ 8 h 8"/>
                <a:gd name="T24" fmla="*/ 0 w 34"/>
                <a:gd name="T25" fmla="*/ 6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32" name="Freeform 538">
              <a:extLst>
                <a:ext uri="{FF2B5EF4-FFF2-40B4-BE49-F238E27FC236}">
                  <a16:creationId xmlns:a16="http://schemas.microsoft.com/office/drawing/2014/main" id="{BB98CB87-50A5-44AF-A2F1-50611911E03F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24 h 24"/>
                <a:gd name="T2" fmla="*/ 0 w 13"/>
                <a:gd name="T3" fmla="*/ 0 h 24"/>
                <a:gd name="T4" fmla="*/ 13 w 13"/>
                <a:gd name="T5" fmla="*/ 12 h 24"/>
                <a:gd name="T6" fmla="*/ 0 w 13"/>
                <a:gd name="T7" fmla="*/ 24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33" name="Freeform 539">
              <a:extLst>
                <a:ext uri="{FF2B5EF4-FFF2-40B4-BE49-F238E27FC236}">
                  <a16:creationId xmlns:a16="http://schemas.microsoft.com/office/drawing/2014/main" id="{4E9D4FCA-852B-48C4-9E75-DE410F8F88C0}"/>
                </a:ext>
              </a:extLst>
            </p:cNvPr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13 h 69"/>
                <a:gd name="T2" fmla="*/ 0 w 107"/>
                <a:gd name="T3" fmla="*/ 27 h 69"/>
                <a:gd name="T4" fmla="*/ 0 w 107"/>
                <a:gd name="T5" fmla="*/ 45 h 69"/>
                <a:gd name="T6" fmla="*/ 0 w 107"/>
                <a:gd name="T7" fmla="*/ 62 h 69"/>
                <a:gd name="T8" fmla="*/ 0 w 107"/>
                <a:gd name="T9" fmla="*/ 69 h 69"/>
                <a:gd name="T10" fmla="*/ 16 w 107"/>
                <a:gd name="T11" fmla="*/ 66 h 69"/>
                <a:gd name="T12" fmla="*/ 49 w 107"/>
                <a:gd name="T13" fmla="*/ 58 h 69"/>
                <a:gd name="T14" fmla="*/ 85 w 107"/>
                <a:gd name="T15" fmla="*/ 50 h 69"/>
                <a:gd name="T16" fmla="*/ 107 w 107"/>
                <a:gd name="T17" fmla="*/ 44 h 69"/>
                <a:gd name="T18" fmla="*/ 101 w 107"/>
                <a:gd name="T19" fmla="*/ 38 h 69"/>
                <a:gd name="T20" fmla="*/ 94 w 107"/>
                <a:gd name="T21" fmla="*/ 34 h 69"/>
                <a:gd name="T22" fmla="*/ 86 w 107"/>
                <a:gd name="T23" fmla="*/ 30 h 69"/>
                <a:gd name="T24" fmla="*/ 78 w 107"/>
                <a:gd name="T25" fmla="*/ 27 h 69"/>
                <a:gd name="T26" fmla="*/ 72 w 107"/>
                <a:gd name="T27" fmla="*/ 23 h 69"/>
                <a:gd name="T28" fmla="*/ 65 w 107"/>
                <a:gd name="T29" fmla="*/ 18 h 69"/>
                <a:gd name="T30" fmla="*/ 63 w 107"/>
                <a:gd name="T31" fmla="*/ 15 h 69"/>
                <a:gd name="T32" fmla="*/ 62 w 107"/>
                <a:gd name="T33" fmla="*/ 11 h 69"/>
                <a:gd name="T34" fmla="*/ 61 w 107"/>
                <a:gd name="T35" fmla="*/ 7 h 69"/>
                <a:gd name="T36" fmla="*/ 61 w 107"/>
                <a:gd name="T37" fmla="*/ 0 h 69"/>
                <a:gd name="T38" fmla="*/ 54 w 107"/>
                <a:gd name="T39" fmla="*/ 1 h 69"/>
                <a:gd name="T40" fmla="*/ 38 w 107"/>
                <a:gd name="T41" fmla="*/ 4 h 69"/>
                <a:gd name="T42" fmla="*/ 18 w 107"/>
                <a:gd name="T43" fmla="*/ 9 h 69"/>
                <a:gd name="T44" fmla="*/ 0 w 107"/>
                <a:gd name="T45" fmla="*/ 13 h 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34" name="Freeform 540">
              <a:extLst>
                <a:ext uri="{FF2B5EF4-FFF2-40B4-BE49-F238E27FC236}">
                  <a16:creationId xmlns:a16="http://schemas.microsoft.com/office/drawing/2014/main" id="{67520A98-E499-45F3-9CD3-476FDE10B8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992 w 1070"/>
                <a:gd name="T1" fmla="*/ 124 h 382"/>
                <a:gd name="T2" fmla="*/ 970 w 1070"/>
                <a:gd name="T3" fmla="*/ 103 h 382"/>
                <a:gd name="T4" fmla="*/ 962 w 1070"/>
                <a:gd name="T5" fmla="*/ 57 h 382"/>
                <a:gd name="T6" fmla="*/ 936 w 1070"/>
                <a:gd name="T7" fmla="*/ 36 h 382"/>
                <a:gd name="T8" fmla="*/ 817 w 1070"/>
                <a:gd name="T9" fmla="*/ 19 h 382"/>
                <a:gd name="T10" fmla="*/ 726 w 1070"/>
                <a:gd name="T11" fmla="*/ 58 h 382"/>
                <a:gd name="T12" fmla="*/ 678 w 1070"/>
                <a:gd name="T13" fmla="*/ 65 h 382"/>
                <a:gd name="T14" fmla="*/ 632 w 1070"/>
                <a:gd name="T15" fmla="*/ 65 h 382"/>
                <a:gd name="T16" fmla="*/ 612 w 1070"/>
                <a:gd name="T17" fmla="*/ 44 h 382"/>
                <a:gd name="T18" fmla="*/ 560 w 1070"/>
                <a:gd name="T19" fmla="*/ 37 h 382"/>
                <a:gd name="T20" fmla="*/ 525 w 1070"/>
                <a:gd name="T21" fmla="*/ 19 h 382"/>
                <a:gd name="T22" fmla="*/ 483 w 1070"/>
                <a:gd name="T23" fmla="*/ 21 h 382"/>
                <a:gd name="T24" fmla="*/ 465 w 1070"/>
                <a:gd name="T25" fmla="*/ 0 h 382"/>
                <a:gd name="T26" fmla="*/ 390 w 1070"/>
                <a:gd name="T27" fmla="*/ 16 h 382"/>
                <a:gd name="T28" fmla="*/ 299 w 1070"/>
                <a:gd name="T29" fmla="*/ 26 h 382"/>
                <a:gd name="T30" fmla="*/ 257 w 1070"/>
                <a:gd name="T31" fmla="*/ 45 h 382"/>
                <a:gd name="T32" fmla="*/ 138 w 1070"/>
                <a:gd name="T33" fmla="*/ 61 h 382"/>
                <a:gd name="T34" fmla="*/ 173 w 1070"/>
                <a:gd name="T35" fmla="*/ 75 h 382"/>
                <a:gd name="T36" fmla="*/ 164 w 1070"/>
                <a:gd name="T37" fmla="*/ 90 h 382"/>
                <a:gd name="T38" fmla="*/ 114 w 1070"/>
                <a:gd name="T39" fmla="*/ 93 h 382"/>
                <a:gd name="T40" fmla="*/ 42 w 1070"/>
                <a:gd name="T41" fmla="*/ 94 h 382"/>
                <a:gd name="T42" fmla="*/ 8 w 1070"/>
                <a:gd name="T43" fmla="*/ 110 h 382"/>
                <a:gd name="T44" fmla="*/ 0 w 1070"/>
                <a:gd name="T45" fmla="*/ 147 h 382"/>
                <a:gd name="T46" fmla="*/ 16 w 1070"/>
                <a:gd name="T47" fmla="*/ 167 h 382"/>
                <a:gd name="T48" fmla="*/ 22 w 1070"/>
                <a:gd name="T49" fmla="*/ 193 h 382"/>
                <a:gd name="T50" fmla="*/ 21 w 1070"/>
                <a:gd name="T51" fmla="*/ 210 h 382"/>
                <a:gd name="T52" fmla="*/ 49 w 1070"/>
                <a:gd name="T53" fmla="*/ 237 h 382"/>
                <a:gd name="T54" fmla="*/ 56 w 1070"/>
                <a:gd name="T55" fmla="*/ 259 h 382"/>
                <a:gd name="T56" fmla="*/ 74 w 1070"/>
                <a:gd name="T57" fmla="*/ 271 h 382"/>
                <a:gd name="T58" fmla="*/ 96 w 1070"/>
                <a:gd name="T59" fmla="*/ 290 h 382"/>
                <a:gd name="T60" fmla="*/ 205 w 1070"/>
                <a:gd name="T61" fmla="*/ 352 h 382"/>
                <a:gd name="T62" fmla="*/ 253 w 1070"/>
                <a:gd name="T63" fmla="*/ 370 h 382"/>
                <a:gd name="T64" fmla="*/ 267 w 1070"/>
                <a:gd name="T65" fmla="*/ 358 h 382"/>
                <a:gd name="T66" fmla="*/ 277 w 1070"/>
                <a:gd name="T67" fmla="*/ 338 h 382"/>
                <a:gd name="T68" fmla="*/ 297 w 1070"/>
                <a:gd name="T69" fmla="*/ 316 h 382"/>
                <a:gd name="T70" fmla="*/ 334 w 1070"/>
                <a:gd name="T71" fmla="*/ 323 h 382"/>
                <a:gd name="T72" fmla="*/ 362 w 1070"/>
                <a:gd name="T73" fmla="*/ 358 h 382"/>
                <a:gd name="T74" fmla="*/ 399 w 1070"/>
                <a:gd name="T75" fmla="*/ 370 h 382"/>
                <a:gd name="T76" fmla="*/ 447 w 1070"/>
                <a:gd name="T77" fmla="*/ 359 h 382"/>
                <a:gd name="T78" fmla="*/ 493 w 1070"/>
                <a:gd name="T79" fmla="*/ 335 h 382"/>
                <a:gd name="T80" fmla="*/ 525 w 1070"/>
                <a:gd name="T81" fmla="*/ 327 h 382"/>
                <a:gd name="T82" fmla="*/ 564 w 1070"/>
                <a:gd name="T83" fmla="*/ 326 h 382"/>
                <a:gd name="T84" fmla="*/ 567 w 1070"/>
                <a:gd name="T85" fmla="*/ 367 h 382"/>
                <a:gd name="T86" fmla="*/ 590 w 1070"/>
                <a:gd name="T87" fmla="*/ 377 h 382"/>
                <a:gd name="T88" fmla="*/ 613 w 1070"/>
                <a:gd name="T89" fmla="*/ 362 h 382"/>
                <a:gd name="T90" fmla="*/ 647 w 1070"/>
                <a:gd name="T91" fmla="*/ 336 h 382"/>
                <a:gd name="T92" fmla="*/ 752 w 1070"/>
                <a:gd name="T93" fmla="*/ 327 h 382"/>
                <a:gd name="T94" fmla="*/ 831 w 1070"/>
                <a:gd name="T95" fmla="*/ 315 h 382"/>
                <a:gd name="T96" fmla="*/ 918 w 1070"/>
                <a:gd name="T97" fmla="*/ 283 h 382"/>
                <a:gd name="T98" fmla="*/ 967 w 1070"/>
                <a:gd name="T99" fmla="*/ 286 h 382"/>
                <a:gd name="T100" fmla="*/ 1005 w 1070"/>
                <a:gd name="T101" fmla="*/ 293 h 382"/>
                <a:gd name="T102" fmla="*/ 1056 w 1070"/>
                <a:gd name="T103" fmla="*/ 308 h 382"/>
                <a:gd name="T104" fmla="*/ 1056 w 1070"/>
                <a:gd name="T105" fmla="*/ 268 h 382"/>
                <a:gd name="T106" fmla="*/ 1026 w 1070"/>
                <a:gd name="T107" fmla="*/ 219 h 382"/>
                <a:gd name="T108" fmla="*/ 1017 w 1070"/>
                <a:gd name="T109" fmla="*/ 167 h 3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sp>
        <p:nvSpPr>
          <p:cNvPr id="535" name="Freeform 541">
            <a:extLst>
              <a:ext uri="{FF2B5EF4-FFF2-40B4-BE49-F238E27FC236}">
                <a16:creationId xmlns:a16="http://schemas.microsoft.com/office/drawing/2014/main" id="{A7C98796-E9C2-46ED-9E8C-DCCAEC603F54}"/>
              </a:ext>
            </a:extLst>
          </p:cNvPr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6380381" y="3815648"/>
            <a:ext cx="96253" cy="122237"/>
          </a:xfrm>
          <a:custGeom>
            <a:avLst/>
            <a:gdLst>
              <a:gd name="T0" fmla="*/ 63 w 226"/>
              <a:gd name="T1" fmla="*/ 236 h 237"/>
              <a:gd name="T2" fmla="*/ 68 w 226"/>
              <a:gd name="T3" fmla="*/ 237 h 237"/>
              <a:gd name="T4" fmla="*/ 75 w 226"/>
              <a:gd name="T5" fmla="*/ 235 h 237"/>
              <a:gd name="T6" fmla="*/ 83 w 226"/>
              <a:gd name="T7" fmla="*/ 234 h 237"/>
              <a:gd name="T8" fmla="*/ 89 w 226"/>
              <a:gd name="T9" fmla="*/ 230 h 237"/>
              <a:gd name="T10" fmla="*/ 96 w 226"/>
              <a:gd name="T11" fmla="*/ 223 h 237"/>
              <a:gd name="T12" fmla="*/ 99 w 226"/>
              <a:gd name="T13" fmla="*/ 214 h 237"/>
              <a:gd name="T14" fmla="*/ 123 w 226"/>
              <a:gd name="T15" fmla="*/ 209 h 237"/>
              <a:gd name="T16" fmla="*/ 166 w 226"/>
              <a:gd name="T17" fmla="*/ 205 h 237"/>
              <a:gd name="T18" fmla="*/ 195 w 226"/>
              <a:gd name="T19" fmla="*/ 198 h 237"/>
              <a:gd name="T20" fmla="*/ 209 w 226"/>
              <a:gd name="T21" fmla="*/ 191 h 237"/>
              <a:gd name="T22" fmla="*/ 220 w 226"/>
              <a:gd name="T23" fmla="*/ 181 h 237"/>
              <a:gd name="T24" fmla="*/ 225 w 226"/>
              <a:gd name="T25" fmla="*/ 168 h 237"/>
              <a:gd name="T26" fmla="*/ 226 w 226"/>
              <a:gd name="T27" fmla="*/ 153 h 237"/>
              <a:gd name="T28" fmla="*/ 223 w 226"/>
              <a:gd name="T29" fmla="*/ 140 h 237"/>
              <a:gd name="T30" fmla="*/ 215 w 226"/>
              <a:gd name="T31" fmla="*/ 123 h 237"/>
              <a:gd name="T32" fmla="*/ 203 w 226"/>
              <a:gd name="T33" fmla="*/ 100 h 237"/>
              <a:gd name="T34" fmla="*/ 196 w 226"/>
              <a:gd name="T35" fmla="*/ 84 h 237"/>
              <a:gd name="T36" fmla="*/ 193 w 226"/>
              <a:gd name="T37" fmla="*/ 74 h 237"/>
              <a:gd name="T38" fmla="*/ 195 w 226"/>
              <a:gd name="T39" fmla="*/ 59 h 237"/>
              <a:gd name="T40" fmla="*/ 200 w 226"/>
              <a:gd name="T41" fmla="*/ 43 h 237"/>
              <a:gd name="T42" fmla="*/ 213 w 226"/>
              <a:gd name="T43" fmla="*/ 25 h 237"/>
              <a:gd name="T44" fmla="*/ 213 w 226"/>
              <a:gd name="T45" fmla="*/ 14 h 237"/>
              <a:gd name="T46" fmla="*/ 191 w 226"/>
              <a:gd name="T47" fmla="*/ 7 h 237"/>
              <a:gd name="T48" fmla="*/ 154 w 226"/>
              <a:gd name="T49" fmla="*/ 2 h 237"/>
              <a:gd name="T50" fmla="*/ 20 w 226"/>
              <a:gd name="T51" fmla="*/ 6 h 237"/>
              <a:gd name="T52" fmla="*/ 18 w 226"/>
              <a:gd name="T53" fmla="*/ 31 h 237"/>
              <a:gd name="T54" fmla="*/ 10 w 226"/>
              <a:gd name="T55" fmla="*/ 54 h 237"/>
              <a:gd name="T56" fmla="*/ 3 w 226"/>
              <a:gd name="T57" fmla="*/ 79 h 237"/>
              <a:gd name="T58" fmla="*/ 0 w 226"/>
              <a:gd name="T59" fmla="*/ 111 h 237"/>
              <a:gd name="T60" fmla="*/ 3 w 226"/>
              <a:gd name="T61" fmla="*/ 130 h 237"/>
              <a:gd name="T62" fmla="*/ 10 w 226"/>
              <a:gd name="T63" fmla="*/ 146 h 237"/>
              <a:gd name="T64" fmla="*/ 30 w 226"/>
              <a:gd name="T65" fmla="*/ 173 h 237"/>
              <a:gd name="T66" fmla="*/ 51 w 226"/>
              <a:gd name="T67" fmla="*/ 199 h 237"/>
              <a:gd name="T68" fmla="*/ 57 w 226"/>
              <a:gd name="T69" fmla="*/ 216 h 237"/>
              <a:gd name="T70" fmla="*/ 61 w 226"/>
              <a:gd name="T71" fmla="*/ 234 h 2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6" name="Freeform 542">
            <a:extLst>
              <a:ext uri="{FF2B5EF4-FFF2-40B4-BE49-F238E27FC236}">
                <a16:creationId xmlns:a16="http://schemas.microsoft.com/office/drawing/2014/main" id="{09B403F3-67B8-4176-9FD4-36C11C4B6165}"/>
              </a:ext>
            </a:extLst>
          </p:cNvPr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10176992" y="3252084"/>
            <a:ext cx="200143" cy="458788"/>
          </a:xfrm>
          <a:custGeom>
            <a:avLst/>
            <a:gdLst>
              <a:gd name="T0" fmla="*/ 287 w 478"/>
              <a:gd name="T1" fmla="*/ 109 h 875"/>
              <a:gd name="T2" fmla="*/ 250 w 478"/>
              <a:gd name="T3" fmla="*/ 138 h 875"/>
              <a:gd name="T4" fmla="*/ 199 w 478"/>
              <a:gd name="T5" fmla="*/ 197 h 875"/>
              <a:gd name="T6" fmla="*/ 198 w 478"/>
              <a:gd name="T7" fmla="*/ 213 h 875"/>
              <a:gd name="T8" fmla="*/ 206 w 478"/>
              <a:gd name="T9" fmla="*/ 239 h 875"/>
              <a:gd name="T10" fmla="*/ 221 w 478"/>
              <a:gd name="T11" fmla="*/ 265 h 875"/>
              <a:gd name="T12" fmla="*/ 240 w 478"/>
              <a:gd name="T13" fmla="*/ 288 h 875"/>
              <a:gd name="T14" fmla="*/ 259 w 478"/>
              <a:gd name="T15" fmla="*/ 301 h 875"/>
              <a:gd name="T16" fmla="*/ 279 w 478"/>
              <a:gd name="T17" fmla="*/ 329 h 875"/>
              <a:gd name="T18" fmla="*/ 295 w 478"/>
              <a:gd name="T19" fmla="*/ 361 h 875"/>
              <a:gd name="T20" fmla="*/ 305 w 478"/>
              <a:gd name="T21" fmla="*/ 369 h 875"/>
              <a:gd name="T22" fmla="*/ 438 w 478"/>
              <a:gd name="T23" fmla="*/ 499 h 875"/>
              <a:gd name="T24" fmla="*/ 471 w 478"/>
              <a:gd name="T25" fmla="*/ 589 h 875"/>
              <a:gd name="T26" fmla="*/ 478 w 478"/>
              <a:gd name="T27" fmla="*/ 647 h 875"/>
              <a:gd name="T28" fmla="*/ 476 w 478"/>
              <a:gd name="T29" fmla="*/ 687 h 875"/>
              <a:gd name="T30" fmla="*/ 478 w 478"/>
              <a:gd name="T31" fmla="*/ 708 h 875"/>
              <a:gd name="T32" fmla="*/ 447 w 478"/>
              <a:gd name="T33" fmla="*/ 718 h 875"/>
              <a:gd name="T34" fmla="*/ 420 w 478"/>
              <a:gd name="T35" fmla="*/ 733 h 875"/>
              <a:gd name="T36" fmla="*/ 391 w 478"/>
              <a:gd name="T37" fmla="*/ 756 h 875"/>
              <a:gd name="T38" fmla="*/ 365 w 478"/>
              <a:gd name="T39" fmla="*/ 789 h 875"/>
              <a:gd name="T40" fmla="*/ 348 w 478"/>
              <a:gd name="T41" fmla="*/ 785 h 875"/>
              <a:gd name="T42" fmla="*/ 319 w 478"/>
              <a:gd name="T43" fmla="*/ 789 h 875"/>
              <a:gd name="T44" fmla="*/ 313 w 478"/>
              <a:gd name="T45" fmla="*/ 804 h 875"/>
              <a:gd name="T46" fmla="*/ 289 w 478"/>
              <a:gd name="T47" fmla="*/ 838 h 875"/>
              <a:gd name="T48" fmla="*/ 256 w 478"/>
              <a:gd name="T49" fmla="*/ 868 h 875"/>
              <a:gd name="T50" fmla="*/ 239 w 478"/>
              <a:gd name="T51" fmla="*/ 875 h 875"/>
              <a:gd name="T52" fmla="*/ 232 w 478"/>
              <a:gd name="T53" fmla="*/ 868 h 875"/>
              <a:gd name="T54" fmla="*/ 225 w 478"/>
              <a:gd name="T55" fmla="*/ 844 h 875"/>
              <a:gd name="T56" fmla="*/ 231 w 478"/>
              <a:gd name="T57" fmla="*/ 800 h 875"/>
              <a:gd name="T58" fmla="*/ 253 w 478"/>
              <a:gd name="T59" fmla="*/ 775 h 875"/>
              <a:gd name="T60" fmla="*/ 277 w 478"/>
              <a:gd name="T61" fmla="*/ 760 h 875"/>
              <a:gd name="T62" fmla="*/ 295 w 478"/>
              <a:gd name="T63" fmla="*/ 753 h 875"/>
              <a:gd name="T64" fmla="*/ 305 w 478"/>
              <a:gd name="T65" fmla="*/ 743 h 875"/>
              <a:gd name="T66" fmla="*/ 314 w 478"/>
              <a:gd name="T67" fmla="*/ 714 h 875"/>
              <a:gd name="T68" fmla="*/ 330 w 478"/>
              <a:gd name="T69" fmla="*/ 686 h 875"/>
              <a:gd name="T70" fmla="*/ 365 w 478"/>
              <a:gd name="T71" fmla="*/ 643 h 875"/>
              <a:gd name="T72" fmla="*/ 371 w 478"/>
              <a:gd name="T73" fmla="*/ 536 h 875"/>
              <a:gd name="T74" fmla="*/ 364 w 478"/>
              <a:gd name="T75" fmla="*/ 475 h 875"/>
              <a:gd name="T76" fmla="*/ 341 w 478"/>
              <a:gd name="T77" fmla="*/ 427 h 875"/>
              <a:gd name="T78" fmla="*/ 297 w 478"/>
              <a:gd name="T79" fmla="*/ 377 h 875"/>
              <a:gd name="T80" fmla="*/ 219 w 478"/>
              <a:gd name="T81" fmla="*/ 308 h 875"/>
              <a:gd name="T82" fmla="*/ 161 w 478"/>
              <a:gd name="T83" fmla="*/ 255 h 875"/>
              <a:gd name="T84" fmla="*/ 108 w 478"/>
              <a:gd name="T85" fmla="*/ 198 h 875"/>
              <a:gd name="T86" fmla="*/ 72 w 478"/>
              <a:gd name="T87" fmla="*/ 146 h 875"/>
              <a:gd name="T88" fmla="*/ 42 w 478"/>
              <a:gd name="T89" fmla="*/ 104 h 875"/>
              <a:gd name="T90" fmla="*/ 46 w 478"/>
              <a:gd name="T91" fmla="*/ 41 h 875"/>
              <a:gd name="T92" fmla="*/ 129 w 478"/>
              <a:gd name="T93" fmla="*/ 19 h 875"/>
              <a:gd name="T94" fmla="*/ 148 w 478"/>
              <a:gd name="T95" fmla="*/ 5 h 875"/>
              <a:gd name="T96" fmla="*/ 175 w 478"/>
              <a:gd name="T97" fmla="*/ 16 h 875"/>
              <a:gd name="T98" fmla="*/ 221 w 478"/>
              <a:gd name="T99" fmla="*/ 35 h 875"/>
              <a:gd name="T100" fmla="*/ 269 w 478"/>
              <a:gd name="T101" fmla="*/ 67 h 8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chemeClr val="accent2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537" name="Freeform 543">
            <a:extLst>
              <a:ext uri="{FF2B5EF4-FFF2-40B4-BE49-F238E27FC236}">
                <a16:creationId xmlns:a16="http://schemas.microsoft.com/office/drawing/2014/main" id="{4CBC5948-A20E-47DD-B921-EE7D2F85E631}"/>
              </a:ext>
            </a:extLst>
          </p:cNvPr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10261021" y="3937884"/>
            <a:ext cx="24445" cy="57150"/>
          </a:xfrm>
          <a:custGeom>
            <a:avLst/>
            <a:gdLst>
              <a:gd name="T0" fmla="*/ 59 w 59"/>
              <a:gd name="T1" fmla="*/ 6 h 31"/>
              <a:gd name="T2" fmla="*/ 57 w 59"/>
              <a:gd name="T3" fmla="*/ 11 h 31"/>
              <a:gd name="T4" fmla="*/ 53 w 59"/>
              <a:gd name="T5" fmla="*/ 15 h 31"/>
              <a:gd name="T6" fmla="*/ 49 w 59"/>
              <a:gd name="T7" fmla="*/ 19 h 31"/>
              <a:gd name="T8" fmla="*/ 45 w 59"/>
              <a:gd name="T9" fmla="*/ 24 h 31"/>
              <a:gd name="T10" fmla="*/ 40 w 59"/>
              <a:gd name="T11" fmla="*/ 27 h 31"/>
              <a:gd name="T12" fmla="*/ 36 w 59"/>
              <a:gd name="T13" fmla="*/ 29 h 31"/>
              <a:gd name="T14" fmla="*/ 30 w 59"/>
              <a:gd name="T15" fmla="*/ 31 h 31"/>
              <a:gd name="T16" fmla="*/ 26 w 59"/>
              <a:gd name="T17" fmla="*/ 31 h 31"/>
              <a:gd name="T18" fmla="*/ 21 w 59"/>
              <a:gd name="T19" fmla="*/ 31 h 31"/>
              <a:gd name="T20" fmla="*/ 17 w 59"/>
              <a:gd name="T21" fmla="*/ 30 h 31"/>
              <a:gd name="T22" fmla="*/ 14 w 59"/>
              <a:gd name="T23" fmla="*/ 29 h 31"/>
              <a:gd name="T24" fmla="*/ 11 w 59"/>
              <a:gd name="T25" fmla="*/ 27 h 31"/>
              <a:gd name="T26" fmla="*/ 4 w 59"/>
              <a:gd name="T27" fmla="*/ 20 h 31"/>
              <a:gd name="T28" fmla="*/ 0 w 59"/>
              <a:gd name="T29" fmla="*/ 12 h 31"/>
              <a:gd name="T30" fmla="*/ 1 w 59"/>
              <a:gd name="T31" fmla="*/ 9 h 31"/>
              <a:gd name="T32" fmla="*/ 3 w 59"/>
              <a:gd name="T33" fmla="*/ 6 h 31"/>
              <a:gd name="T34" fmla="*/ 5 w 59"/>
              <a:gd name="T35" fmla="*/ 4 h 31"/>
              <a:gd name="T36" fmla="*/ 8 w 59"/>
              <a:gd name="T37" fmla="*/ 3 h 31"/>
              <a:gd name="T38" fmla="*/ 16 w 59"/>
              <a:gd name="T39" fmla="*/ 1 h 31"/>
              <a:gd name="T40" fmla="*/ 24 w 59"/>
              <a:gd name="T41" fmla="*/ 0 h 31"/>
              <a:gd name="T42" fmla="*/ 34 w 59"/>
              <a:gd name="T43" fmla="*/ 0 h 31"/>
              <a:gd name="T44" fmla="*/ 42 w 59"/>
              <a:gd name="T45" fmla="*/ 2 h 31"/>
              <a:gd name="T46" fmla="*/ 51 w 59"/>
              <a:gd name="T47" fmla="*/ 4 h 31"/>
              <a:gd name="T48" fmla="*/ 59 w 59"/>
              <a:gd name="T49" fmla="*/ 6 h 3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538" name="Freeform 544">
            <a:extLst>
              <a:ext uri="{FF2B5EF4-FFF2-40B4-BE49-F238E27FC236}">
                <a16:creationId xmlns:a16="http://schemas.microsoft.com/office/drawing/2014/main" id="{E61F627A-4B13-4CD9-A45B-85065C175711}"/>
              </a:ext>
            </a:extLst>
          </p:cNvPr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9002105" y="3196522"/>
            <a:ext cx="168059" cy="271462"/>
          </a:xfrm>
          <a:custGeom>
            <a:avLst/>
            <a:gdLst>
              <a:gd name="T0" fmla="*/ 200 w 399"/>
              <a:gd name="T1" fmla="*/ 8 h 518"/>
              <a:gd name="T2" fmla="*/ 202 w 399"/>
              <a:gd name="T3" fmla="*/ 22 h 518"/>
              <a:gd name="T4" fmla="*/ 208 w 399"/>
              <a:gd name="T5" fmla="*/ 36 h 518"/>
              <a:gd name="T6" fmla="*/ 214 w 399"/>
              <a:gd name="T7" fmla="*/ 49 h 518"/>
              <a:gd name="T8" fmla="*/ 224 w 399"/>
              <a:gd name="T9" fmla="*/ 63 h 518"/>
              <a:gd name="T10" fmla="*/ 235 w 399"/>
              <a:gd name="T11" fmla="*/ 75 h 518"/>
              <a:gd name="T12" fmla="*/ 249 w 399"/>
              <a:gd name="T13" fmla="*/ 86 h 518"/>
              <a:gd name="T14" fmla="*/ 264 w 399"/>
              <a:gd name="T15" fmla="*/ 95 h 518"/>
              <a:gd name="T16" fmla="*/ 316 w 399"/>
              <a:gd name="T17" fmla="*/ 106 h 518"/>
              <a:gd name="T18" fmla="*/ 365 w 399"/>
              <a:gd name="T19" fmla="*/ 119 h 518"/>
              <a:gd name="T20" fmla="*/ 380 w 399"/>
              <a:gd name="T21" fmla="*/ 127 h 518"/>
              <a:gd name="T22" fmla="*/ 392 w 399"/>
              <a:gd name="T23" fmla="*/ 137 h 518"/>
              <a:gd name="T24" fmla="*/ 398 w 399"/>
              <a:gd name="T25" fmla="*/ 151 h 518"/>
              <a:gd name="T26" fmla="*/ 398 w 399"/>
              <a:gd name="T27" fmla="*/ 174 h 518"/>
              <a:gd name="T28" fmla="*/ 390 w 399"/>
              <a:gd name="T29" fmla="*/ 200 h 518"/>
              <a:gd name="T30" fmla="*/ 369 w 399"/>
              <a:gd name="T31" fmla="*/ 239 h 518"/>
              <a:gd name="T32" fmla="*/ 344 w 399"/>
              <a:gd name="T33" fmla="*/ 276 h 518"/>
              <a:gd name="T34" fmla="*/ 328 w 399"/>
              <a:gd name="T35" fmla="*/ 303 h 518"/>
              <a:gd name="T36" fmla="*/ 314 w 399"/>
              <a:gd name="T37" fmla="*/ 330 h 518"/>
              <a:gd name="T38" fmla="*/ 307 w 399"/>
              <a:gd name="T39" fmla="*/ 360 h 518"/>
              <a:gd name="T40" fmla="*/ 297 w 399"/>
              <a:gd name="T41" fmla="*/ 377 h 518"/>
              <a:gd name="T42" fmla="*/ 268 w 399"/>
              <a:gd name="T43" fmla="*/ 387 h 518"/>
              <a:gd name="T44" fmla="*/ 246 w 399"/>
              <a:gd name="T45" fmla="*/ 399 h 518"/>
              <a:gd name="T46" fmla="*/ 235 w 399"/>
              <a:gd name="T47" fmla="*/ 408 h 518"/>
              <a:gd name="T48" fmla="*/ 227 w 399"/>
              <a:gd name="T49" fmla="*/ 417 h 518"/>
              <a:gd name="T50" fmla="*/ 224 w 399"/>
              <a:gd name="T51" fmla="*/ 427 h 518"/>
              <a:gd name="T52" fmla="*/ 213 w 399"/>
              <a:gd name="T53" fmla="*/ 438 h 518"/>
              <a:gd name="T54" fmla="*/ 188 w 399"/>
              <a:gd name="T55" fmla="*/ 450 h 518"/>
              <a:gd name="T56" fmla="*/ 173 w 399"/>
              <a:gd name="T57" fmla="*/ 456 h 518"/>
              <a:gd name="T58" fmla="*/ 166 w 399"/>
              <a:gd name="T59" fmla="*/ 467 h 518"/>
              <a:gd name="T60" fmla="*/ 158 w 399"/>
              <a:gd name="T61" fmla="*/ 481 h 518"/>
              <a:gd name="T62" fmla="*/ 146 w 399"/>
              <a:gd name="T63" fmla="*/ 490 h 518"/>
              <a:gd name="T64" fmla="*/ 131 w 399"/>
              <a:gd name="T65" fmla="*/ 494 h 518"/>
              <a:gd name="T66" fmla="*/ 102 w 399"/>
              <a:gd name="T67" fmla="*/ 498 h 518"/>
              <a:gd name="T68" fmla="*/ 73 w 399"/>
              <a:gd name="T69" fmla="*/ 504 h 518"/>
              <a:gd name="T70" fmla="*/ 55 w 399"/>
              <a:gd name="T71" fmla="*/ 512 h 518"/>
              <a:gd name="T72" fmla="*/ 46 w 399"/>
              <a:gd name="T73" fmla="*/ 514 h 518"/>
              <a:gd name="T74" fmla="*/ 43 w 399"/>
              <a:gd name="T75" fmla="*/ 506 h 518"/>
              <a:gd name="T76" fmla="*/ 38 w 399"/>
              <a:gd name="T77" fmla="*/ 497 h 518"/>
              <a:gd name="T78" fmla="*/ 34 w 399"/>
              <a:gd name="T79" fmla="*/ 487 h 518"/>
              <a:gd name="T80" fmla="*/ 33 w 399"/>
              <a:gd name="T81" fmla="*/ 468 h 518"/>
              <a:gd name="T82" fmla="*/ 29 w 399"/>
              <a:gd name="T83" fmla="*/ 445 h 518"/>
              <a:gd name="T84" fmla="*/ 17 w 399"/>
              <a:gd name="T85" fmla="*/ 418 h 518"/>
              <a:gd name="T86" fmla="*/ 0 w 399"/>
              <a:gd name="T87" fmla="*/ 358 h 518"/>
              <a:gd name="T88" fmla="*/ 194 w 399"/>
              <a:gd name="T89" fmla="*/ 185 h 518"/>
              <a:gd name="T90" fmla="*/ 200 w 399"/>
              <a:gd name="T91" fmla="*/ 0 h 5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39" name="Freeform 545">
            <a:extLst>
              <a:ext uri="{FF2B5EF4-FFF2-40B4-BE49-F238E27FC236}">
                <a16:creationId xmlns:a16="http://schemas.microsoft.com/office/drawing/2014/main" id="{FE9E526E-6700-4AA2-BA11-6E504A793B01}"/>
              </a:ext>
            </a:extLst>
          </p:cNvPr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7776799" y="3250497"/>
            <a:ext cx="362092" cy="385762"/>
          </a:xfrm>
          <a:custGeom>
            <a:avLst/>
            <a:gdLst>
              <a:gd name="T0" fmla="*/ 231 w 866"/>
              <a:gd name="T1" fmla="*/ 270 h 740"/>
              <a:gd name="T2" fmla="*/ 245 w 866"/>
              <a:gd name="T3" fmla="*/ 264 h 740"/>
              <a:gd name="T4" fmla="*/ 272 w 866"/>
              <a:gd name="T5" fmla="*/ 272 h 740"/>
              <a:gd name="T6" fmla="*/ 654 w 866"/>
              <a:gd name="T7" fmla="*/ 1 h 740"/>
              <a:gd name="T8" fmla="*/ 679 w 866"/>
              <a:gd name="T9" fmla="*/ 6 h 740"/>
              <a:gd name="T10" fmla="*/ 711 w 866"/>
              <a:gd name="T11" fmla="*/ 21 h 740"/>
              <a:gd name="T12" fmla="*/ 730 w 866"/>
              <a:gd name="T13" fmla="*/ 35 h 740"/>
              <a:gd name="T14" fmla="*/ 760 w 866"/>
              <a:gd name="T15" fmla="*/ 57 h 740"/>
              <a:gd name="T16" fmla="*/ 791 w 866"/>
              <a:gd name="T17" fmla="*/ 59 h 740"/>
              <a:gd name="T18" fmla="*/ 831 w 866"/>
              <a:gd name="T19" fmla="*/ 43 h 740"/>
              <a:gd name="T20" fmla="*/ 854 w 866"/>
              <a:gd name="T21" fmla="*/ 166 h 740"/>
              <a:gd name="T22" fmla="*/ 866 w 866"/>
              <a:gd name="T23" fmla="*/ 205 h 740"/>
              <a:gd name="T24" fmla="*/ 850 w 866"/>
              <a:gd name="T25" fmla="*/ 301 h 740"/>
              <a:gd name="T26" fmla="*/ 848 w 866"/>
              <a:gd name="T27" fmla="*/ 376 h 740"/>
              <a:gd name="T28" fmla="*/ 834 w 866"/>
              <a:gd name="T29" fmla="*/ 421 h 740"/>
              <a:gd name="T30" fmla="*/ 802 w 866"/>
              <a:gd name="T31" fmla="*/ 467 h 740"/>
              <a:gd name="T32" fmla="*/ 777 w 866"/>
              <a:gd name="T33" fmla="*/ 499 h 740"/>
              <a:gd name="T34" fmla="*/ 758 w 866"/>
              <a:gd name="T35" fmla="*/ 567 h 740"/>
              <a:gd name="T36" fmla="*/ 711 w 866"/>
              <a:gd name="T37" fmla="*/ 629 h 740"/>
              <a:gd name="T38" fmla="*/ 680 w 866"/>
              <a:gd name="T39" fmla="*/ 646 h 740"/>
              <a:gd name="T40" fmla="*/ 644 w 866"/>
              <a:gd name="T41" fmla="*/ 638 h 740"/>
              <a:gd name="T42" fmla="*/ 611 w 866"/>
              <a:gd name="T43" fmla="*/ 625 h 740"/>
              <a:gd name="T44" fmla="*/ 566 w 866"/>
              <a:gd name="T45" fmla="*/ 633 h 740"/>
              <a:gd name="T46" fmla="*/ 530 w 866"/>
              <a:gd name="T47" fmla="*/ 659 h 740"/>
              <a:gd name="T48" fmla="*/ 511 w 866"/>
              <a:gd name="T49" fmla="*/ 680 h 740"/>
              <a:gd name="T50" fmla="*/ 491 w 866"/>
              <a:gd name="T51" fmla="*/ 684 h 740"/>
              <a:gd name="T52" fmla="*/ 470 w 866"/>
              <a:gd name="T53" fmla="*/ 668 h 740"/>
              <a:gd name="T54" fmla="*/ 446 w 866"/>
              <a:gd name="T55" fmla="*/ 639 h 740"/>
              <a:gd name="T56" fmla="*/ 421 w 866"/>
              <a:gd name="T57" fmla="*/ 635 h 740"/>
              <a:gd name="T58" fmla="*/ 405 w 866"/>
              <a:gd name="T59" fmla="*/ 647 h 740"/>
              <a:gd name="T60" fmla="*/ 384 w 866"/>
              <a:gd name="T61" fmla="*/ 652 h 740"/>
              <a:gd name="T62" fmla="*/ 350 w 866"/>
              <a:gd name="T63" fmla="*/ 638 h 740"/>
              <a:gd name="T64" fmla="*/ 306 w 866"/>
              <a:gd name="T65" fmla="*/ 608 h 740"/>
              <a:gd name="T66" fmla="*/ 271 w 866"/>
              <a:gd name="T67" fmla="*/ 604 h 740"/>
              <a:gd name="T68" fmla="*/ 237 w 866"/>
              <a:gd name="T69" fmla="*/ 620 h 740"/>
              <a:gd name="T70" fmla="*/ 209 w 866"/>
              <a:gd name="T71" fmla="*/ 653 h 740"/>
              <a:gd name="T72" fmla="*/ 190 w 866"/>
              <a:gd name="T73" fmla="*/ 692 h 740"/>
              <a:gd name="T74" fmla="*/ 178 w 866"/>
              <a:gd name="T75" fmla="*/ 719 h 740"/>
              <a:gd name="T76" fmla="*/ 149 w 866"/>
              <a:gd name="T77" fmla="*/ 702 h 740"/>
              <a:gd name="T78" fmla="*/ 100 w 866"/>
              <a:gd name="T79" fmla="*/ 740 h 740"/>
              <a:gd name="T80" fmla="*/ 66 w 866"/>
              <a:gd name="T81" fmla="*/ 699 h 740"/>
              <a:gd name="T82" fmla="*/ 64 w 866"/>
              <a:gd name="T83" fmla="*/ 644 h 740"/>
              <a:gd name="T84" fmla="*/ 50 w 866"/>
              <a:gd name="T85" fmla="*/ 613 h 740"/>
              <a:gd name="T86" fmla="*/ 20 w 866"/>
              <a:gd name="T87" fmla="*/ 587 h 740"/>
              <a:gd name="T88" fmla="*/ 5 w 866"/>
              <a:gd name="T89" fmla="*/ 558 h 740"/>
              <a:gd name="T90" fmla="*/ 53 w 866"/>
              <a:gd name="T91" fmla="*/ 530 h 740"/>
              <a:gd name="T92" fmla="*/ 76 w 866"/>
              <a:gd name="T93" fmla="*/ 518 h 740"/>
              <a:gd name="T94" fmla="*/ 139 w 866"/>
              <a:gd name="T95" fmla="*/ 510 h 740"/>
              <a:gd name="T96" fmla="*/ 182 w 866"/>
              <a:gd name="T97" fmla="*/ 500 h 740"/>
              <a:gd name="T98" fmla="*/ 201 w 866"/>
              <a:gd name="T99" fmla="*/ 475 h 740"/>
              <a:gd name="T100" fmla="*/ 219 w 866"/>
              <a:gd name="T101" fmla="*/ 424 h 740"/>
              <a:gd name="T102" fmla="*/ 224 w 866"/>
              <a:gd name="T103" fmla="*/ 367 h 740"/>
              <a:gd name="T104" fmla="*/ 219 w 866"/>
              <a:gd name="T105" fmla="*/ 320 h 7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540" name="Freeform 546">
            <a:extLst>
              <a:ext uri="{FF2B5EF4-FFF2-40B4-BE49-F238E27FC236}">
                <a16:creationId xmlns:a16="http://schemas.microsoft.com/office/drawing/2014/main" id="{25494209-A6E7-4C24-BE86-DBA971ADC70C}"/>
              </a:ext>
            </a:extLst>
          </p:cNvPr>
          <p:cNvSpPr>
            <a:spLocks/>
          </p:cNvSpPr>
          <p:nvPr>
            <p:custDataLst>
              <p:tags r:id="rId371"/>
            </p:custDataLst>
          </p:nvPr>
        </p:nvSpPr>
        <p:spPr bwMode="auto">
          <a:xfrm>
            <a:off x="7459015" y="2867909"/>
            <a:ext cx="288757" cy="260350"/>
          </a:xfrm>
          <a:custGeom>
            <a:avLst/>
            <a:gdLst>
              <a:gd name="T0" fmla="*/ 648 w 697"/>
              <a:gd name="T1" fmla="*/ 53 h 500"/>
              <a:gd name="T2" fmla="*/ 657 w 697"/>
              <a:gd name="T3" fmla="*/ 161 h 500"/>
              <a:gd name="T4" fmla="*/ 661 w 697"/>
              <a:gd name="T5" fmla="*/ 167 h 500"/>
              <a:gd name="T6" fmla="*/ 677 w 697"/>
              <a:gd name="T7" fmla="*/ 177 h 500"/>
              <a:gd name="T8" fmla="*/ 694 w 697"/>
              <a:gd name="T9" fmla="*/ 189 h 500"/>
              <a:gd name="T10" fmla="*/ 697 w 697"/>
              <a:gd name="T11" fmla="*/ 198 h 500"/>
              <a:gd name="T12" fmla="*/ 694 w 697"/>
              <a:gd name="T13" fmla="*/ 211 h 500"/>
              <a:gd name="T14" fmla="*/ 685 w 697"/>
              <a:gd name="T15" fmla="*/ 217 h 500"/>
              <a:gd name="T16" fmla="*/ 655 w 697"/>
              <a:gd name="T17" fmla="*/ 218 h 500"/>
              <a:gd name="T18" fmla="*/ 605 w 697"/>
              <a:gd name="T19" fmla="*/ 228 h 500"/>
              <a:gd name="T20" fmla="*/ 567 w 697"/>
              <a:gd name="T21" fmla="*/ 250 h 500"/>
              <a:gd name="T22" fmla="*/ 549 w 697"/>
              <a:gd name="T23" fmla="*/ 267 h 500"/>
              <a:gd name="T24" fmla="*/ 539 w 697"/>
              <a:gd name="T25" fmla="*/ 288 h 500"/>
              <a:gd name="T26" fmla="*/ 521 w 697"/>
              <a:gd name="T27" fmla="*/ 302 h 500"/>
              <a:gd name="T28" fmla="*/ 491 w 697"/>
              <a:gd name="T29" fmla="*/ 324 h 500"/>
              <a:gd name="T30" fmla="*/ 455 w 697"/>
              <a:gd name="T31" fmla="*/ 352 h 500"/>
              <a:gd name="T32" fmla="*/ 420 w 697"/>
              <a:gd name="T33" fmla="*/ 370 h 500"/>
              <a:gd name="T34" fmla="*/ 372 w 697"/>
              <a:gd name="T35" fmla="*/ 377 h 500"/>
              <a:gd name="T36" fmla="*/ 344 w 697"/>
              <a:gd name="T37" fmla="*/ 380 h 500"/>
              <a:gd name="T38" fmla="*/ 316 w 697"/>
              <a:gd name="T39" fmla="*/ 396 h 500"/>
              <a:gd name="T40" fmla="*/ 290 w 697"/>
              <a:gd name="T41" fmla="*/ 417 h 500"/>
              <a:gd name="T42" fmla="*/ 265 w 697"/>
              <a:gd name="T43" fmla="*/ 426 h 500"/>
              <a:gd name="T44" fmla="*/ 5 w 697"/>
              <a:gd name="T45" fmla="*/ 496 h 500"/>
              <a:gd name="T46" fmla="*/ 32 w 697"/>
              <a:gd name="T47" fmla="*/ 487 h 500"/>
              <a:gd name="T48" fmla="*/ 85 w 697"/>
              <a:gd name="T49" fmla="*/ 473 h 500"/>
              <a:gd name="T50" fmla="*/ 93 w 697"/>
              <a:gd name="T51" fmla="*/ 459 h 500"/>
              <a:gd name="T52" fmla="*/ 99 w 697"/>
              <a:gd name="T53" fmla="*/ 438 h 500"/>
              <a:gd name="T54" fmla="*/ 119 w 697"/>
              <a:gd name="T55" fmla="*/ 422 h 500"/>
              <a:gd name="T56" fmla="*/ 160 w 697"/>
              <a:gd name="T57" fmla="*/ 399 h 500"/>
              <a:gd name="T58" fmla="*/ 181 w 697"/>
              <a:gd name="T59" fmla="*/ 382 h 500"/>
              <a:gd name="T60" fmla="*/ 192 w 697"/>
              <a:gd name="T61" fmla="*/ 357 h 500"/>
              <a:gd name="T62" fmla="*/ 193 w 697"/>
              <a:gd name="T63" fmla="*/ 316 h 500"/>
              <a:gd name="T64" fmla="*/ 195 w 697"/>
              <a:gd name="T65" fmla="*/ 254 h 500"/>
              <a:gd name="T66" fmla="*/ 192 w 697"/>
              <a:gd name="T67" fmla="*/ 192 h 500"/>
              <a:gd name="T68" fmla="*/ 214 w 697"/>
              <a:gd name="T69" fmla="*/ 189 h 500"/>
              <a:gd name="T70" fmla="*/ 228 w 697"/>
              <a:gd name="T71" fmla="*/ 179 h 500"/>
              <a:gd name="T72" fmla="*/ 241 w 697"/>
              <a:gd name="T73" fmla="*/ 165 h 500"/>
              <a:gd name="T74" fmla="*/ 252 w 697"/>
              <a:gd name="T75" fmla="*/ 152 h 500"/>
              <a:gd name="T76" fmla="*/ 281 w 697"/>
              <a:gd name="T77" fmla="*/ 146 h 500"/>
              <a:gd name="T78" fmla="*/ 314 w 697"/>
              <a:gd name="T79" fmla="*/ 143 h 500"/>
              <a:gd name="T80" fmla="*/ 340 w 697"/>
              <a:gd name="T81" fmla="*/ 131 h 500"/>
              <a:gd name="T82" fmla="*/ 360 w 697"/>
              <a:gd name="T83" fmla="*/ 108 h 500"/>
              <a:gd name="T84" fmla="*/ 388 w 697"/>
              <a:gd name="T85" fmla="*/ 48 h 500"/>
              <a:gd name="T86" fmla="*/ 407 w 697"/>
              <a:gd name="T87" fmla="*/ 12 h 500"/>
              <a:gd name="T88" fmla="*/ 426 w 697"/>
              <a:gd name="T89" fmla="*/ 8 h 500"/>
              <a:gd name="T90" fmla="*/ 449 w 697"/>
              <a:gd name="T91" fmla="*/ 20 h 500"/>
              <a:gd name="T92" fmla="*/ 512 w 697"/>
              <a:gd name="T93" fmla="*/ 18 h 500"/>
              <a:gd name="T94" fmla="*/ 590 w 697"/>
              <a:gd name="T95" fmla="*/ 13 h 500"/>
              <a:gd name="T96" fmla="*/ 597 w 697"/>
              <a:gd name="T97" fmla="*/ 17 h 500"/>
              <a:gd name="T98" fmla="*/ 605 w 697"/>
              <a:gd name="T99" fmla="*/ 36 h 500"/>
              <a:gd name="T100" fmla="*/ 611 w 697"/>
              <a:gd name="T101" fmla="*/ 51 h 500"/>
              <a:gd name="T102" fmla="*/ 618 w 697"/>
              <a:gd name="T103" fmla="*/ 50 h 5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chemeClr val="accent2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/>
          <a:lstStyle/>
          <a:p>
            <a:endParaRPr lang="en-US"/>
          </a:p>
        </p:txBody>
      </p:sp>
      <p:sp>
        <p:nvSpPr>
          <p:cNvPr id="541" name="Freeform 547">
            <a:extLst>
              <a:ext uri="{FF2B5EF4-FFF2-40B4-BE49-F238E27FC236}">
                <a16:creationId xmlns:a16="http://schemas.microsoft.com/office/drawing/2014/main" id="{354F88AF-EC13-4163-8516-7B6C54750B33}"/>
              </a:ext>
            </a:extLst>
          </p:cNvPr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8132781" y="1797935"/>
            <a:ext cx="227643" cy="92075"/>
          </a:xfrm>
          <a:custGeom>
            <a:avLst/>
            <a:gdLst>
              <a:gd name="T0" fmla="*/ 74 w 546"/>
              <a:gd name="T1" fmla="*/ 19 h 173"/>
              <a:gd name="T2" fmla="*/ 94 w 546"/>
              <a:gd name="T3" fmla="*/ 34 h 173"/>
              <a:gd name="T4" fmla="*/ 110 w 546"/>
              <a:gd name="T5" fmla="*/ 27 h 173"/>
              <a:gd name="T6" fmla="*/ 132 w 546"/>
              <a:gd name="T7" fmla="*/ 27 h 173"/>
              <a:gd name="T8" fmla="*/ 161 w 546"/>
              <a:gd name="T9" fmla="*/ 44 h 173"/>
              <a:gd name="T10" fmla="*/ 209 w 546"/>
              <a:gd name="T11" fmla="*/ 19 h 173"/>
              <a:gd name="T12" fmla="*/ 243 w 546"/>
              <a:gd name="T13" fmla="*/ 19 h 173"/>
              <a:gd name="T14" fmla="*/ 260 w 546"/>
              <a:gd name="T15" fmla="*/ 16 h 173"/>
              <a:gd name="T16" fmla="*/ 269 w 546"/>
              <a:gd name="T17" fmla="*/ 14 h 173"/>
              <a:gd name="T18" fmla="*/ 279 w 546"/>
              <a:gd name="T19" fmla="*/ 11 h 173"/>
              <a:gd name="T20" fmla="*/ 286 w 546"/>
              <a:gd name="T21" fmla="*/ 3 h 173"/>
              <a:gd name="T22" fmla="*/ 321 w 546"/>
              <a:gd name="T23" fmla="*/ 5 h 173"/>
              <a:gd name="T24" fmla="*/ 333 w 546"/>
              <a:gd name="T25" fmla="*/ 12 h 173"/>
              <a:gd name="T26" fmla="*/ 348 w 546"/>
              <a:gd name="T27" fmla="*/ 7 h 173"/>
              <a:gd name="T28" fmla="*/ 353 w 546"/>
              <a:gd name="T29" fmla="*/ 0 h 173"/>
              <a:gd name="T30" fmla="*/ 367 w 546"/>
              <a:gd name="T31" fmla="*/ 7 h 173"/>
              <a:gd name="T32" fmla="*/ 389 w 546"/>
              <a:gd name="T33" fmla="*/ 7 h 173"/>
              <a:gd name="T34" fmla="*/ 436 w 546"/>
              <a:gd name="T35" fmla="*/ 1 h 173"/>
              <a:gd name="T36" fmla="*/ 482 w 546"/>
              <a:gd name="T37" fmla="*/ 6 h 173"/>
              <a:gd name="T38" fmla="*/ 528 w 546"/>
              <a:gd name="T39" fmla="*/ 12 h 173"/>
              <a:gd name="T40" fmla="*/ 545 w 546"/>
              <a:gd name="T41" fmla="*/ 49 h 173"/>
              <a:gd name="T42" fmla="*/ 537 w 546"/>
              <a:gd name="T43" fmla="*/ 60 h 173"/>
              <a:gd name="T44" fmla="*/ 513 w 546"/>
              <a:gd name="T45" fmla="*/ 62 h 173"/>
              <a:gd name="T46" fmla="*/ 483 w 546"/>
              <a:gd name="T47" fmla="*/ 54 h 173"/>
              <a:gd name="T48" fmla="*/ 413 w 546"/>
              <a:gd name="T49" fmla="*/ 44 h 173"/>
              <a:gd name="T50" fmla="*/ 438 w 546"/>
              <a:gd name="T51" fmla="*/ 81 h 173"/>
              <a:gd name="T52" fmla="*/ 471 w 546"/>
              <a:gd name="T53" fmla="*/ 102 h 173"/>
              <a:gd name="T54" fmla="*/ 493 w 546"/>
              <a:gd name="T55" fmla="*/ 119 h 173"/>
              <a:gd name="T56" fmla="*/ 475 w 546"/>
              <a:gd name="T57" fmla="*/ 136 h 173"/>
              <a:gd name="T58" fmla="*/ 449 w 546"/>
              <a:gd name="T59" fmla="*/ 142 h 173"/>
              <a:gd name="T60" fmla="*/ 426 w 546"/>
              <a:gd name="T61" fmla="*/ 141 h 173"/>
              <a:gd name="T62" fmla="*/ 412 w 546"/>
              <a:gd name="T63" fmla="*/ 134 h 173"/>
              <a:gd name="T64" fmla="*/ 399 w 546"/>
              <a:gd name="T65" fmla="*/ 130 h 173"/>
              <a:gd name="T66" fmla="*/ 385 w 546"/>
              <a:gd name="T67" fmla="*/ 121 h 173"/>
              <a:gd name="T68" fmla="*/ 375 w 546"/>
              <a:gd name="T69" fmla="*/ 104 h 173"/>
              <a:gd name="T70" fmla="*/ 365 w 546"/>
              <a:gd name="T71" fmla="*/ 92 h 173"/>
              <a:gd name="T72" fmla="*/ 344 w 546"/>
              <a:gd name="T73" fmla="*/ 84 h 173"/>
              <a:gd name="T74" fmla="*/ 325 w 546"/>
              <a:gd name="T75" fmla="*/ 76 h 173"/>
              <a:gd name="T76" fmla="*/ 303 w 546"/>
              <a:gd name="T77" fmla="*/ 87 h 173"/>
              <a:gd name="T78" fmla="*/ 258 w 546"/>
              <a:gd name="T79" fmla="*/ 134 h 173"/>
              <a:gd name="T80" fmla="*/ 236 w 546"/>
              <a:gd name="T81" fmla="*/ 163 h 173"/>
              <a:gd name="T82" fmla="*/ 220 w 546"/>
              <a:gd name="T83" fmla="*/ 172 h 173"/>
              <a:gd name="T84" fmla="*/ 188 w 546"/>
              <a:gd name="T85" fmla="*/ 167 h 173"/>
              <a:gd name="T86" fmla="*/ 165 w 546"/>
              <a:gd name="T87" fmla="*/ 155 h 173"/>
              <a:gd name="T88" fmla="*/ 113 w 546"/>
              <a:gd name="T89" fmla="*/ 105 h 173"/>
              <a:gd name="T90" fmla="*/ 95 w 546"/>
              <a:gd name="T91" fmla="*/ 91 h 173"/>
              <a:gd name="T92" fmla="*/ 60 w 546"/>
              <a:gd name="T93" fmla="*/ 76 h 173"/>
              <a:gd name="T94" fmla="*/ 16 w 546"/>
              <a:gd name="T95" fmla="*/ 58 h 173"/>
              <a:gd name="T96" fmla="*/ 11 w 546"/>
              <a:gd name="T97" fmla="*/ 34 h 173"/>
              <a:gd name="T98" fmla="*/ 28 w 546"/>
              <a:gd name="T99" fmla="*/ 19 h 173"/>
              <a:gd name="T100" fmla="*/ 47 w 546"/>
              <a:gd name="T101" fmla="*/ 12 h 17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2" name="Freeform 548">
            <a:extLst>
              <a:ext uri="{FF2B5EF4-FFF2-40B4-BE49-F238E27FC236}">
                <a16:creationId xmlns:a16="http://schemas.microsoft.com/office/drawing/2014/main" id="{FBB71F12-9E8A-4D97-88E0-D52E45FB83A1}"/>
              </a:ext>
            </a:extLst>
          </p:cNvPr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8624735" y="1782060"/>
            <a:ext cx="103891" cy="60325"/>
          </a:xfrm>
          <a:custGeom>
            <a:avLst/>
            <a:gdLst>
              <a:gd name="T0" fmla="*/ 27 w 246"/>
              <a:gd name="T1" fmla="*/ 36 h 42"/>
              <a:gd name="T2" fmla="*/ 36 w 246"/>
              <a:gd name="T3" fmla="*/ 36 h 42"/>
              <a:gd name="T4" fmla="*/ 45 w 246"/>
              <a:gd name="T5" fmla="*/ 35 h 42"/>
              <a:gd name="T6" fmla="*/ 53 w 246"/>
              <a:gd name="T7" fmla="*/ 33 h 42"/>
              <a:gd name="T8" fmla="*/ 59 w 246"/>
              <a:gd name="T9" fmla="*/ 31 h 42"/>
              <a:gd name="T10" fmla="*/ 66 w 246"/>
              <a:gd name="T11" fmla="*/ 30 h 42"/>
              <a:gd name="T12" fmla="*/ 72 w 246"/>
              <a:gd name="T13" fmla="*/ 29 h 42"/>
              <a:gd name="T14" fmla="*/ 80 w 246"/>
              <a:gd name="T15" fmla="*/ 29 h 42"/>
              <a:gd name="T16" fmla="*/ 87 w 246"/>
              <a:gd name="T17" fmla="*/ 30 h 42"/>
              <a:gd name="T18" fmla="*/ 87 w 246"/>
              <a:gd name="T19" fmla="*/ 42 h 42"/>
              <a:gd name="T20" fmla="*/ 154 w 246"/>
              <a:gd name="T21" fmla="*/ 42 h 42"/>
              <a:gd name="T22" fmla="*/ 154 w 246"/>
              <a:gd name="T23" fmla="*/ 39 h 42"/>
              <a:gd name="T24" fmla="*/ 156 w 246"/>
              <a:gd name="T25" fmla="*/ 36 h 42"/>
              <a:gd name="T26" fmla="*/ 159 w 246"/>
              <a:gd name="T27" fmla="*/ 33 h 42"/>
              <a:gd name="T28" fmla="*/ 163 w 246"/>
              <a:gd name="T29" fmla="*/ 31 h 42"/>
              <a:gd name="T30" fmla="*/ 175 w 246"/>
              <a:gd name="T31" fmla="*/ 26 h 42"/>
              <a:gd name="T32" fmla="*/ 190 w 246"/>
              <a:gd name="T33" fmla="*/ 23 h 42"/>
              <a:gd name="T34" fmla="*/ 221 w 246"/>
              <a:gd name="T35" fmla="*/ 17 h 42"/>
              <a:gd name="T36" fmla="*/ 246 w 246"/>
              <a:gd name="T37" fmla="*/ 12 h 42"/>
              <a:gd name="T38" fmla="*/ 212 w 246"/>
              <a:gd name="T39" fmla="*/ 13 h 42"/>
              <a:gd name="T40" fmla="*/ 186 w 246"/>
              <a:gd name="T41" fmla="*/ 14 h 42"/>
              <a:gd name="T42" fmla="*/ 178 w 246"/>
              <a:gd name="T43" fmla="*/ 15 h 42"/>
              <a:gd name="T44" fmla="*/ 171 w 246"/>
              <a:gd name="T45" fmla="*/ 15 h 42"/>
              <a:gd name="T46" fmla="*/ 168 w 246"/>
              <a:gd name="T47" fmla="*/ 14 h 42"/>
              <a:gd name="T48" fmla="*/ 167 w 246"/>
              <a:gd name="T49" fmla="*/ 12 h 42"/>
              <a:gd name="T50" fmla="*/ 159 w 246"/>
              <a:gd name="T51" fmla="*/ 16 h 42"/>
              <a:gd name="T52" fmla="*/ 152 w 246"/>
              <a:gd name="T53" fmla="*/ 17 h 42"/>
              <a:gd name="T54" fmla="*/ 147 w 246"/>
              <a:gd name="T55" fmla="*/ 17 h 42"/>
              <a:gd name="T56" fmla="*/ 141 w 246"/>
              <a:gd name="T57" fmla="*/ 15 h 42"/>
              <a:gd name="T58" fmla="*/ 137 w 246"/>
              <a:gd name="T59" fmla="*/ 12 h 42"/>
              <a:gd name="T60" fmla="*/ 133 w 246"/>
              <a:gd name="T61" fmla="*/ 9 h 42"/>
              <a:gd name="T62" fmla="*/ 129 w 246"/>
              <a:gd name="T63" fmla="*/ 5 h 42"/>
              <a:gd name="T64" fmla="*/ 126 w 246"/>
              <a:gd name="T65" fmla="*/ 0 h 42"/>
              <a:gd name="T66" fmla="*/ 121 w 246"/>
              <a:gd name="T67" fmla="*/ 2 h 42"/>
              <a:gd name="T68" fmla="*/ 113 w 246"/>
              <a:gd name="T69" fmla="*/ 4 h 42"/>
              <a:gd name="T70" fmla="*/ 103 w 246"/>
              <a:gd name="T71" fmla="*/ 5 h 42"/>
              <a:gd name="T72" fmla="*/ 93 w 246"/>
              <a:gd name="T73" fmla="*/ 5 h 42"/>
              <a:gd name="T74" fmla="*/ 74 w 246"/>
              <a:gd name="T75" fmla="*/ 6 h 42"/>
              <a:gd name="T76" fmla="*/ 60 w 246"/>
              <a:gd name="T77" fmla="*/ 6 h 42"/>
              <a:gd name="T78" fmla="*/ 58 w 246"/>
              <a:gd name="T79" fmla="*/ 9 h 42"/>
              <a:gd name="T80" fmla="*/ 56 w 246"/>
              <a:gd name="T81" fmla="*/ 12 h 42"/>
              <a:gd name="T82" fmla="*/ 54 w 246"/>
              <a:gd name="T83" fmla="*/ 15 h 42"/>
              <a:gd name="T84" fmla="*/ 50 w 246"/>
              <a:gd name="T85" fmla="*/ 17 h 42"/>
              <a:gd name="T86" fmla="*/ 42 w 246"/>
              <a:gd name="T87" fmla="*/ 20 h 42"/>
              <a:gd name="T88" fmla="*/ 33 w 246"/>
              <a:gd name="T89" fmla="*/ 22 h 42"/>
              <a:gd name="T90" fmla="*/ 14 w 246"/>
              <a:gd name="T91" fmla="*/ 24 h 42"/>
              <a:gd name="T92" fmla="*/ 0 w 246"/>
              <a:gd name="T93" fmla="*/ 24 h 42"/>
              <a:gd name="T94" fmla="*/ 1 w 246"/>
              <a:gd name="T95" fmla="*/ 27 h 42"/>
              <a:gd name="T96" fmla="*/ 3 w 246"/>
              <a:gd name="T97" fmla="*/ 29 h 42"/>
              <a:gd name="T98" fmla="*/ 5 w 246"/>
              <a:gd name="T99" fmla="*/ 31 h 42"/>
              <a:gd name="T100" fmla="*/ 9 w 246"/>
              <a:gd name="T101" fmla="*/ 33 h 42"/>
              <a:gd name="T102" fmla="*/ 17 w 246"/>
              <a:gd name="T103" fmla="*/ 35 h 42"/>
              <a:gd name="T104" fmla="*/ 27 w 246"/>
              <a:gd name="T105" fmla="*/ 36 h 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3" name="Freeform 549">
            <a:extLst>
              <a:ext uri="{FF2B5EF4-FFF2-40B4-BE49-F238E27FC236}">
                <a16:creationId xmlns:a16="http://schemas.microsoft.com/office/drawing/2014/main" id="{48EC851B-DC28-4EF9-A357-35F768636E20}"/>
              </a:ext>
            </a:extLst>
          </p:cNvPr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8762238" y="1764597"/>
            <a:ext cx="61112" cy="57150"/>
          </a:xfrm>
          <a:custGeom>
            <a:avLst/>
            <a:gdLst>
              <a:gd name="T0" fmla="*/ 103 w 149"/>
              <a:gd name="T1" fmla="*/ 0 h 61"/>
              <a:gd name="T2" fmla="*/ 118 w 149"/>
              <a:gd name="T3" fmla="*/ 1 h 61"/>
              <a:gd name="T4" fmla="*/ 134 w 149"/>
              <a:gd name="T5" fmla="*/ 3 h 61"/>
              <a:gd name="T6" fmla="*/ 145 w 149"/>
              <a:gd name="T7" fmla="*/ 5 h 61"/>
              <a:gd name="T8" fmla="*/ 149 w 149"/>
              <a:gd name="T9" fmla="*/ 6 h 61"/>
              <a:gd name="T10" fmla="*/ 149 w 149"/>
              <a:gd name="T11" fmla="*/ 8 h 61"/>
              <a:gd name="T12" fmla="*/ 147 w 149"/>
              <a:gd name="T13" fmla="*/ 10 h 61"/>
              <a:gd name="T14" fmla="*/ 145 w 149"/>
              <a:gd name="T15" fmla="*/ 12 h 61"/>
              <a:gd name="T16" fmla="*/ 141 w 149"/>
              <a:gd name="T17" fmla="*/ 13 h 61"/>
              <a:gd name="T18" fmla="*/ 137 w 149"/>
              <a:gd name="T19" fmla="*/ 14 h 61"/>
              <a:gd name="T20" fmla="*/ 132 w 149"/>
              <a:gd name="T21" fmla="*/ 14 h 61"/>
              <a:gd name="T22" fmla="*/ 127 w 149"/>
              <a:gd name="T23" fmla="*/ 14 h 61"/>
              <a:gd name="T24" fmla="*/ 123 w 149"/>
              <a:gd name="T25" fmla="*/ 12 h 61"/>
              <a:gd name="T26" fmla="*/ 123 w 149"/>
              <a:gd name="T27" fmla="*/ 23 h 61"/>
              <a:gd name="T28" fmla="*/ 123 w 149"/>
              <a:gd name="T29" fmla="*/ 33 h 61"/>
              <a:gd name="T30" fmla="*/ 123 w 149"/>
              <a:gd name="T31" fmla="*/ 41 h 61"/>
              <a:gd name="T32" fmla="*/ 123 w 149"/>
              <a:gd name="T33" fmla="*/ 49 h 61"/>
              <a:gd name="T34" fmla="*/ 116 w 149"/>
              <a:gd name="T35" fmla="*/ 50 h 61"/>
              <a:gd name="T36" fmla="*/ 109 w 149"/>
              <a:gd name="T37" fmla="*/ 51 h 61"/>
              <a:gd name="T38" fmla="*/ 104 w 149"/>
              <a:gd name="T39" fmla="*/ 53 h 61"/>
              <a:gd name="T40" fmla="*/ 100 w 149"/>
              <a:gd name="T41" fmla="*/ 55 h 61"/>
              <a:gd name="T42" fmla="*/ 94 w 149"/>
              <a:gd name="T43" fmla="*/ 57 h 61"/>
              <a:gd name="T44" fmla="*/ 89 w 149"/>
              <a:gd name="T45" fmla="*/ 59 h 61"/>
              <a:gd name="T46" fmla="*/ 83 w 149"/>
              <a:gd name="T47" fmla="*/ 61 h 61"/>
              <a:gd name="T48" fmla="*/ 76 w 149"/>
              <a:gd name="T49" fmla="*/ 61 h 61"/>
              <a:gd name="T50" fmla="*/ 67 w 149"/>
              <a:gd name="T51" fmla="*/ 60 h 61"/>
              <a:gd name="T52" fmla="*/ 53 w 149"/>
              <a:gd name="T53" fmla="*/ 57 h 61"/>
              <a:gd name="T54" fmla="*/ 39 w 149"/>
              <a:gd name="T55" fmla="*/ 54 h 61"/>
              <a:gd name="T56" fmla="*/ 25 w 149"/>
              <a:gd name="T57" fmla="*/ 49 h 61"/>
              <a:gd name="T58" fmla="*/ 12 w 149"/>
              <a:gd name="T59" fmla="*/ 45 h 61"/>
              <a:gd name="T60" fmla="*/ 3 w 149"/>
              <a:gd name="T61" fmla="*/ 41 h 61"/>
              <a:gd name="T62" fmla="*/ 1 w 149"/>
              <a:gd name="T63" fmla="*/ 39 h 61"/>
              <a:gd name="T64" fmla="*/ 0 w 149"/>
              <a:gd name="T65" fmla="*/ 38 h 61"/>
              <a:gd name="T66" fmla="*/ 0 w 149"/>
              <a:gd name="T67" fmla="*/ 37 h 61"/>
              <a:gd name="T68" fmla="*/ 3 w 149"/>
              <a:gd name="T69" fmla="*/ 37 h 61"/>
              <a:gd name="T70" fmla="*/ 19 w 149"/>
              <a:gd name="T71" fmla="*/ 36 h 61"/>
              <a:gd name="T72" fmla="*/ 35 w 149"/>
              <a:gd name="T73" fmla="*/ 35 h 61"/>
              <a:gd name="T74" fmla="*/ 48 w 149"/>
              <a:gd name="T75" fmla="*/ 32 h 61"/>
              <a:gd name="T76" fmla="*/ 60 w 149"/>
              <a:gd name="T77" fmla="*/ 27 h 61"/>
              <a:gd name="T78" fmla="*/ 72 w 149"/>
              <a:gd name="T79" fmla="*/ 22 h 61"/>
              <a:gd name="T80" fmla="*/ 82 w 149"/>
              <a:gd name="T81" fmla="*/ 16 h 61"/>
              <a:gd name="T82" fmla="*/ 93 w 149"/>
              <a:gd name="T83" fmla="*/ 8 h 61"/>
              <a:gd name="T84" fmla="*/ 103 w 149"/>
              <a:gd name="T85" fmla="*/ 0 h 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44" name="Freeform 550">
            <a:extLst>
              <a:ext uri="{FF2B5EF4-FFF2-40B4-BE49-F238E27FC236}">
                <a16:creationId xmlns:a16="http://schemas.microsoft.com/office/drawing/2014/main" id="{C1ABFF60-EC91-4846-ACD0-10C336D3A606}"/>
              </a:ext>
            </a:extLst>
          </p:cNvPr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8797379" y="1772534"/>
            <a:ext cx="125281" cy="57150"/>
          </a:xfrm>
          <a:custGeom>
            <a:avLst/>
            <a:gdLst>
              <a:gd name="T0" fmla="*/ 133 w 299"/>
              <a:gd name="T1" fmla="*/ 72 h 74"/>
              <a:gd name="T2" fmla="*/ 154 w 299"/>
              <a:gd name="T3" fmla="*/ 65 h 74"/>
              <a:gd name="T4" fmla="*/ 178 w 299"/>
              <a:gd name="T5" fmla="*/ 54 h 74"/>
              <a:gd name="T6" fmla="*/ 199 w 299"/>
              <a:gd name="T7" fmla="*/ 42 h 74"/>
              <a:gd name="T8" fmla="*/ 207 w 299"/>
              <a:gd name="T9" fmla="*/ 40 h 74"/>
              <a:gd name="T10" fmla="*/ 211 w 299"/>
              <a:gd name="T11" fmla="*/ 46 h 74"/>
              <a:gd name="T12" fmla="*/ 220 w 299"/>
              <a:gd name="T13" fmla="*/ 51 h 74"/>
              <a:gd name="T14" fmla="*/ 243 w 299"/>
              <a:gd name="T15" fmla="*/ 55 h 74"/>
              <a:gd name="T16" fmla="*/ 269 w 299"/>
              <a:gd name="T17" fmla="*/ 55 h 74"/>
              <a:gd name="T18" fmla="*/ 286 w 299"/>
              <a:gd name="T19" fmla="*/ 55 h 74"/>
              <a:gd name="T20" fmla="*/ 293 w 299"/>
              <a:gd name="T21" fmla="*/ 46 h 74"/>
              <a:gd name="T22" fmla="*/ 298 w 299"/>
              <a:gd name="T23" fmla="*/ 31 h 74"/>
              <a:gd name="T24" fmla="*/ 279 w 299"/>
              <a:gd name="T25" fmla="*/ 25 h 74"/>
              <a:gd name="T26" fmla="*/ 244 w 299"/>
              <a:gd name="T27" fmla="*/ 25 h 74"/>
              <a:gd name="T28" fmla="*/ 225 w 299"/>
              <a:gd name="T29" fmla="*/ 25 h 74"/>
              <a:gd name="T30" fmla="*/ 214 w 299"/>
              <a:gd name="T31" fmla="*/ 27 h 74"/>
              <a:gd name="T32" fmla="*/ 204 w 299"/>
              <a:gd name="T33" fmla="*/ 33 h 74"/>
              <a:gd name="T34" fmla="*/ 172 w 299"/>
              <a:gd name="T35" fmla="*/ 37 h 74"/>
              <a:gd name="T36" fmla="*/ 176 w 299"/>
              <a:gd name="T37" fmla="*/ 28 h 74"/>
              <a:gd name="T38" fmla="*/ 180 w 299"/>
              <a:gd name="T39" fmla="*/ 21 h 74"/>
              <a:gd name="T40" fmla="*/ 194 w 299"/>
              <a:gd name="T41" fmla="*/ 13 h 74"/>
              <a:gd name="T42" fmla="*/ 210 w 299"/>
              <a:gd name="T43" fmla="*/ 9 h 74"/>
              <a:gd name="T44" fmla="*/ 225 w 299"/>
              <a:gd name="T45" fmla="*/ 0 h 74"/>
              <a:gd name="T46" fmla="*/ 185 w 299"/>
              <a:gd name="T47" fmla="*/ 3 h 74"/>
              <a:gd name="T48" fmla="*/ 157 w 299"/>
              <a:gd name="T49" fmla="*/ 11 h 74"/>
              <a:gd name="T50" fmla="*/ 134 w 299"/>
              <a:gd name="T51" fmla="*/ 25 h 74"/>
              <a:gd name="T52" fmla="*/ 114 w 299"/>
              <a:gd name="T53" fmla="*/ 40 h 74"/>
              <a:gd name="T54" fmla="*/ 100 w 299"/>
              <a:gd name="T55" fmla="*/ 53 h 74"/>
              <a:gd name="T56" fmla="*/ 87 w 299"/>
              <a:gd name="T57" fmla="*/ 59 h 74"/>
              <a:gd name="T58" fmla="*/ 64 w 299"/>
              <a:gd name="T59" fmla="*/ 63 h 74"/>
              <a:gd name="T60" fmla="*/ 32 w 299"/>
              <a:gd name="T61" fmla="*/ 64 h 74"/>
              <a:gd name="T62" fmla="*/ 12 w 299"/>
              <a:gd name="T63" fmla="*/ 67 h 74"/>
              <a:gd name="T64" fmla="*/ 2 w 299"/>
              <a:gd name="T65" fmla="*/ 70 h 74"/>
              <a:gd name="T66" fmla="*/ 39 w 299"/>
              <a:gd name="T67" fmla="*/ 74 h 74"/>
              <a:gd name="T68" fmla="*/ 102 w 299"/>
              <a:gd name="T69" fmla="*/ 74 h 7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</a:cxnLst>
            <a:rect l="0" t="0" r="r" b="b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550" name="TextBox 549">
            <a:extLst>
              <a:ext uri="{FF2B5EF4-FFF2-40B4-BE49-F238E27FC236}">
                <a16:creationId xmlns:a16="http://schemas.microsoft.com/office/drawing/2014/main" id="{5946945D-0FB7-4B2D-9D95-8D47DE88E2C2}"/>
              </a:ext>
            </a:extLst>
          </p:cNvPr>
          <p:cNvSpPr txBox="1"/>
          <p:nvPr/>
        </p:nvSpPr>
        <p:spPr>
          <a:xfrm>
            <a:off x="133206" y="1745737"/>
            <a:ext cx="4858106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Goals Model applied to 56 Global Fund-eligible countries with high HIV burd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Model fit to historical epidemic in each countr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Cost-effectiveness calculated by scaling up each intervention, one at a time, from current coverage to Fast-Track targets by 202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700 country/intervention combin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Cost and impact are measured to 2050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000" dirty="0"/>
              <a:t>Costs and impacts are discounted at 3% annually</a:t>
            </a:r>
          </a:p>
        </p:txBody>
      </p:sp>
      <p:grpSp>
        <p:nvGrpSpPr>
          <p:cNvPr id="551" name="Group 391">
            <a:extLst>
              <a:ext uri="{FF2B5EF4-FFF2-40B4-BE49-F238E27FC236}">
                <a16:creationId xmlns:a16="http://schemas.microsoft.com/office/drawing/2014/main" id="{BCEFDE9C-19EA-4371-8CEE-6DA826BE0D74}"/>
              </a:ext>
            </a:extLst>
          </p:cNvPr>
          <p:cNvGrpSpPr>
            <a:grpSpLocks/>
          </p:cNvGrpSpPr>
          <p:nvPr>
            <p:custDataLst>
              <p:tags r:id="rId376"/>
            </p:custDataLst>
          </p:nvPr>
        </p:nvGrpSpPr>
        <p:grpSpPr bwMode="auto">
          <a:xfrm>
            <a:off x="5055106" y="1556421"/>
            <a:ext cx="1825735" cy="1133475"/>
            <a:chOff x="527" y="1110"/>
            <a:chExt cx="1410" cy="709"/>
          </a:xfrm>
        </p:grpSpPr>
        <p:sp>
          <p:nvSpPr>
            <p:cNvPr id="552" name="Freeform 392">
              <a:extLst>
                <a:ext uri="{FF2B5EF4-FFF2-40B4-BE49-F238E27FC236}">
                  <a16:creationId xmlns:a16="http://schemas.microsoft.com/office/drawing/2014/main" id="{2508599E-2FFE-482E-84FA-241C4537E6E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41 h 54"/>
                <a:gd name="T2" fmla="*/ 5 w 98"/>
                <a:gd name="T3" fmla="*/ 46 h 54"/>
                <a:gd name="T4" fmla="*/ 13 w 98"/>
                <a:gd name="T5" fmla="*/ 50 h 54"/>
                <a:gd name="T6" fmla="*/ 23 w 98"/>
                <a:gd name="T7" fmla="*/ 53 h 54"/>
                <a:gd name="T8" fmla="*/ 32 w 98"/>
                <a:gd name="T9" fmla="*/ 54 h 54"/>
                <a:gd name="T10" fmla="*/ 38 w 98"/>
                <a:gd name="T11" fmla="*/ 54 h 54"/>
                <a:gd name="T12" fmla="*/ 45 w 98"/>
                <a:gd name="T13" fmla="*/ 53 h 54"/>
                <a:gd name="T14" fmla="*/ 50 w 98"/>
                <a:gd name="T15" fmla="*/ 51 h 54"/>
                <a:gd name="T16" fmla="*/ 56 w 98"/>
                <a:gd name="T17" fmla="*/ 49 h 54"/>
                <a:gd name="T18" fmla="*/ 67 w 98"/>
                <a:gd name="T19" fmla="*/ 42 h 54"/>
                <a:gd name="T20" fmla="*/ 75 w 98"/>
                <a:gd name="T21" fmla="*/ 35 h 54"/>
                <a:gd name="T22" fmla="*/ 84 w 98"/>
                <a:gd name="T23" fmla="*/ 28 h 54"/>
                <a:gd name="T24" fmla="*/ 91 w 98"/>
                <a:gd name="T25" fmla="*/ 20 h 54"/>
                <a:gd name="T26" fmla="*/ 95 w 98"/>
                <a:gd name="T27" fmla="*/ 12 h 54"/>
                <a:gd name="T28" fmla="*/ 98 w 98"/>
                <a:gd name="T29" fmla="*/ 4 h 54"/>
                <a:gd name="T30" fmla="*/ 91 w 98"/>
                <a:gd name="T31" fmla="*/ 2 h 54"/>
                <a:gd name="T32" fmla="*/ 83 w 98"/>
                <a:gd name="T33" fmla="*/ 0 h 54"/>
                <a:gd name="T34" fmla="*/ 75 w 98"/>
                <a:gd name="T35" fmla="*/ 0 h 54"/>
                <a:gd name="T36" fmla="*/ 68 w 98"/>
                <a:gd name="T37" fmla="*/ 0 h 54"/>
                <a:gd name="T38" fmla="*/ 59 w 98"/>
                <a:gd name="T39" fmla="*/ 1 h 54"/>
                <a:gd name="T40" fmla="*/ 51 w 98"/>
                <a:gd name="T41" fmla="*/ 3 h 54"/>
                <a:gd name="T42" fmla="*/ 43 w 98"/>
                <a:gd name="T43" fmla="*/ 6 h 54"/>
                <a:gd name="T44" fmla="*/ 37 w 98"/>
                <a:gd name="T45" fmla="*/ 9 h 54"/>
                <a:gd name="T46" fmla="*/ 23 w 98"/>
                <a:gd name="T47" fmla="*/ 17 h 54"/>
                <a:gd name="T48" fmla="*/ 12 w 98"/>
                <a:gd name="T49" fmla="*/ 25 h 54"/>
                <a:gd name="T50" fmla="*/ 7 w 98"/>
                <a:gd name="T51" fmla="*/ 29 h 54"/>
                <a:gd name="T52" fmla="*/ 4 w 98"/>
                <a:gd name="T53" fmla="*/ 33 h 54"/>
                <a:gd name="T54" fmla="*/ 1 w 98"/>
                <a:gd name="T55" fmla="*/ 37 h 54"/>
                <a:gd name="T56" fmla="*/ 0 w 98"/>
                <a:gd name="T57" fmla="*/ 41 h 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53" name="Freeform 393">
              <a:extLst>
                <a:ext uri="{FF2B5EF4-FFF2-40B4-BE49-F238E27FC236}">
                  <a16:creationId xmlns:a16="http://schemas.microsoft.com/office/drawing/2014/main" id="{163F3BA8-2089-432D-873A-5CB33034298A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27 h 28"/>
                <a:gd name="T2" fmla="*/ 11 w 67"/>
                <a:gd name="T3" fmla="*/ 28 h 28"/>
                <a:gd name="T4" fmla="*/ 21 w 67"/>
                <a:gd name="T5" fmla="*/ 27 h 28"/>
                <a:gd name="T6" fmla="*/ 31 w 67"/>
                <a:gd name="T7" fmla="*/ 25 h 28"/>
                <a:gd name="T8" fmla="*/ 41 w 67"/>
                <a:gd name="T9" fmla="*/ 21 h 28"/>
                <a:gd name="T10" fmla="*/ 49 w 67"/>
                <a:gd name="T11" fmla="*/ 17 h 28"/>
                <a:gd name="T12" fmla="*/ 57 w 67"/>
                <a:gd name="T13" fmla="*/ 12 h 28"/>
                <a:gd name="T14" fmla="*/ 63 w 67"/>
                <a:gd name="T15" fmla="*/ 7 h 28"/>
                <a:gd name="T16" fmla="*/ 67 w 67"/>
                <a:gd name="T17" fmla="*/ 3 h 28"/>
                <a:gd name="T18" fmla="*/ 57 w 67"/>
                <a:gd name="T19" fmla="*/ 1 h 28"/>
                <a:gd name="T20" fmla="*/ 46 w 67"/>
                <a:gd name="T21" fmla="*/ 0 h 28"/>
                <a:gd name="T22" fmla="*/ 36 w 67"/>
                <a:gd name="T23" fmla="*/ 1 h 28"/>
                <a:gd name="T24" fmla="*/ 26 w 67"/>
                <a:gd name="T25" fmla="*/ 3 h 28"/>
                <a:gd name="T26" fmla="*/ 17 w 67"/>
                <a:gd name="T27" fmla="*/ 7 h 28"/>
                <a:gd name="T28" fmla="*/ 10 w 67"/>
                <a:gd name="T29" fmla="*/ 12 h 28"/>
                <a:gd name="T30" fmla="*/ 7 w 67"/>
                <a:gd name="T31" fmla="*/ 15 h 28"/>
                <a:gd name="T32" fmla="*/ 4 w 67"/>
                <a:gd name="T33" fmla="*/ 19 h 28"/>
                <a:gd name="T34" fmla="*/ 2 w 67"/>
                <a:gd name="T35" fmla="*/ 22 h 28"/>
                <a:gd name="T36" fmla="*/ 0 w 67"/>
                <a:gd name="T37" fmla="*/ 27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54" name="Freeform 394">
              <a:extLst>
                <a:ext uri="{FF2B5EF4-FFF2-40B4-BE49-F238E27FC236}">
                  <a16:creationId xmlns:a16="http://schemas.microsoft.com/office/drawing/2014/main" id="{3E2AB5CB-0637-41E4-8817-B77304E9A591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18 h 36"/>
                <a:gd name="T2" fmla="*/ 1 w 32"/>
                <a:gd name="T3" fmla="*/ 24 h 36"/>
                <a:gd name="T4" fmla="*/ 4 w 32"/>
                <a:gd name="T5" fmla="*/ 29 h 36"/>
                <a:gd name="T6" fmla="*/ 6 w 32"/>
                <a:gd name="T7" fmla="*/ 32 h 36"/>
                <a:gd name="T8" fmla="*/ 8 w 32"/>
                <a:gd name="T9" fmla="*/ 34 h 36"/>
                <a:gd name="T10" fmla="*/ 11 w 32"/>
                <a:gd name="T11" fmla="*/ 36 h 36"/>
                <a:gd name="T12" fmla="*/ 13 w 32"/>
                <a:gd name="T13" fmla="*/ 36 h 36"/>
                <a:gd name="T14" fmla="*/ 32 w 32"/>
                <a:gd name="T15" fmla="*/ 36 h 36"/>
                <a:gd name="T16" fmla="*/ 32 w 32"/>
                <a:gd name="T17" fmla="*/ 22 h 36"/>
                <a:gd name="T18" fmla="*/ 31 w 32"/>
                <a:gd name="T19" fmla="*/ 14 h 36"/>
                <a:gd name="T20" fmla="*/ 30 w 32"/>
                <a:gd name="T21" fmla="*/ 7 h 36"/>
                <a:gd name="T22" fmla="*/ 26 w 32"/>
                <a:gd name="T23" fmla="*/ 0 h 36"/>
                <a:gd name="T24" fmla="*/ 19 w 32"/>
                <a:gd name="T25" fmla="*/ 2 h 36"/>
                <a:gd name="T26" fmla="*/ 11 w 32"/>
                <a:gd name="T27" fmla="*/ 7 h 36"/>
                <a:gd name="T28" fmla="*/ 6 w 32"/>
                <a:gd name="T29" fmla="*/ 10 h 36"/>
                <a:gd name="T30" fmla="*/ 3 w 32"/>
                <a:gd name="T31" fmla="*/ 13 h 36"/>
                <a:gd name="T32" fmla="*/ 1 w 32"/>
                <a:gd name="T33" fmla="*/ 16 h 36"/>
                <a:gd name="T34" fmla="*/ 0 w 32"/>
                <a:gd name="T35" fmla="*/ 1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55" name="Freeform 395">
              <a:extLst>
                <a:ext uri="{FF2B5EF4-FFF2-40B4-BE49-F238E27FC236}">
                  <a16:creationId xmlns:a16="http://schemas.microsoft.com/office/drawing/2014/main" id="{4BC34CFB-BEAC-460B-B9E4-E3114D6CD72B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43 h 52"/>
                <a:gd name="T2" fmla="*/ 11 w 146"/>
                <a:gd name="T3" fmla="*/ 46 h 52"/>
                <a:gd name="T4" fmla="*/ 22 w 146"/>
                <a:gd name="T5" fmla="*/ 48 h 52"/>
                <a:gd name="T6" fmla="*/ 33 w 146"/>
                <a:gd name="T7" fmla="*/ 51 h 52"/>
                <a:gd name="T8" fmla="*/ 43 w 146"/>
                <a:gd name="T9" fmla="*/ 52 h 52"/>
                <a:gd name="T10" fmla="*/ 63 w 146"/>
                <a:gd name="T11" fmla="*/ 52 h 52"/>
                <a:gd name="T12" fmla="*/ 82 w 146"/>
                <a:gd name="T13" fmla="*/ 51 h 52"/>
                <a:gd name="T14" fmla="*/ 117 w 146"/>
                <a:gd name="T15" fmla="*/ 46 h 52"/>
                <a:gd name="T16" fmla="*/ 146 w 146"/>
                <a:gd name="T17" fmla="*/ 43 h 52"/>
                <a:gd name="T18" fmla="*/ 144 w 146"/>
                <a:gd name="T19" fmla="*/ 36 h 52"/>
                <a:gd name="T20" fmla="*/ 142 w 146"/>
                <a:gd name="T21" fmla="*/ 30 h 52"/>
                <a:gd name="T22" fmla="*/ 139 w 146"/>
                <a:gd name="T23" fmla="*/ 24 h 52"/>
                <a:gd name="T24" fmla="*/ 137 w 146"/>
                <a:gd name="T25" fmla="*/ 19 h 52"/>
                <a:gd name="T26" fmla="*/ 134 w 146"/>
                <a:gd name="T27" fmla="*/ 15 h 52"/>
                <a:gd name="T28" fmla="*/ 129 w 146"/>
                <a:gd name="T29" fmla="*/ 11 h 52"/>
                <a:gd name="T30" fmla="*/ 125 w 146"/>
                <a:gd name="T31" fmla="*/ 8 h 52"/>
                <a:gd name="T32" fmla="*/ 121 w 146"/>
                <a:gd name="T33" fmla="*/ 6 h 52"/>
                <a:gd name="T34" fmla="*/ 111 w 146"/>
                <a:gd name="T35" fmla="*/ 2 h 52"/>
                <a:gd name="T36" fmla="*/ 101 w 146"/>
                <a:gd name="T37" fmla="*/ 0 h 52"/>
                <a:gd name="T38" fmla="*/ 89 w 146"/>
                <a:gd name="T39" fmla="*/ 1 h 52"/>
                <a:gd name="T40" fmla="*/ 78 w 146"/>
                <a:gd name="T41" fmla="*/ 2 h 52"/>
                <a:gd name="T42" fmla="*/ 66 w 146"/>
                <a:gd name="T43" fmla="*/ 5 h 52"/>
                <a:gd name="T44" fmla="*/ 54 w 146"/>
                <a:gd name="T45" fmla="*/ 9 h 52"/>
                <a:gd name="T46" fmla="*/ 43 w 146"/>
                <a:gd name="T47" fmla="*/ 14 h 52"/>
                <a:gd name="T48" fmla="*/ 32 w 146"/>
                <a:gd name="T49" fmla="*/ 19 h 52"/>
                <a:gd name="T50" fmla="*/ 22 w 146"/>
                <a:gd name="T51" fmla="*/ 25 h 52"/>
                <a:gd name="T52" fmla="*/ 13 w 146"/>
                <a:gd name="T53" fmla="*/ 31 h 52"/>
                <a:gd name="T54" fmla="*/ 5 w 146"/>
                <a:gd name="T55" fmla="*/ 37 h 52"/>
                <a:gd name="T56" fmla="*/ 0 w 146"/>
                <a:gd name="T57" fmla="*/ 43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56" name="Freeform 396">
              <a:extLst>
                <a:ext uri="{FF2B5EF4-FFF2-40B4-BE49-F238E27FC236}">
                  <a16:creationId xmlns:a16="http://schemas.microsoft.com/office/drawing/2014/main" id="{BDBBF422-4E70-4A20-B45F-6E9A9D1EED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60 w 60"/>
                <a:gd name="T1" fmla="*/ 0 h 31"/>
                <a:gd name="T2" fmla="*/ 49 w 60"/>
                <a:gd name="T3" fmla="*/ 0 h 31"/>
                <a:gd name="T4" fmla="*/ 38 w 60"/>
                <a:gd name="T5" fmla="*/ 0 h 31"/>
                <a:gd name="T6" fmla="*/ 31 w 60"/>
                <a:gd name="T7" fmla="*/ 0 h 31"/>
                <a:gd name="T8" fmla="*/ 27 w 60"/>
                <a:gd name="T9" fmla="*/ 0 h 31"/>
                <a:gd name="T10" fmla="*/ 18 w 60"/>
                <a:gd name="T11" fmla="*/ 0 h 31"/>
                <a:gd name="T12" fmla="*/ 9 w 60"/>
                <a:gd name="T13" fmla="*/ 2 h 31"/>
                <a:gd name="T14" fmla="*/ 5 w 60"/>
                <a:gd name="T15" fmla="*/ 3 h 31"/>
                <a:gd name="T16" fmla="*/ 2 w 60"/>
                <a:gd name="T17" fmla="*/ 5 h 31"/>
                <a:gd name="T18" fmla="*/ 1 w 60"/>
                <a:gd name="T19" fmla="*/ 8 h 31"/>
                <a:gd name="T20" fmla="*/ 0 w 60"/>
                <a:gd name="T21" fmla="*/ 12 h 31"/>
                <a:gd name="T22" fmla="*/ 1 w 60"/>
                <a:gd name="T23" fmla="*/ 15 h 31"/>
                <a:gd name="T24" fmla="*/ 2 w 60"/>
                <a:gd name="T25" fmla="*/ 18 h 31"/>
                <a:gd name="T26" fmla="*/ 5 w 60"/>
                <a:gd name="T27" fmla="*/ 22 h 31"/>
                <a:gd name="T28" fmla="*/ 9 w 60"/>
                <a:gd name="T29" fmla="*/ 24 h 31"/>
                <a:gd name="T30" fmla="*/ 12 w 60"/>
                <a:gd name="T31" fmla="*/ 27 h 31"/>
                <a:gd name="T32" fmla="*/ 18 w 60"/>
                <a:gd name="T33" fmla="*/ 29 h 31"/>
                <a:gd name="T34" fmla="*/ 22 w 60"/>
                <a:gd name="T35" fmla="*/ 31 h 31"/>
                <a:gd name="T36" fmla="*/ 27 w 60"/>
                <a:gd name="T37" fmla="*/ 31 h 31"/>
                <a:gd name="T38" fmla="*/ 32 w 60"/>
                <a:gd name="T39" fmla="*/ 30 h 31"/>
                <a:gd name="T40" fmla="*/ 37 w 60"/>
                <a:gd name="T41" fmla="*/ 28 h 31"/>
                <a:gd name="T42" fmla="*/ 43 w 60"/>
                <a:gd name="T43" fmla="*/ 24 h 31"/>
                <a:gd name="T44" fmla="*/ 48 w 60"/>
                <a:gd name="T45" fmla="*/ 18 h 31"/>
                <a:gd name="T46" fmla="*/ 57 w 60"/>
                <a:gd name="T47" fmla="*/ 10 h 31"/>
                <a:gd name="T48" fmla="*/ 60 w 60"/>
                <a:gd name="T49" fmla="*/ 6 h 31"/>
                <a:gd name="T50" fmla="*/ 60 w 60"/>
                <a:gd name="T51" fmla="*/ 0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57" name="Freeform 397">
              <a:extLst>
                <a:ext uri="{FF2B5EF4-FFF2-40B4-BE49-F238E27FC236}">
                  <a16:creationId xmlns:a16="http://schemas.microsoft.com/office/drawing/2014/main" id="{E4DB0DF2-873F-4340-924F-B137B9D82011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43 h 62"/>
                <a:gd name="T2" fmla="*/ 1 w 80"/>
                <a:gd name="T3" fmla="*/ 46 h 62"/>
                <a:gd name="T4" fmla="*/ 1 w 80"/>
                <a:gd name="T5" fmla="*/ 49 h 62"/>
                <a:gd name="T6" fmla="*/ 3 w 80"/>
                <a:gd name="T7" fmla="*/ 51 h 62"/>
                <a:gd name="T8" fmla="*/ 4 w 80"/>
                <a:gd name="T9" fmla="*/ 53 h 62"/>
                <a:gd name="T10" fmla="*/ 10 w 80"/>
                <a:gd name="T11" fmla="*/ 57 h 62"/>
                <a:gd name="T12" fmla="*/ 15 w 80"/>
                <a:gd name="T13" fmla="*/ 59 h 62"/>
                <a:gd name="T14" fmla="*/ 28 w 80"/>
                <a:gd name="T15" fmla="*/ 62 h 62"/>
                <a:gd name="T16" fmla="*/ 40 w 80"/>
                <a:gd name="T17" fmla="*/ 62 h 62"/>
                <a:gd name="T18" fmla="*/ 45 w 80"/>
                <a:gd name="T19" fmla="*/ 62 h 62"/>
                <a:gd name="T20" fmla="*/ 49 w 80"/>
                <a:gd name="T21" fmla="*/ 59 h 62"/>
                <a:gd name="T22" fmla="*/ 54 w 80"/>
                <a:gd name="T23" fmla="*/ 57 h 62"/>
                <a:gd name="T24" fmla="*/ 58 w 80"/>
                <a:gd name="T25" fmla="*/ 54 h 62"/>
                <a:gd name="T26" fmla="*/ 65 w 80"/>
                <a:gd name="T27" fmla="*/ 47 h 62"/>
                <a:gd name="T28" fmla="*/ 70 w 80"/>
                <a:gd name="T29" fmla="*/ 38 h 62"/>
                <a:gd name="T30" fmla="*/ 74 w 80"/>
                <a:gd name="T31" fmla="*/ 28 h 62"/>
                <a:gd name="T32" fmla="*/ 78 w 80"/>
                <a:gd name="T33" fmla="*/ 18 h 62"/>
                <a:gd name="T34" fmla="*/ 79 w 80"/>
                <a:gd name="T35" fmla="*/ 8 h 62"/>
                <a:gd name="T36" fmla="*/ 80 w 80"/>
                <a:gd name="T37" fmla="*/ 0 h 62"/>
                <a:gd name="T38" fmla="*/ 71 w 80"/>
                <a:gd name="T39" fmla="*/ 0 h 62"/>
                <a:gd name="T40" fmla="*/ 59 w 80"/>
                <a:gd name="T41" fmla="*/ 3 h 62"/>
                <a:gd name="T42" fmla="*/ 46 w 80"/>
                <a:gd name="T43" fmla="*/ 8 h 62"/>
                <a:gd name="T44" fmla="*/ 33 w 80"/>
                <a:gd name="T45" fmla="*/ 13 h 62"/>
                <a:gd name="T46" fmla="*/ 21 w 80"/>
                <a:gd name="T47" fmla="*/ 19 h 62"/>
                <a:gd name="T48" fmla="*/ 10 w 80"/>
                <a:gd name="T49" fmla="*/ 26 h 62"/>
                <a:gd name="T50" fmla="*/ 6 w 80"/>
                <a:gd name="T51" fmla="*/ 30 h 62"/>
                <a:gd name="T52" fmla="*/ 3 w 80"/>
                <a:gd name="T53" fmla="*/ 34 h 62"/>
                <a:gd name="T54" fmla="*/ 1 w 80"/>
                <a:gd name="T55" fmla="*/ 39 h 62"/>
                <a:gd name="T56" fmla="*/ 0 w 80"/>
                <a:gd name="T57" fmla="*/ 4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58" name="Freeform 398">
              <a:extLst>
                <a:ext uri="{FF2B5EF4-FFF2-40B4-BE49-F238E27FC236}">
                  <a16:creationId xmlns:a16="http://schemas.microsoft.com/office/drawing/2014/main" id="{FC91B435-6092-4BA7-AE5A-45DF210BFF2D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80 w 106"/>
                <a:gd name="T1" fmla="*/ 13 h 49"/>
                <a:gd name="T2" fmla="*/ 72 w 106"/>
                <a:gd name="T3" fmla="*/ 12 h 49"/>
                <a:gd name="T4" fmla="*/ 66 w 106"/>
                <a:gd name="T5" fmla="*/ 11 h 49"/>
                <a:gd name="T6" fmla="*/ 59 w 106"/>
                <a:gd name="T7" fmla="*/ 8 h 49"/>
                <a:gd name="T8" fmla="*/ 53 w 106"/>
                <a:gd name="T9" fmla="*/ 6 h 49"/>
                <a:gd name="T10" fmla="*/ 47 w 106"/>
                <a:gd name="T11" fmla="*/ 4 h 49"/>
                <a:gd name="T12" fmla="*/ 41 w 106"/>
                <a:gd name="T13" fmla="*/ 2 h 49"/>
                <a:gd name="T14" fmla="*/ 34 w 106"/>
                <a:gd name="T15" fmla="*/ 0 h 49"/>
                <a:gd name="T16" fmla="*/ 26 w 106"/>
                <a:gd name="T17" fmla="*/ 0 h 49"/>
                <a:gd name="T18" fmla="*/ 15 w 106"/>
                <a:gd name="T19" fmla="*/ 0 h 49"/>
                <a:gd name="T20" fmla="*/ 0 w 106"/>
                <a:gd name="T21" fmla="*/ 0 h 49"/>
                <a:gd name="T22" fmla="*/ 9 w 106"/>
                <a:gd name="T23" fmla="*/ 11 h 49"/>
                <a:gd name="T24" fmla="*/ 17 w 106"/>
                <a:gd name="T25" fmla="*/ 21 h 49"/>
                <a:gd name="T26" fmla="*/ 26 w 106"/>
                <a:gd name="T27" fmla="*/ 29 h 49"/>
                <a:gd name="T28" fmla="*/ 34 w 106"/>
                <a:gd name="T29" fmla="*/ 36 h 49"/>
                <a:gd name="T30" fmla="*/ 42 w 106"/>
                <a:gd name="T31" fmla="*/ 42 h 49"/>
                <a:gd name="T32" fmla="*/ 52 w 106"/>
                <a:gd name="T33" fmla="*/ 46 h 49"/>
                <a:gd name="T34" fmla="*/ 61 w 106"/>
                <a:gd name="T35" fmla="*/ 48 h 49"/>
                <a:gd name="T36" fmla="*/ 72 w 106"/>
                <a:gd name="T37" fmla="*/ 49 h 49"/>
                <a:gd name="T38" fmla="*/ 79 w 106"/>
                <a:gd name="T39" fmla="*/ 48 h 49"/>
                <a:gd name="T40" fmla="*/ 87 w 106"/>
                <a:gd name="T41" fmla="*/ 45 h 49"/>
                <a:gd name="T42" fmla="*/ 97 w 106"/>
                <a:gd name="T43" fmla="*/ 39 h 49"/>
                <a:gd name="T44" fmla="*/ 106 w 106"/>
                <a:gd name="T45" fmla="*/ 31 h 49"/>
                <a:gd name="T46" fmla="*/ 101 w 106"/>
                <a:gd name="T47" fmla="*/ 30 h 49"/>
                <a:gd name="T48" fmla="*/ 98 w 106"/>
                <a:gd name="T49" fmla="*/ 28 h 49"/>
                <a:gd name="T50" fmla="*/ 93 w 106"/>
                <a:gd name="T51" fmla="*/ 25 h 49"/>
                <a:gd name="T52" fmla="*/ 90 w 106"/>
                <a:gd name="T53" fmla="*/ 22 h 49"/>
                <a:gd name="T54" fmla="*/ 88 w 106"/>
                <a:gd name="T55" fmla="*/ 19 h 49"/>
                <a:gd name="T56" fmla="*/ 84 w 106"/>
                <a:gd name="T57" fmla="*/ 16 h 49"/>
                <a:gd name="T58" fmla="*/ 82 w 106"/>
                <a:gd name="T59" fmla="*/ 14 h 49"/>
                <a:gd name="T60" fmla="*/ 80 w 106"/>
                <a:gd name="T61" fmla="*/ 13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59" name="Freeform 399">
              <a:extLst>
                <a:ext uri="{FF2B5EF4-FFF2-40B4-BE49-F238E27FC236}">
                  <a16:creationId xmlns:a16="http://schemas.microsoft.com/office/drawing/2014/main" id="{5B56998E-3959-4550-9F99-FD8496AAE890}"/>
                </a:ext>
              </a:extLst>
            </p:cNvPr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19 h 22"/>
                <a:gd name="T2" fmla="*/ 5 w 47"/>
                <a:gd name="T3" fmla="*/ 21 h 22"/>
                <a:gd name="T4" fmla="*/ 12 w 47"/>
                <a:gd name="T5" fmla="*/ 22 h 22"/>
                <a:gd name="T6" fmla="*/ 18 w 47"/>
                <a:gd name="T7" fmla="*/ 22 h 22"/>
                <a:gd name="T8" fmla="*/ 26 w 47"/>
                <a:gd name="T9" fmla="*/ 21 h 22"/>
                <a:gd name="T10" fmla="*/ 33 w 47"/>
                <a:gd name="T11" fmla="*/ 19 h 22"/>
                <a:gd name="T12" fmla="*/ 38 w 47"/>
                <a:gd name="T13" fmla="*/ 15 h 22"/>
                <a:gd name="T14" fmla="*/ 41 w 47"/>
                <a:gd name="T15" fmla="*/ 12 h 22"/>
                <a:gd name="T16" fmla="*/ 44 w 47"/>
                <a:gd name="T17" fmla="*/ 9 h 22"/>
                <a:gd name="T18" fmla="*/ 45 w 47"/>
                <a:gd name="T19" fmla="*/ 5 h 22"/>
                <a:gd name="T20" fmla="*/ 47 w 47"/>
                <a:gd name="T21" fmla="*/ 0 h 22"/>
                <a:gd name="T22" fmla="*/ 0 w 47"/>
                <a:gd name="T23" fmla="*/ 19 h 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60" name="Freeform 400">
              <a:extLst>
                <a:ext uri="{FF2B5EF4-FFF2-40B4-BE49-F238E27FC236}">
                  <a16:creationId xmlns:a16="http://schemas.microsoft.com/office/drawing/2014/main" id="{B56C0E7A-F3F0-461E-9B0A-EC6CE9E32855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53 w 53"/>
                <a:gd name="T1" fmla="*/ 0 h 32"/>
                <a:gd name="T2" fmla="*/ 37 w 53"/>
                <a:gd name="T3" fmla="*/ 9 h 32"/>
                <a:gd name="T4" fmla="*/ 23 w 53"/>
                <a:gd name="T5" fmla="*/ 18 h 32"/>
                <a:gd name="T6" fmla="*/ 11 w 53"/>
                <a:gd name="T7" fmla="*/ 26 h 32"/>
                <a:gd name="T8" fmla="*/ 0 w 53"/>
                <a:gd name="T9" fmla="*/ 32 h 32"/>
                <a:gd name="T10" fmla="*/ 13 w 53"/>
                <a:gd name="T11" fmla="*/ 32 h 32"/>
                <a:gd name="T12" fmla="*/ 26 w 53"/>
                <a:gd name="T13" fmla="*/ 32 h 32"/>
                <a:gd name="T14" fmla="*/ 39 w 53"/>
                <a:gd name="T15" fmla="*/ 32 h 32"/>
                <a:gd name="T16" fmla="*/ 53 w 53"/>
                <a:gd name="T17" fmla="*/ 32 h 32"/>
                <a:gd name="T18" fmla="*/ 53 w 53"/>
                <a:gd name="T19" fmla="*/ 24 h 32"/>
                <a:gd name="T20" fmla="*/ 53 w 53"/>
                <a:gd name="T21" fmla="*/ 16 h 32"/>
                <a:gd name="T22" fmla="*/ 53 w 53"/>
                <a:gd name="T23" fmla="*/ 9 h 32"/>
                <a:gd name="T24" fmla="*/ 53 w 53"/>
                <a:gd name="T25" fmla="*/ 0 h 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61" name="Freeform 401">
              <a:extLst>
                <a:ext uri="{FF2B5EF4-FFF2-40B4-BE49-F238E27FC236}">
                  <a16:creationId xmlns:a16="http://schemas.microsoft.com/office/drawing/2014/main" id="{2C2B3738-6050-44E6-B5E8-C84158FCB60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27 w 46"/>
                <a:gd name="T1" fmla="*/ 3 h 34"/>
                <a:gd name="T2" fmla="*/ 0 w 46"/>
                <a:gd name="T3" fmla="*/ 16 h 34"/>
                <a:gd name="T4" fmla="*/ 0 w 46"/>
                <a:gd name="T5" fmla="*/ 34 h 34"/>
                <a:gd name="T6" fmla="*/ 27 w 46"/>
                <a:gd name="T7" fmla="*/ 34 h 34"/>
                <a:gd name="T8" fmla="*/ 31 w 46"/>
                <a:gd name="T9" fmla="*/ 32 h 34"/>
                <a:gd name="T10" fmla="*/ 35 w 46"/>
                <a:gd name="T11" fmla="*/ 28 h 34"/>
                <a:gd name="T12" fmla="*/ 39 w 46"/>
                <a:gd name="T13" fmla="*/ 25 h 34"/>
                <a:gd name="T14" fmla="*/ 42 w 46"/>
                <a:gd name="T15" fmla="*/ 21 h 34"/>
                <a:gd name="T16" fmla="*/ 44 w 46"/>
                <a:gd name="T17" fmla="*/ 17 h 34"/>
                <a:gd name="T18" fmla="*/ 45 w 46"/>
                <a:gd name="T19" fmla="*/ 13 h 34"/>
                <a:gd name="T20" fmla="*/ 46 w 46"/>
                <a:gd name="T21" fmla="*/ 8 h 34"/>
                <a:gd name="T22" fmla="*/ 46 w 46"/>
                <a:gd name="T23" fmla="*/ 3 h 34"/>
                <a:gd name="T24" fmla="*/ 46 w 46"/>
                <a:gd name="T25" fmla="*/ 1 h 34"/>
                <a:gd name="T26" fmla="*/ 44 w 46"/>
                <a:gd name="T27" fmla="*/ 0 h 34"/>
                <a:gd name="T28" fmla="*/ 42 w 46"/>
                <a:gd name="T29" fmla="*/ 0 h 34"/>
                <a:gd name="T30" fmla="*/ 39 w 46"/>
                <a:gd name="T31" fmla="*/ 0 h 34"/>
                <a:gd name="T32" fmla="*/ 32 w 46"/>
                <a:gd name="T33" fmla="*/ 2 h 34"/>
                <a:gd name="T34" fmla="*/ 27 w 46"/>
                <a:gd name="T35" fmla="*/ 3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62" name="Freeform 402">
              <a:extLst>
                <a:ext uri="{FF2B5EF4-FFF2-40B4-BE49-F238E27FC236}">
                  <a16:creationId xmlns:a16="http://schemas.microsoft.com/office/drawing/2014/main" id="{93199D2C-B5B7-4CD7-8C63-F0E181CDE585}"/>
                </a:ext>
              </a:extLst>
            </p:cNvPr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25 h 25"/>
                <a:gd name="T2" fmla="*/ 14 w 48"/>
                <a:gd name="T3" fmla="*/ 25 h 25"/>
                <a:gd name="T4" fmla="*/ 28 w 48"/>
                <a:gd name="T5" fmla="*/ 25 h 25"/>
                <a:gd name="T6" fmla="*/ 30 w 48"/>
                <a:gd name="T7" fmla="*/ 24 h 25"/>
                <a:gd name="T8" fmla="*/ 33 w 48"/>
                <a:gd name="T9" fmla="*/ 22 h 25"/>
                <a:gd name="T10" fmla="*/ 37 w 48"/>
                <a:gd name="T11" fmla="*/ 18 h 25"/>
                <a:gd name="T12" fmla="*/ 40 w 48"/>
                <a:gd name="T13" fmla="*/ 15 h 25"/>
                <a:gd name="T14" fmla="*/ 45 w 48"/>
                <a:gd name="T15" fmla="*/ 7 h 25"/>
                <a:gd name="T16" fmla="*/ 48 w 48"/>
                <a:gd name="T17" fmla="*/ 0 h 25"/>
                <a:gd name="T18" fmla="*/ 40 w 48"/>
                <a:gd name="T19" fmla="*/ 1 h 25"/>
                <a:gd name="T20" fmla="*/ 33 w 48"/>
                <a:gd name="T21" fmla="*/ 2 h 25"/>
                <a:gd name="T22" fmla="*/ 28 w 48"/>
                <a:gd name="T23" fmla="*/ 5 h 25"/>
                <a:gd name="T24" fmla="*/ 21 w 48"/>
                <a:gd name="T25" fmla="*/ 8 h 25"/>
                <a:gd name="T26" fmla="*/ 11 w 48"/>
                <a:gd name="T27" fmla="*/ 16 h 25"/>
                <a:gd name="T28" fmla="*/ 0 w 48"/>
                <a:gd name="T29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63" name="Freeform 403">
              <a:extLst>
                <a:ext uri="{FF2B5EF4-FFF2-40B4-BE49-F238E27FC236}">
                  <a16:creationId xmlns:a16="http://schemas.microsoft.com/office/drawing/2014/main" id="{B31EF269-C421-4990-A5A2-4F2EC5172DA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37 h 37"/>
                <a:gd name="T4" fmla="*/ 11 w 30"/>
                <a:gd name="T5" fmla="*/ 36 h 37"/>
                <a:gd name="T6" fmla="*/ 20 w 30"/>
                <a:gd name="T7" fmla="*/ 34 h 37"/>
                <a:gd name="T8" fmla="*/ 22 w 30"/>
                <a:gd name="T9" fmla="*/ 33 h 37"/>
                <a:gd name="T10" fmla="*/ 26 w 30"/>
                <a:gd name="T11" fmla="*/ 32 h 37"/>
                <a:gd name="T12" fmla="*/ 28 w 30"/>
                <a:gd name="T13" fmla="*/ 30 h 37"/>
                <a:gd name="T14" fmla="*/ 29 w 30"/>
                <a:gd name="T15" fmla="*/ 28 h 37"/>
                <a:gd name="T16" fmla="*/ 30 w 30"/>
                <a:gd name="T17" fmla="*/ 23 h 37"/>
                <a:gd name="T18" fmla="*/ 30 w 30"/>
                <a:gd name="T19" fmla="*/ 16 h 37"/>
                <a:gd name="T20" fmla="*/ 29 w 30"/>
                <a:gd name="T21" fmla="*/ 9 h 37"/>
                <a:gd name="T22" fmla="*/ 27 w 30"/>
                <a:gd name="T23" fmla="*/ 0 h 37"/>
                <a:gd name="T24" fmla="*/ 0 w 30"/>
                <a:gd name="T25" fmla="*/ 0 h 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64" name="Freeform 404">
              <a:extLst>
                <a:ext uri="{FF2B5EF4-FFF2-40B4-BE49-F238E27FC236}">
                  <a16:creationId xmlns:a16="http://schemas.microsoft.com/office/drawing/2014/main" id="{E7A24A8A-B382-4788-AAC5-C131D4C3F348}"/>
                </a:ext>
              </a:extLst>
            </p:cNvPr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33 w 113"/>
                <a:gd name="T1" fmla="*/ 3 h 46"/>
                <a:gd name="T2" fmla="*/ 22 w 113"/>
                <a:gd name="T3" fmla="*/ 3 h 46"/>
                <a:gd name="T4" fmla="*/ 12 w 113"/>
                <a:gd name="T5" fmla="*/ 5 h 46"/>
                <a:gd name="T6" fmla="*/ 7 w 113"/>
                <a:gd name="T7" fmla="*/ 7 h 46"/>
                <a:gd name="T8" fmla="*/ 3 w 113"/>
                <a:gd name="T9" fmla="*/ 11 h 46"/>
                <a:gd name="T10" fmla="*/ 1 w 113"/>
                <a:gd name="T11" fmla="*/ 15 h 46"/>
                <a:gd name="T12" fmla="*/ 0 w 113"/>
                <a:gd name="T13" fmla="*/ 21 h 46"/>
                <a:gd name="T14" fmla="*/ 6 w 113"/>
                <a:gd name="T15" fmla="*/ 27 h 46"/>
                <a:gd name="T16" fmla="*/ 10 w 113"/>
                <a:gd name="T17" fmla="*/ 33 h 46"/>
                <a:gd name="T18" fmla="*/ 16 w 113"/>
                <a:gd name="T19" fmla="*/ 37 h 46"/>
                <a:gd name="T20" fmla="*/ 20 w 113"/>
                <a:gd name="T21" fmla="*/ 41 h 46"/>
                <a:gd name="T22" fmla="*/ 25 w 113"/>
                <a:gd name="T23" fmla="*/ 43 h 46"/>
                <a:gd name="T24" fmla="*/ 30 w 113"/>
                <a:gd name="T25" fmla="*/ 45 h 46"/>
                <a:gd name="T26" fmla="*/ 35 w 113"/>
                <a:gd name="T27" fmla="*/ 46 h 46"/>
                <a:gd name="T28" fmla="*/ 40 w 113"/>
                <a:gd name="T29" fmla="*/ 46 h 46"/>
                <a:gd name="T30" fmla="*/ 56 w 113"/>
                <a:gd name="T31" fmla="*/ 46 h 46"/>
                <a:gd name="T32" fmla="*/ 70 w 113"/>
                <a:gd name="T33" fmla="*/ 43 h 46"/>
                <a:gd name="T34" fmla="*/ 76 w 113"/>
                <a:gd name="T35" fmla="*/ 41 h 46"/>
                <a:gd name="T36" fmla="*/ 81 w 113"/>
                <a:gd name="T37" fmla="*/ 38 h 46"/>
                <a:gd name="T38" fmla="*/ 87 w 113"/>
                <a:gd name="T39" fmla="*/ 36 h 46"/>
                <a:gd name="T40" fmla="*/ 91 w 113"/>
                <a:gd name="T41" fmla="*/ 33 h 46"/>
                <a:gd name="T42" fmla="*/ 99 w 113"/>
                <a:gd name="T43" fmla="*/ 27 h 46"/>
                <a:gd name="T44" fmla="*/ 106 w 113"/>
                <a:gd name="T45" fmla="*/ 20 h 46"/>
                <a:gd name="T46" fmla="*/ 110 w 113"/>
                <a:gd name="T47" fmla="*/ 12 h 46"/>
                <a:gd name="T48" fmla="*/ 113 w 113"/>
                <a:gd name="T49" fmla="*/ 3 h 46"/>
                <a:gd name="T50" fmla="*/ 99 w 113"/>
                <a:gd name="T51" fmla="*/ 1 h 46"/>
                <a:gd name="T52" fmla="*/ 87 w 113"/>
                <a:gd name="T53" fmla="*/ 0 h 46"/>
                <a:gd name="T54" fmla="*/ 76 w 113"/>
                <a:gd name="T55" fmla="*/ 0 h 46"/>
                <a:gd name="T56" fmla="*/ 66 w 113"/>
                <a:gd name="T57" fmla="*/ 1 h 46"/>
                <a:gd name="T58" fmla="*/ 48 w 113"/>
                <a:gd name="T59" fmla="*/ 2 h 46"/>
                <a:gd name="T60" fmla="*/ 33 w 113"/>
                <a:gd name="T61" fmla="*/ 3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65" name="Freeform 405">
              <a:extLst>
                <a:ext uri="{FF2B5EF4-FFF2-40B4-BE49-F238E27FC236}">
                  <a16:creationId xmlns:a16="http://schemas.microsoft.com/office/drawing/2014/main" id="{DAEF1B1B-CBF0-49AB-89D4-C1F04BD24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79 h 82"/>
                <a:gd name="T2" fmla="*/ 2 w 153"/>
                <a:gd name="T3" fmla="*/ 81 h 82"/>
                <a:gd name="T4" fmla="*/ 6 w 153"/>
                <a:gd name="T5" fmla="*/ 82 h 82"/>
                <a:gd name="T6" fmla="*/ 10 w 153"/>
                <a:gd name="T7" fmla="*/ 82 h 82"/>
                <a:gd name="T8" fmla="*/ 14 w 153"/>
                <a:gd name="T9" fmla="*/ 82 h 82"/>
                <a:gd name="T10" fmla="*/ 23 w 153"/>
                <a:gd name="T11" fmla="*/ 80 h 82"/>
                <a:gd name="T12" fmla="*/ 33 w 153"/>
                <a:gd name="T13" fmla="*/ 79 h 82"/>
                <a:gd name="T14" fmla="*/ 40 w 153"/>
                <a:gd name="T15" fmla="*/ 79 h 82"/>
                <a:gd name="T16" fmla="*/ 47 w 153"/>
                <a:gd name="T17" fmla="*/ 78 h 82"/>
                <a:gd name="T18" fmla="*/ 56 w 153"/>
                <a:gd name="T19" fmla="*/ 76 h 82"/>
                <a:gd name="T20" fmla="*/ 65 w 153"/>
                <a:gd name="T21" fmla="*/ 74 h 82"/>
                <a:gd name="T22" fmla="*/ 83 w 153"/>
                <a:gd name="T23" fmla="*/ 68 h 82"/>
                <a:gd name="T24" fmla="*/ 103 w 153"/>
                <a:gd name="T25" fmla="*/ 59 h 82"/>
                <a:gd name="T26" fmla="*/ 112 w 153"/>
                <a:gd name="T27" fmla="*/ 54 h 82"/>
                <a:gd name="T28" fmla="*/ 121 w 153"/>
                <a:gd name="T29" fmla="*/ 49 h 82"/>
                <a:gd name="T30" fmla="*/ 129 w 153"/>
                <a:gd name="T31" fmla="*/ 43 h 82"/>
                <a:gd name="T32" fmla="*/ 136 w 153"/>
                <a:gd name="T33" fmla="*/ 38 h 82"/>
                <a:gd name="T34" fmla="*/ 142 w 153"/>
                <a:gd name="T35" fmla="*/ 32 h 82"/>
                <a:gd name="T36" fmla="*/ 147 w 153"/>
                <a:gd name="T37" fmla="*/ 25 h 82"/>
                <a:gd name="T38" fmla="*/ 150 w 153"/>
                <a:gd name="T39" fmla="*/ 19 h 82"/>
                <a:gd name="T40" fmla="*/ 153 w 153"/>
                <a:gd name="T41" fmla="*/ 12 h 82"/>
                <a:gd name="T42" fmla="*/ 134 w 153"/>
                <a:gd name="T43" fmla="*/ 8 h 82"/>
                <a:gd name="T44" fmla="*/ 115 w 153"/>
                <a:gd name="T45" fmla="*/ 3 h 82"/>
                <a:gd name="T46" fmla="*/ 96 w 153"/>
                <a:gd name="T47" fmla="*/ 1 h 82"/>
                <a:gd name="T48" fmla="*/ 77 w 153"/>
                <a:gd name="T49" fmla="*/ 0 h 82"/>
                <a:gd name="T50" fmla="*/ 68 w 153"/>
                <a:gd name="T51" fmla="*/ 1 h 82"/>
                <a:gd name="T52" fmla="*/ 60 w 153"/>
                <a:gd name="T53" fmla="*/ 1 h 82"/>
                <a:gd name="T54" fmla="*/ 52 w 153"/>
                <a:gd name="T55" fmla="*/ 2 h 82"/>
                <a:gd name="T56" fmla="*/ 45 w 153"/>
                <a:gd name="T57" fmla="*/ 4 h 82"/>
                <a:gd name="T58" fmla="*/ 38 w 153"/>
                <a:gd name="T59" fmla="*/ 7 h 82"/>
                <a:gd name="T60" fmla="*/ 34 w 153"/>
                <a:gd name="T61" fmla="*/ 10 h 82"/>
                <a:gd name="T62" fmla="*/ 30 w 153"/>
                <a:gd name="T63" fmla="*/ 14 h 82"/>
                <a:gd name="T64" fmla="*/ 26 w 153"/>
                <a:gd name="T65" fmla="*/ 18 h 82"/>
                <a:gd name="T66" fmla="*/ 32 w 153"/>
                <a:gd name="T67" fmla="*/ 23 h 82"/>
                <a:gd name="T68" fmla="*/ 36 w 153"/>
                <a:gd name="T69" fmla="*/ 29 h 82"/>
                <a:gd name="T70" fmla="*/ 38 w 153"/>
                <a:gd name="T71" fmla="*/ 32 h 82"/>
                <a:gd name="T72" fmla="*/ 42 w 153"/>
                <a:gd name="T73" fmla="*/ 34 h 82"/>
                <a:gd name="T74" fmla="*/ 44 w 153"/>
                <a:gd name="T75" fmla="*/ 36 h 82"/>
                <a:gd name="T76" fmla="*/ 46 w 153"/>
                <a:gd name="T77" fmla="*/ 36 h 82"/>
                <a:gd name="T78" fmla="*/ 40 w 153"/>
                <a:gd name="T79" fmla="*/ 41 h 82"/>
                <a:gd name="T80" fmla="*/ 33 w 153"/>
                <a:gd name="T81" fmla="*/ 46 h 82"/>
                <a:gd name="T82" fmla="*/ 29 w 153"/>
                <a:gd name="T83" fmla="*/ 52 h 82"/>
                <a:gd name="T84" fmla="*/ 23 w 153"/>
                <a:gd name="T85" fmla="*/ 57 h 82"/>
                <a:gd name="T86" fmla="*/ 18 w 153"/>
                <a:gd name="T87" fmla="*/ 64 h 82"/>
                <a:gd name="T88" fmla="*/ 13 w 153"/>
                <a:gd name="T89" fmla="*/ 69 h 82"/>
                <a:gd name="T90" fmla="*/ 7 w 153"/>
                <a:gd name="T91" fmla="*/ 75 h 82"/>
                <a:gd name="T92" fmla="*/ 0 w 153"/>
                <a:gd name="T93" fmla="*/ 79 h 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66" name="Freeform 406">
              <a:extLst>
                <a:ext uri="{FF2B5EF4-FFF2-40B4-BE49-F238E27FC236}">
                  <a16:creationId xmlns:a16="http://schemas.microsoft.com/office/drawing/2014/main" id="{DA8C657A-5C25-43C3-AA62-2D2FBC301665}"/>
                </a:ext>
              </a:extLst>
            </p:cNvPr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37 h 50"/>
                <a:gd name="T2" fmla="*/ 5 w 86"/>
                <a:gd name="T3" fmla="*/ 41 h 50"/>
                <a:gd name="T4" fmla="*/ 11 w 86"/>
                <a:gd name="T5" fmla="*/ 44 h 50"/>
                <a:gd name="T6" fmla="*/ 16 w 86"/>
                <a:gd name="T7" fmla="*/ 47 h 50"/>
                <a:gd name="T8" fmla="*/ 23 w 86"/>
                <a:gd name="T9" fmla="*/ 48 h 50"/>
                <a:gd name="T10" fmla="*/ 35 w 86"/>
                <a:gd name="T11" fmla="*/ 49 h 50"/>
                <a:gd name="T12" fmla="*/ 46 w 86"/>
                <a:gd name="T13" fmla="*/ 50 h 50"/>
                <a:gd name="T14" fmla="*/ 58 w 86"/>
                <a:gd name="T15" fmla="*/ 49 h 50"/>
                <a:gd name="T16" fmla="*/ 67 w 86"/>
                <a:gd name="T17" fmla="*/ 48 h 50"/>
                <a:gd name="T18" fmla="*/ 73 w 86"/>
                <a:gd name="T19" fmla="*/ 47 h 50"/>
                <a:gd name="T20" fmla="*/ 79 w 86"/>
                <a:gd name="T21" fmla="*/ 44 h 50"/>
                <a:gd name="T22" fmla="*/ 82 w 86"/>
                <a:gd name="T23" fmla="*/ 41 h 50"/>
                <a:gd name="T24" fmla="*/ 84 w 86"/>
                <a:gd name="T25" fmla="*/ 37 h 50"/>
                <a:gd name="T26" fmla="*/ 85 w 86"/>
                <a:gd name="T27" fmla="*/ 32 h 50"/>
                <a:gd name="T28" fmla="*/ 86 w 86"/>
                <a:gd name="T29" fmla="*/ 25 h 50"/>
                <a:gd name="T30" fmla="*/ 85 w 86"/>
                <a:gd name="T31" fmla="*/ 17 h 50"/>
                <a:gd name="T32" fmla="*/ 84 w 86"/>
                <a:gd name="T33" fmla="*/ 10 h 50"/>
                <a:gd name="T34" fmla="*/ 83 w 86"/>
                <a:gd name="T35" fmla="*/ 7 h 50"/>
                <a:gd name="T36" fmla="*/ 81 w 86"/>
                <a:gd name="T37" fmla="*/ 5 h 50"/>
                <a:gd name="T38" fmla="*/ 77 w 86"/>
                <a:gd name="T39" fmla="*/ 2 h 50"/>
                <a:gd name="T40" fmla="*/ 73 w 86"/>
                <a:gd name="T41" fmla="*/ 0 h 50"/>
                <a:gd name="T42" fmla="*/ 0 w 86"/>
                <a:gd name="T43" fmla="*/ 37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67" name="Freeform 407">
              <a:extLst>
                <a:ext uri="{FF2B5EF4-FFF2-40B4-BE49-F238E27FC236}">
                  <a16:creationId xmlns:a16="http://schemas.microsoft.com/office/drawing/2014/main" id="{069508BD-9415-40DC-96F4-9C8BF8F87E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119 w 172"/>
                <a:gd name="T1" fmla="*/ 61 h 74"/>
                <a:gd name="T2" fmla="*/ 109 w 172"/>
                <a:gd name="T3" fmla="*/ 61 h 74"/>
                <a:gd name="T4" fmla="*/ 99 w 172"/>
                <a:gd name="T5" fmla="*/ 61 h 74"/>
                <a:gd name="T6" fmla="*/ 90 w 172"/>
                <a:gd name="T7" fmla="*/ 61 h 74"/>
                <a:gd name="T8" fmla="*/ 80 w 172"/>
                <a:gd name="T9" fmla="*/ 61 h 74"/>
                <a:gd name="T10" fmla="*/ 60 w 172"/>
                <a:gd name="T11" fmla="*/ 74 h 74"/>
                <a:gd name="T12" fmla="*/ 33 w 172"/>
                <a:gd name="T13" fmla="*/ 74 h 74"/>
                <a:gd name="T14" fmla="*/ 36 w 172"/>
                <a:gd name="T15" fmla="*/ 61 h 74"/>
                <a:gd name="T16" fmla="*/ 39 w 172"/>
                <a:gd name="T17" fmla="*/ 49 h 74"/>
                <a:gd name="T18" fmla="*/ 30 w 172"/>
                <a:gd name="T19" fmla="*/ 49 h 74"/>
                <a:gd name="T20" fmla="*/ 23 w 172"/>
                <a:gd name="T21" fmla="*/ 48 h 74"/>
                <a:gd name="T22" fmla="*/ 15 w 172"/>
                <a:gd name="T23" fmla="*/ 47 h 74"/>
                <a:gd name="T24" fmla="*/ 9 w 172"/>
                <a:gd name="T25" fmla="*/ 45 h 74"/>
                <a:gd name="T26" fmla="*/ 5 w 172"/>
                <a:gd name="T27" fmla="*/ 42 h 74"/>
                <a:gd name="T28" fmla="*/ 2 w 172"/>
                <a:gd name="T29" fmla="*/ 39 h 74"/>
                <a:gd name="T30" fmla="*/ 1 w 172"/>
                <a:gd name="T31" fmla="*/ 35 h 74"/>
                <a:gd name="T32" fmla="*/ 0 w 172"/>
                <a:gd name="T33" fmla="*/ 31 h 74"/>
                <a:gd name="T34" fmla="*/ 1 w 172"/>
                <a:gd name="T35" fmla="*/ 26 h 74"/>
                <a:gd name="T36" fmla="*/ 2 w 172"/>
                <a:gd name="T37" fmla="*/ 21 h 74"/>
                <a:gd name="T38" fmla="*/ 5 w 172"/>
                <a:gd name="T39" fmla="*/ 17 h 74"/>
                <a:gd name="T40" fmla="*/ 8 w 172"/>
                <a:gd name="T41" fmla="*/ 14 h 74"/>
                <a:gd name="T42" fmla="*/ 13 w 172"/>
                <a:gd name="T43" fmla="*/ 10 h 74"/>
                <a:gd name="T44" fmla="*/ 18 w 172"/>
                <a:gd name="T45" fmla="*/ 7 h 74"/>
                <a:gd name="T46" fmla="*/ 24 w 172"/>
                <a:gd name="T47" fmla="*/ 5 h 74"/>
                <a:gd name="T48" fmla="*/ 29 w 172"/>
                <a:gd name="T49" fmla="*/ 4 h 74"/>
                <a:gd name="T50" fmla="*/ 42 w 172"/>
                <a:gd name="T51" fmla="*/ 1 h 74"/>
                <a:gd name="T52" fmla="*/ 56 w 172"/>
                <a:gd name="T53" fmla="*/ 0 h 74"/>
                <a:gd name="T54" fmla="*/ 69 w 172"/>
                <a:gd name="T55" fmla="*/ 0 h 74"/>
                <a:gd name="T56" fmla="*/ 80 w 172"/>
                <a:gd name="T57" fmla="*/ 0 h 74"/>
                <a:gd name="T58" fmla="*/ 94 w 172"/>
                <a:gd name="T59" fmla="*/ 1 h 74"/>
                <a:gd name="T60" fmla="*/ 106 w 172"/>
                <a:gd name="T61" fmla="*/ 4 h 74"/>
                <a:gd name="T62" fmla="*/ 117 w 172"/>
                <a:gd name="T63" fmla="*/ 7 h 74"/>
                <a:gd name="T64" fmla="*/ 128 w 172"/>
                <a:gd name="T65" fmla="*/ 13 h 74"/>
                <a:gd name="T66" fmla="*/ 139 w 172"/>
                <a:gd name="T67" fmla="*/ 17 h 74"/>
                <a:gd name="T68" fmla="*/ 150 w 172"/>
                <a:gd name="T69" fmla="*/ 21 h 74"/>
                <a:gd name="T70" fmla="*/ 161 w 172"/>
                <a:gd name="T71" fmla="*/ 24 h 74"/>
                <a:gd name="T72" fmla="*/ 172 w 172"/>
                <a:gd name="T73" fmla="*/ 25 h 74"/>
                <a:gd name="T74" fmla="*/ 172 w 172"/>
                <a:gd name="T75" fmla="*/ 43 h 74"/>
                <a:gd name="T76" fmla="*/ 169 w 172"/>
                <a:gd name="T77" fmla="*/ 48 h 74"/>
                <a:gd name="T78" fmla="*/ 165 w 172"/>
                <a:gd name="T79" fmla="*/ 53 h 74"/>
                <a:gd name="T80" fmla="*/ 161 w 172"/>
                <a:gd name="T81" fmla="*/ 57 h 74"/>
                <a:gd name="T82" fmla="*/ 158 w 172"/>
                <a:gd name="T83" fmla="*/ 60 h 74"/>
                <a:gd name="T84" fmla="*/ 153 w 172"/>
                <a:gd name="T85" fmla="*/ 62 h 74"/>
                <a:gd name="T86" fmla="*/ 149 w 172"/>
                <a:gd name="T87" fmla="*/ 63 h 74"/>
                <a:gd name="T88" fmla="*/ 146 w 172"/>
                <a:gd name="T89" fmla="*/ 65 h 74"/>
                <a:gd name="T90" fmla="*/ 141 w 172"/>
                <a:gd name="T91" fmla="*/ 65 h 74"/>
                <a:gd name="T92" fmla="*/ 131 w 172"/>
                <a:gd name="T93" fmla="*/ 65 h 74"/>
                <a:gd name="T94" fmla="*/ 121 w 172"/>
                <a:gd name="T95" fmla="*/ 63 h 74"/>
                <a:gd name="T96" fmla="*/ 112 w 172"/>
                <a:gd name="T97" fmla="*/ 59 h 74"/>
                <a:gd name="T98" fmla="*/ 99 w 172"/>
                <a:gd name="T99" fmla="*/ 55 h 74"/>
                <a:gd name="T100" fmla="*/ 106 w 172"/>
                <a:gd name="T101" fmla="*/ 55 h 74"/>
                <a:gd name="T102" fmla="*/ 119 w 172"/>
                <a:gd name="T103" fmla="*/ 61 h 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68" name="Freeform 408">
              <a:extLst>
                <a:ext uri="{FF2B5EF4-FFF2-40B4-BE49-F238E27FC236}">
                  <a16:creationId xmlns:a16="http://schemas.microsoft.com/office/drawing/2014/main" id="{4192E103-45B8-4496-8391-3D68D0300E8D}"/>
                </a:ext>
              </a:extLst>
            </p:cNvPr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27 w 120"/>
                <a:gd name="T1" fmla="*/ 49 h 49"/>
                <a:gd name="T2" fmla="*/ 47 w 120"/>
                <a:gd name="T3" fmla="*/ 49 h 49"/>
                <a:gd name="T4" fmla="*/ 64 w 120"/>
                <a:gd name="T5" fmla="*/ 48 h 49"/>
                <a:gd name="T6" fmla="*/ 78 w 120"/>
                <a:gd name="T7" fmla="*/ 46 h 49"/>
                <a:gd name="T8" fmla="*/ 90 w 120"/>
                <a:gd name="T9" fmla="*/ 43 h 49"/>
                <a:gd name="T10" fmla="*/ 96 w 120"/>
                <a:gd name="T11" fmla="*/ 39 h 49"/>
                <a:gd name="T12" fmla="*/ 100 w 120"/>
                <a:gd name="T13" fmla="*/ 37 h 49"/>
                <a:gd name="T14" fmla="*/ 104 w 120"/>
                <a:gd name="T15" fmla="*/ 34 h 49"/>
                <a:gd name="T16" fmla="*/ 108 w 120"/>
                <a:gd name="T17" fmla="*/ 31 h 49"/>
                <a:gd name="T18" fmla="*/ 114 w 120"/>
                <a:gd name="T19" fmla="*/ 22 h 49"/>
                <a:gd name="T20" fmla="*/ 120 w 120"/>
                <a:gd name="T21" fmla="*/ 12 h 49"/>
                <a:gd name="T22" fmla="*/ 102 w 120"/>
                <a:gd name="T23" fmla="*/ 6 h 49"/>
                <a:gd name="T24" fmla="*/ 84 w 120"/>
                <a:gd name="T25" fmla="*/ 3 h 49"/>
                <a:gd name="T26" fmla="*/ 66 w 120"/>
                <a:gd name="T27" fmla="*/ 1 h 49"/>
                <a:gd name="T28" fmla="*/ 50 w 120"/>
                <a:gd name="T29" fmla="*/ 0 h 49"/>
                <a:gd name="T30" fmla="*/ 34 w 120"/>
                <a:gd name="T31" fmla="*/ 1 h 49"/>
                <a:gd name="T32" fmla="*/ 20 w 120"/>
                <a:gd name="T33" fmla="*/ 2 h 49"/>
                <a:gd name="T34" fmla="*/ 9 w 120"/>
                <a:gd name="T35" fmla="*/ 4 h 49"/>
                <a:gd name="T36" fmla="*/ 0 w 120"/>
                <a:gd name="T37" fmla="*/ 6 h 49"/>
                <a:gd name="T38" fmla="*/ 0 w 120"/>
                <a:gd name="T39" fmla="*/ 30 h 49"/>
                <a:gd name="T40" fmla="*/ 2 w 120"/>
                <a:gd name="T41" fmla="*/ 35 h 49"/>
                <a:gd name="T42" fmla="*/ 6 w 120"/>
                <a:gd name="T43" fmla="*/ 38 h 49"/>
                <a:gd name="T44" fmla="*/ 9 w 120"/>
                <a:gd name="T45" fmla="*/ 41 h 49"/>
                <a:gd name="T46" fmla="*/ 13 w 120"/>
                <a:gd name="T47" fmla="*/ 45 h 49"/>
                <a:gd name="T48" fmla="*/ 20 w 120"/>
                <a:gd name="T49" fmla="*/ 48 h 49"/>
                <a:gd name="T50" fmla="*/ 27 w 120"/>
                <a:gd name="T51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69" name="Freeform 409">
              <a:extLst>
                <a:ext uri="{FF2B5EF4-FFF2-40B4-BE49-F238E27FC236}">
                  <a16:creationId xmlns:a16="http://schemas.microsoft.com/office/drawing/2014/main" id="{9E2E3CE5-1215-4858-92AC-6B0DA5DCC260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33 w 85"/>
                <a:gd name="T1" fmla="*/ 0 h 61"/>
                <a:gd name="T2" fmla="*/ 22 w 85"/>
                <a:gd name="T3" fmla="*/ 5 h 61"/>
                <a:gd name="T4" fmla="*/ 11 w 85"/>
                <a:gd name="T5" fmla="*/ 12 h 61"/>
                <a:gd name="T6" fmla="*/ 6 w 85"/>
                <a:gd name="T7" fmla="*/ 17 h 61"/>
                <a:gd name="T8" fmla="*/ 3 w 85"/>
                <a:gd name="T9" fmla="*/ 21 h 61"/>
                <a:gd name="T10" fmla="*/ 0 w 85"/>
                <a:gd name="T11" fmla="*/ 25 h 61"/>
                <a:gd name="T12" fmla="*/ 0 w 85"/>
                <a:gd name="T13" fmla="*/ 31 h 61"/>
                <a:gd name="T14" fmla="*/ 0 w 85"/>
                <a:gd name="T15" fmla="*/ 34 h 61"/>
                <a:gd name="T16" fmla="*/ 1 w 85"/>
                <a:gd name="T17" fmla="*/ 37 h 61"/>
                <a:gd name="T18" fmla="*/ 2 w 85"/>
                <a:gd name="T19" fmla="*/ 40 h 61"/>
                <a:gd name="T20" fmla="*/ 5 w 85"/>
                <a:gd name="T21" fmla="*/ 43 h 61"/>
                <a:gd name="T22" fmla="*/ 11 w 85"/>
                <a:gd name="T23" fmla="*/ 48 h 61"/>
                <a:gd name="T24" fmla="*/ 18 w 85"/>
                <a:gd name="T25" fmla="*/ 53 h 61"/>
                <a:gd name="T26" fmla="*/ 27 w 85"/>
                <a:gd name="T27" fmla="*/ 56 h 61"/>
                <a:gd name="T28" fmla="*/ 36 w 85"/>
                <a:gd name="T29" fmla="*/ 59 h 61"/>
                <a:gd name="T30" fmla="*/ 45 w 85"/>
                <a:gd name="T31" fmla="*/ 61 h 61"/>
                <a:gd name="T32" fmla="*/ 53 w 85"/>
                <a:gd name="T33" fmla="*/ 61 h 61"/>
                <a:gd name="T34" fmla="*/ 56 w 85"/>
                <a:gd name="T35" fmla="*/ 61 h 61"/>
                <a:gd name="T36" fmla="*/ 59 w 85"/>
                <a:gd name="T37" fmla="*/ 60 h 61"/>
                <a:gd name="T38" fmla="*/ 62 w 85"/>
                <a:gd name="T39" fmla="*/ 59 h 61"/>
                <a:gd name="T40" fmla="*/ 66 w 85"/>
                <a:gd name="T41" fmla="*/ 57 h 61"/>
                <a:gd name="T42" fmla="*/ 72 w 85"/>
                <a:gd name="T43" fmla="*/ 52 h 61"/>
                <a:gd name="T44" fmla="*/ 77 w 85"/>
                <a:gd name="T45" fmla="*/ 47 h 61"/>
                <a:gd name="T46" fmla="*/ 80 w 85"/>
                <a:gd name="T47" fmla="*/ 40 h 61"/>
                <a:gd name="T48" fmla="*/ 83 w 85"/>
                <a:gd name="T49" fmla="*/ 33 h 61"/>
                <a:gd name="T50" fmla="*/ 85 w 85"/>
                <a:gd name="T51" fmla="*/ 25 h 61"/>
                <a:gd name="T52" fmla="*/ 85 w 85"/>
                <a:gd name="T53" fmla="*/ 18 h 61"/>
                <a:gd name="T54" fmla="*/ 33 w 85"/>
                <a:gd name="T55" fmla="*/ 0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0" name="Freeform 410">
              <a:extLst>
                <a:ext uri="{FF2B5EF4-FFF2-40B4-BE49-F238E27FC236}">
                  <a16:creationId xmlns:a16="http://schemas.microsoft.com/office/drawing/2014/main" id="{814D5745-F3EC-4134-AD1C-1EFE10AB36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6 h 19"/>
                <a:gd name="T2" fmla="*/ 7 w 100"/>
                <a:gd name="T3" fmla="*/ 11 h 19"/>
                <a:gd name="T4" fmla="*/ 13 w 100"/>
                <a:gd name="T5" fmla="*/ 15 h 19"/>
                <a:gd name="T6" fmla="*/ 21 w 100"/>
                <a:gd name="T7" fmla="*/ 18 h 19"/>
                <a:gd name="T8" fmla="*/ 27 w 100"/>
                <a:gd name="T9" fmla="*/ 19 h 19"/>
                <a:gd name="T10" fmla="*/ 100 w 100"/>
                <a:gd name="T11" fmla="*/ 6 h 19"/>
                <a:gd name="T12" fmla="*/ 73 w 100"/>
                <a:gd name="T13" fmla="*/ 2 h 19"/>
                <a:gd name="T14" fmla="*/ 47 w 100"/>
                <a:gd name="T15" fmla="*/ 0 h 19"/>
                <a:gd name="T16" fmla="*/ 36 w 100"/>
                <a:gd name="T17" fmla="*/ 0 h 19"/>
                <a:gd name="T18" fmla="*/ 24 w 100"/>
                <a:gd name="T19" fmla="*/ 1 h 19"/>
                <a:gd name="T20" fmla="*/ 12 w 100"/>
                <a:gd name="T21" fmla="*/ 3 h 19"/>
                <a:gd name="T22" fmla="*/ 0 w 100"/>
                <a:gd name="T23" fmla="*/ 6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1" name="Freeform 411">
              <a:extLst>
                <a:ext uri="{FF2B5EF4-FFF2-40B4-BE49-F238E27FC236}">
                  <a16:creationId xmlns:a16="http://schemas.microsoft.com/office/drawing/2014/main" id="{70AC7866-0557-4A94-9CEE-E901DF27EFE7}"/>
                </a:ext>
              </a:extLst>
            </p:cNvPr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27 h 45"/>
                <a:gd name="T2" fmla="*/ 0 w 166"/>
                <a:gd name="T3" fmla="*/ 29 h 45"/>
                <a:gd name="T4" fmla="*/ 3 w 166"/>
                <a:gd name="T5" fmla="*/ 31 h 45"/>
                <a:gd name="T6" fmla="*/ 8 w 166"/>
                <a:gd name="T7" fmla="*/ 33 h 45"/>
                <a:gd name="T8" fmla="*/ 13 w 166"/>
                <a:gd name="T9" fmla="*/ 35 h 45"/>
                <a:gd name="T10" fmla="*/ 27 w 166"/>
                <a:gd name="T11" fmla="*/ 38 h 45"/>
                <a:gd name="T12" fmla="*/ 44 w 166"/>
                <a:gd name="T13" fmla="*/ 41 h 45"/>
                <a:gd name="T14" fmla="*/ 75 w 166"/>
                <a:gd name="T15" fmla="*/ 44 h 45"/>
                <a:gd name="T16" fmla="*/ 92 w 166"/>
                <a:gd name="T17" fmla="*/ 45 h 45"/>
                <a:gd name="T18" fmla="*/ 166 w 166"/>
                <a:gd name="T19" fmla="*/ 27 h 45"/>
                <a:gd name="T20" fmla="*/ 157 w 166"/>
                <a:gd name="T21" fmla="*/ 25 h 45"/>
                <a:gd name="T22" fmla="*/ 137 w 166"/>
                <a:gd name="T23" fmla="*/ 19 h 45"/>
                <a:gd name="T24" fmla="*/ 110 w 166"/>
                <a:gd name="T25" fmla="*/ 11 h 45"/>
                <a:gd name="T26" fmla="*/ 80 w 166"/>
                <a:gd name="T27" fmla="*/ 4 h 45"/>
                <a:gd name="T28" fmla="*/ 65 w 166"/>
                <a:gd name="T29" fmla="*/ 2 h 45"/>
                <a:gd name="T30" fmla="*/ 50 w 166"/>
                <a:gd name="T31" fmla="*/ 1 h 45"/>
                <a:gd name="T32" fmla="*/ 36 w 166"/>
                <a:gd name="T33" fmla="*/ 0 h 45"/>
                <a:gd name="T34" fmla="*/ 24 w 166"/>
                <a:gd name="T35" fmla="*/ 2 h 45"/>
                <a:gd name="T36" fmla="*/ 19 w 166"/>
                <a:gd name="T37" fmla="*/ 3 h 45"/>
                <a:gd name="T38" fmla="*/ 14 w 166"/>
                <a:gd name="T39" fmla="*/ 5 h 45"/>
                <a:gd name="T40" fmla="*/ 10 w 166"/>
                <a:gd name="T41" fmla="*/ 7 h 45"/>
                <a:gd name="T42" fmla="*/ 7 w 166"/>
                <a:gd name="T43" fmla="*/ 10 h 45"/>
                <a:gd name="T44" fmla="*/ 3 w 166"/>
                <a:gd name="T45" fmla="*/ 13 h 45"/>
                <a:gd name="T46" fmla="*/ 1 w 166"/>
                <a:gd name="T47" fmla="*/ 17 h 45"/>
                <a:gd name="T48" fmla="*/ 0 w 166"/>
                <a:gd name="T49" fmla="*/ 22 h 45"/>
                <a:gd name="T50" fmla="*/ 0 w 166"/>
                <a:gd name="T51" fmla="*/ 27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2" name="Freeform 412">
              <a:extLst>
                <a:ext uri="{FF2B5EF4-FFF2-40B4-BE49-F238E27FC236}">
                  <a16:creationId xmlns:a16="http://schemas.microsoft.com/office/drawing/2014/main" id="{4DA52DF7-CBD1-4208-A61B-F6E6AB203502}"/>
                </a:ext>
              </a:extLst>
            </p:cNvPr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9 h 25"/>
                <a:gd name="T4" fmla="*/ 3 w 33"/>
                <a:gd name="T5" fmla="*/ 15 h 25"/>
                <a:gd name="T6" fmla="*/ 6 w 33"/>
                <a:gd name="T7" fmla="*/ 20 h 25"/>
                <a:gd name="T8" fmla="*/ 11 w 33"/>
                <a:gd name="T9" fmla="*/ 22 h 25"/>
                <a:gd name="T10" fmla="*/ 16 w 33"/>
                <a:gd name="T11" fmla="*/ 24 h 25"/>
                <a:gd name="T12" fmla="*/ 22 w 33"/>
                <a:gd name="T13" fmla="*/ 25 h 25"/>
                <a:gd name="T14" fmla="*/ 27 w 33"/>
                <a:gd name="T15" fmla="*/ 25 h 25"/>
                <a:gd name="T16" fmla="*/ 33 w 33"/>
                <a:gd name="T17" fmla="*/ 25 h 25"/>
                <a:gd name="T18" fmla="*/ 33 w 33"/>
                <a:gd name="T19" fmla="*/ 0 h 25"/>
                <a:gd name="T20" fmla="*/ 24 w 33"/>
                <a:gd name="T21" fmla="*/ 0 h 25"/>
                <a:gd name="T22" fmla="*/ 16 w 33"/>
                <a:gd name="T23" fmla="*/ 0 h 25"/>
                <a:gd name="T24" fmla="*/ 9 w 33"/>
                <a:gd name="T25" fmla="*/ 0 h 25"/>
                <a:gd name="T26" fmla="*/ 0 w 33"/>
                <a:gd name="T27" fmla="*/ 0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3" name="Freeform 413">
              <a:extLst>
                <a:ext uri="{FF2B5EF4-FFF2-40B4-BE49-F238E27FC236}">
                  <a16:creationId xmlns:a16="http://schemas.microsoft.com/office/drawing/2014/main" id="{89BF15FE-A783-476F-8122-F7EB1E762F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62 h 62"/>
                <a:gd name="T2" fmla="*/ 12 w 48"/>
                <a:gd name="T3" fmla="*/ 56 h 62"/>
                <a:gd name="T4" fmla="*/ 22 w 48"/>
                <a:gd name="T5" fmla="*/ 50 h 62"/>
                <a:gd name="T6" fmla="*/ 30 w 48"/>
                <a:gd name="T7" fmla="*/ 43 h 62"/>
                <a:gd name="T8" fmla="*/ 37 w 48"/>
                <a:gd name="T9" fmla="*/ 36 h 62"/>
                <a:gd name="T10" fmla="*/ 41 w 48"/>
                <a:gd name="T11" fmla="*/ 28 h 62"/>
                <a:gd name="T12" fmla="*/ 44 w 48"/>
                <a:gd name="T13" fmla="*/ 19 h 62"/>
                <a:gd name="T14" fmla="*/ 47 w 48"/>
                <a:gd name="T15" fmla="*/ 9 h 62"/>
                <a:gd name="T16" fmla="*/ 48 w 48"/>
                <a:gd name="T17" fmla="*/ 0 h 62"/>
                <a:gd name="T18" fmla="*/ 40 w 48"/>
                <a:gd name="T19" fmla="*/ 3 h 62"/>
                <a:gd name="T20" fmla="*/ 32 w 48"/>
                <a:gd name="T21" fmla="*/ 6 h 62"/>
                <a:gd name="T22" fmla="*/ 23 w 48"/>
                <a:gd name="T23" fmla="*/ 10 h 62"/>
                <a:gd name="T24" fmla="*/ 17 w 48"/>
                <a:gd name="T25" fmla="*/ 15 h 62"/>
                <a:gd name="T26" fmla="*/ 10 w 48"/>
                <a:gd name="T27" fmla="*/ 21 h 62"/>
                <a:gd name="T28" fmla="*/ 6 w 48"/>
                <a:gd name="T29" fmla="*/ 27 h 62"/>
                <a:gd name="T30" fmla="*/ 4 w 48"/>
                <a:gd name="T31" fmla="*/ 31 h 62"/>
                <a:gd name="T32" fmla="*/ 3 w 48"/>
                <a:gd name="T33" fmla="*/ 35 h 62"/>
                <a:gd name="T34" fmla="*/ 1 w 48"/>
                <a:gd name="T35" fmla="*/ 39 h 62"/>
                <a:gd name="T36" fmla="*/ 0 w 48"/>
                <a:gd name="T37" fmla="*/ 43 h 62"/>
                <a:gd name="T38" fmla="*/ 0 w 48"/>
                <a:gd name="T39" fmla="*/ 52 h 62"/>
                <a:gd name="T40" fmla="*/ 0 w 48"/>
                <a:gd name="T41" fmla="*/ 6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4" name="Freeform 414">
              <a:extLst>
                <a:ext uri="{FF2B5EF4-FFF2-40B4-BE49-F238E27FC236}">
                  <a16:creationId xmlns:a16="http://schemas.microsoft.com/office/drawing/2014/main" id="{2E05D248-7045-4B33-B8FD-5FAA1C9A38DB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47 w 113"/>
                <a:gd name="T1" fmla="*/ 0 h 62"/>
                <a:gd name="T2" fmla="*/ 36 w 113"/>
                <a:gd name="T3" fmla="*/ 7 h 62"/>
                <a:gd name="T4" fmla="*/ 23 w 113"/>
                <a:gd name="T5" fmla="*/ 17 h 62"/>
                <a:gd name="T6" fmla="*/ 11 w 113"/>
                <a:gd name="T7" fmla="*/ 27 h 62"/>
                <a:gd name="T8" fmla="*/ 0 w 113"/>
                <a:gd name="T9" fmla="*/ 37 h 62"/>
                <a:gd name="T10" fmla="*/ 22 w 113"/>
                <a:gd name="T11" fmla="*/ 46 h 62"/>
                <a:gd name="T12" fmla="*/ 41 w 113"/>
                <a:gd name="T13" fmla="*/ 54 h 62"/>
                <a:gd name="T14" fmla="*/ 51 w 113"/>
                <a:gd name="T15" fmla="*/ 57 h 62"/>
                <a:gd name="T16" fmla="*/ 62 w 113"/>
                <a:gd name="T17" fmla="*/ 59 h 62"/>
                <a:gd name="T18" fmla="*/ 73 w 113"/>
                <a:gd name="T19" fmla="*/ 61 h 62"/>
                <a:gd name="T20" fmla="*/ 87 w 113"/>
                <a:gd name="T21" fmla="*/ 62 h 62"/>
                <a:gd name="T22" fmla="*/ 97 w 113"/>
                <a:gd name="T23" fmla="*/ 61 h 62"/>
                <a:gd name="T24" fmla="*/ 106 w 113"/>
                <a:gd name="T25" fmla="*/ 58 h 62"/>
                <a:gd name="T26" fmla="*/ 109 w 113"/>
                <a:gd name="T27" fmla="*/ 56 h 62"/>
                <a:gd name="T28" fmla="*/ 111 w 113"/>
                <a:gd name="T29" fmla="*/ 54 h 62"/>
                <a:gd name="T30" fmla="*/ 113 w 113"/>
                <a:gd name="T31" fmla="*/ 52 h 62"/>
                <a:gd name="T32" fmla="*/ 113 w 113"/>
                <a:gd name="T33" fmla="*/ 49 h 62"/>
                <a:gd name="T34" fmla="*/ 91 w 113"/>
                <a:gd name="T35" fmla="*/ 41 h 62"/>
                <a:gd name="T36" fmla="*/ 70 w 113"/>
                <a:gd name="T37" fmla="*/ 32 h 62"/>
                <a:gd name="T38" fmla="*/ 65 w 113"/>
                <a:gd name="T39" fmla="*/ 29 h 62"/>
                <a:gd name="T40" fmla="*/ 61 w 113"/>
                <a:gd name="T41" fmla="*/ 26 h 62"/>
                <a:gd name="T42" fmla="*/ 57 w 113"/>
                <a:gd name="T43" fmla="*/ 23 h 62"/>
                <a:gd name="T44" fmla="*/ 54 w 113"/>
                <a:gd name="T45" fmla="*/ 20 h 62"/>
                <a:gd name="T46" fmla="*/ 51 w 113"/>
                <a:gd name="T47" fmla="*/ 16 h 62"/>
                <a:gd name="T48" fmla="*/ 48 w 113"/>
                <a:gd name="T49" fmla="*/ 10 h 62"/>
                <a:gd name="T50" fmla="*/ 47 w 113"/>
                <a:gd name="T51" fmla="*/ 5 h 62"/>
                <a:gd name="T52" fmla="*/ 47 w 113"/>
                <a:gd name="T53" fmla="*/ 0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5" name="Freeform 415">
              <a:extLst>
                <a:ext uri="{FF2B5EF4-FFF2-40B4-BE49-F238E27FC236}">
                  <a16:creationId xmlns:a16="http://schemas.microsoft.com/office/drawing/2014/main" id="{E0794793-E464-4C1E-BFD9-2CDB3B5F857C}"/>
                </a:ext>
              </a:extLst>
            </p:cNvPr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15 w 93"/>
                <a:gd name="T3" fmla="*/ 0 h 50"/>
                <a:gd name="T4" fmla="*/ 30 w 93"/>
                <a:gd name="T5" fmla="*/ 1 h 50"/>
                <a:gd name="T6" fmla="*/ 45 w 93"/>
                <a:gd name="T7" fmla="*/ 2 h 50"/>
                <a:gd name="T8" fmla="*/ 59 w 93"/>
                <a:gd name="T9" fmla="*/ 5 h 50"/>
                <a:gd name="T10" fmla="*/ 64 w 93"/>
                <a:gd name="T11" fmla="*/ 7 h 50"/>
                <a:gd name="T12" fmla="*/ 71 w 93"/>
                <a:gd name="T13" fmla="*/ 9 h 50"/>
                <a:gd name="T14" fmla="*/ 75 w 93"/>
                <a:gd name="T15" fmla="*/ 12 h 50"/>
                <a:gd name="T16" fmla="*/ 81 w 93"/>
                <a:gd name="T17" fmla="*/ 16 h 50"/>
                <a:gd name="T18" fmla="*/ 85 w 93"/>
                <a:gd name="T19" fmla="*/ 20 h 50"/>
                <a:gd name="T20" fmla="*/ 89 w 93"/>
                <a:gd name="T21" fmla="*/ 25 h 50"/>
                <a:gd name="T22" fmla="*/ 91 w 93"/>
                <a:gd name="T23" fmla="*/ 30 h 50"/>
                <a:gd name="T24" fmla="*/ 93 w 93"/>
                <a:gd name="T25" fmla="*/ 37 h 50"/>
                <a:gd name="T26" fmla="*/ 79 w 93"/>
                <a:gd name="T27" fmla="*/ 37 h 50"/>
                <a:gd name="T28" fmla="*/ 68 w 93"/>
                <a:gd name="T29" fmla="*/ 39 h 50"/>
                <a:gd name="T30" fmla="*/ 60 w 93"/>
                <a:gd name="T31" fmla="*/ 41 h 50"/>
                <a:gd name="T32" fmla="*/ 52 w 93"/>
                <a:gd name="T33" fmla="*/ 43 h 50"/>
                <a:gd name="T34" fmla="*/ 42 w 93"/>
                <a:gd name="T35" fmla="*/ 47 h 50"/>
                <a:gd name="T36" fmla="*/ 33 w 93"/>
                <a:gd name="T37" fmla="*/ 50 h 50"/>
                <a:gd name="T38" fmla="*/ 30 w 93"/>
                <a:gd name="T39" fmla="*/ 50 h 50"/>
                <a:gd name="T40" fmla="*/ 28 w 93"/>
                <a:gd name="T41" fmla="*/ 48 h 50"/>
                <a:gd name="T42" fmla="*/ 26 w 93"/>
                <a:gd name="T43" fmla="*/ 47 h 50"/>
                <a:gd name="T44" fmla="*/ 25 w 93"/>
                <a:gd name="T45" fmla="*/ 45 h 50"/>
                <a:gd name="T46" fmla="*/ 23 w 93"/>
                <a:gd name="T47" fmla="*/ 41 h 50"/>
                <a:gd name="T48" fmla="*/ 22 w 93"/>
                <a:gd name="T49" fmla="*/ 36 h 50"/>
                <a:gd name="T50" fmla="*/ 22 w 93"/>
                <a:gd name="T51" fmla="*/ 31 h 50"/>
                <a:gd name="T52" fmla="*/ 23 w 93"/>
                <a:gd name="T53" fmla="*/ 26 h 50"/>
                <a:gd name="T54" fmla="*/ 24 w 93"/>
                <a:gd name="T55" fmla="*/ 22 h 50"/>
                <a:gd name="T56" fmla="*/ 26 w 93"/>
                <a:gd name="T57" fmla="*/ 19 h 50"/>
                <a:gd name="T58" fmla="*/ 0 w 93"/>
                <a:gd name="T59" fmla="*/ 19 h 50"/>
                <a:gd name="T60" fmla="*/ 0 w 93"/>
                <a:gd name="T61" fmla="*/ 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6" name="Freeform 416">
              <a:extLst>
                <a:ext uri="{FF2B5EF4-FFF2-40B4-BE49-F238E27FC236}">
                  <a16:creationId xmlns:a16="http://schemas.microsoft.com/office/drawing/2014/main" id="{14A49071-34D7-4D99-9041-0F5D07C56228}"/>
                </a:ext>
              </a:extLst>
            </p:cNvPr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20 w 1029"/>
                <a:gd name="T1" fmla="*/ 112 h 604"/>
                <a:gd name="T2" fmla="*/ 67 w 1029"/>
                <a:gd name="T3" fmla="*/ 60 h 604"/>
                <a:gd name="T4" fmla="*/ 266 w 1029"/>
                <a:gd name="T5" fmla="*/ 0 h 604"/>
                <a:gd name="T6" fmla="*/ 205 w 1029"/>
                <a:gd name="T7" fmla="*/ 47 h 604"/>
                <a:gd name="T8" fmla="*/ 180 w 1029"/>
                <a:gd name="T9" fmla="*/ 105 h 604"/>
                <a:gd name="T10" fmla="*/ 274 w 1029"/>
                <a:gd name="T11" fmla="*/ 60 h 604"/>
                <a:gd name="T12" fmla="*/ 397 w 1029"/>
                <a:gd name="T13" fmla="*/ 14 h 604"/>
                <a:gd name="T14" fmla="*/ 438 w 1029"/>
                <a:gd name="T15" fmla="*/ 23 h 604"/>
                <a:gd name="T16" fmla="*/ 433 w 1029"/>
                <a:gd name="T17" fmla="*/ 71 h 604"/>
                <a:gd name="T18" fmla="*/ 581 w 1029"/>
                <a:gd name="T19" fmla="*/ 80 h 604"/>
                <a:gd name="T20" fmla="*/ 675 w 1029"/>
                <a:gd name="T21" fmla="*/ 89 h 604"/>
                <a:gd name="T22" fmla="*/ 749 w 1029"/>
                <a:gd name="T23" fmla="*/ 111 h 604"/>
                <a:gd name="T24" fmla="*/ 749 w 1029"/>
                <a:gd name="T25" fmla="*/ 134 h 604"/>
                <a:gd name="T26" fmla="*/ 711 w 1029"/>
                <a:gd name="T27" fmla="*/ 184 h 604"/>
                <a:gd name="T28" fmla="*/ 799 w 1029"/>
                <a:gd name="T29" fmla="*/ 168 h 604"/>
                <a:gd name="T30" fmla="*/ 866 w 1029"/>
                <a:gd name="T31" fmla="*/ 191 h 604"/>
                <a:gd name="T32" fmla="*/ 856 w 1029"/>
                <a:gd name="T33" fmla="*/ 239 h 604"/>
                <a:gd name="T34" fmla="*/ 788 w 1029"/>
                <a:gd name="T35" fmla="*/ 248 h 604"/>
                <a:gd name="T36" fmla="*/ 859 w 1029"/>
                <a:gd name="T37" fmla="*/ 284 h 604"/>
                <a:gd name="T38" fmla="*/ 903 w 1029"/>
                <a:gd name="T39" fmla="*/ 327 h 604"/>
                <a:gd name="T40" fmla="*/ 977 w 1029"/>
                <a:gd name="T41" fmla="*/ 329 h 604"/>
                <a:gd name="T42" fmla="*/ 1029 w 1029"/>
                <a:gd name="T43" fmla="*/ 351 h 604"/>
                <a:gd name="T44" fmla="*/ 939 w 1029"/>
                <a:gd name="T45" fmla="*/ 409 h 604"/>
                <a:gd name="T46" fmla="*/ 899 w 1029"/>
                <a:gd name="T47" fmla="*/ 417 h 604"/>
                <a:gd name="T48" fmla="*/ 874 w 1029"/>
                <a:gd name="T49" fmla="*/ 443 h 604"/>
                <a:gd name="T50" fmla="*/ 830 w 1029"/>
                <a:gd name="T51" fmla="*/ 414 h 604"/>
                <a:gd name="T52" fmla="*/ 851 w 1029"/>
                <a:gd name="T53" fmla="*/ 393 h 604"/>
                <a:gd name="T54" fmla="*/ 792 w 1029"/>
                <a:gd name="T55" fmla="*/ 379 h 604"/>
                <a:gd name="T56" fmla="*/ 759 w 1029"/>
                <a:gd name="T57" fmla="*/ 364 h 604"/>
                <a:gd name="T58" fmla="*/ 744 w 1029"/>
                <a:gd name="T59" fmla="*/ 394 h 604"/>
                <a:gd name="T60" fmla="*/ 747 w 1029"/>
                <a:gd name="T61" fmla="*/ 445 h 604"/>
                <a:gd name="T62" fmla="*/ 795 w 1029"/>
                <a:gd name="T63" fmla="*/ 523 h 604"/>
                <a:gd name="T64" fmla="*/ 771 w 1029"/>
                <a:gd name="T65" fmla="*/ 547 h 604"/>
                <a:gd name="T66" fmla="*/ 708 w 1029"/>
                <a:gd name="T67" fmla="*/ 556 h 604"/>
                <a:gd name="T68" fmla="*/ 618 w 1029"/>
                <a:gd name="T69" fmla="*/ 517 h 604"/>
                <a:gd name="T70" fmla="*/ 668 w 1029"/>
                <a:gd name="T71" fmla="*/ 567 h 604"/>
                <a:gd name="T72" fmla="*/ 665 w 1029"/>
                <a:gd name="T73" fmla="*/ 604 h 604"/>
                <a:gd name="T74" fmla="*/ 518 w 1029"/>
                <a:gd name="T75" fmla="*/ 570 h 604"/>
                <a:gd name="T76" fmla="*/ 471 w 1029"/>
                <a:gd name="T77" fmla="*/ 523 h 604"/>
                <a:gd name="T78" fmla="*/ 410 w 1029"/>
                <a:gd name="T79" fmla="*/ 473 h 604"/>
                <a:gd name="T80" fmla="*/ 367 w 1029"/>
                <a:gd name="T81" fmla="*/ 453 h 604"/>
                <a:gd name="T82" fmla="*/ 392 w 1029"/>
                <a:gd name="T83" fmla="*/ 433 h 604"/>
                <a:gd name="T84" fmla="*/ 459 w 1029"/>
                <a:gd name="T85" fmla="*/ 399 h 604"/>
                <a:gd name="T86" fmla="*/ 500 w 1029"/>
                <a:gd name="T87" fmla="*/ 378 h 604"/>
                <a:gd name="T88" fmla="*/ 577 w 1029"/>
                <a:gd name="T89" fmla="*/ 380 h 604"/>
                <a:gd name="T90" fmla="*/ 614 w 1029"/>
                <a:gd name="T91" fmla="*/ 395 h 604"/>
                <a:gd name="T92" fmla="*/ 687 w 1029"/>
                <a:gd name="T93" fmla="*/ 387 h 604"/>
                <a:gd name="T94" fmla="*/ 581 w 1029"/>
                <a:gd name="T95" fmla="*/ 355 h 604"/>
                <a:gd name="T96" fmla="*/ 542 w 1029"/>
                <a:gd name="T97" fmla="*/ 361 h 604"/>
                <a:gd name="T98" fmla="*/ 539 w 1029"/>
                <a:gd name="T99" fmla="*/ 350 h 604"/>
                <a:gd name="T100" fmla="*/ 576 w 1029"/>
                <a:gd name="T101" fmla="*/ 306 h 604"/>
                <a:gd name="T102" fmla="*/ 576 w 1029"/>
                <a:gd name="T103" fmla="*/ 274 h 604"/>
                <a:gd name="T104" fmla="*/ 524 w 1029"/>
                <a:gd name="T105" fmla="*/ 254 h 604"/>
                <a:gd name="T106" fmla="*/ 473 w 1029"/>
                <a:gd name="T107" fmla="*/ 198 h 604"/>
                <a:gd name="T108" fmla="*/ 434 w 1029"/>
                <a:gd name="T109" fmla="*/ 168 h 604"/>
                <a:gd name="T110" fmla="*/ 408 w 1029"/>
                <a:gd name="T111" fmla="*/ 163 h 604"/>
                <a:gd name="T112" fmla="*/ 378 w 1029"/>
                <a:gd name="T113" fmla="*/ 203 h 604"/>
                <a:gd name="T114" fmla="*/ 207 w 1029"/>
                <a:gd name="T115" fmla="*/ 174 h 604"/>
                <a:gd name="T116" fmla="*/ 114 w 1029"/>
                <a:gd name="T117" fmla="*/ 189 h 604"/>
                <a:gd name="T118" fmla="*/ 79 w 1029"/>
                <a:gd name="T119" fmla="*/ 187 h 604"/>
                <a:gd name="T120" fmla="*/ 16 w 1029"/>
                <a:gd name="T121" fmla="*/ 180 h 604"/>
                <a:gd name="T122" fmla="*/ 9 w 1029"/>
                <a:gd name="T123" fmla="*/ 158 h 604"/>
                <a:gd name="T124" fmla="*/ 75 w 1029"/>
                <a:gd name="T125" fmla="*/ 149 h 60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7" name="Freeform 417">
              <a:extLst>
                <a:ext uri="{FF2B5EF4-FFF2-40B4-BE49-F238E27FC236}">
                  <a16:creationId xmlns:a16="http://schemas.microsoft.com/office/drawing/2014/main" id="{700A28C4-9468-4E26-BF09-DE60896A9122}"/>
                </a:ext>
              </a:extLst>
            </p:cNvPr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797 w 1268"/>
                <a:gd name="T1" fmla="*/ 38 h 321"/>
                <a:gd name="T2" fmla="*/ 813 w 1268"/>
                <a:gd name="T3" fmla="*/ 16 h 321"/>
                <a:gd name="T4" fmla="*/ 846 w 1268"/>
                <a:gd name="T5" fmla="*/ 10 h 321"/>
                <a:gd name="T6" fmla="*/ 865 w 1268"/>
                <a:gd name="T7" fmla="*/ 25 h 321"/>
                <a:gd name="T8" fmla="*/ 938 w 1268"/>
                <a:gd name="T9" fmla="*/ 14 h 321"/>
                <a:gd name="T10" fmla="*/ 1020 w 1268"/>
                <a:gd name="T11" fmla="*/ 1 h 321"/>
                <a:gd name="T12" fmla="*/ 1084 w 1268"/>
                <a:gd name="T13" fmla="*/ 17 h 321"/>
                <a:gd name="T14" fmla="*/ 1133 w 1268"/>
                <a:gd name="T15" fmla="*/ 20 h 321"/>
                <a:gd name="T16" fmla="*/ 1268 w 1268"/>
                <a:gd name="T17" fmla="*/ 32 h 321"/>
                <a:gd name="T18" fmla="*/ 1242 w 1268"/>
                <a:gd name="T19" fmla="*/ 50 h 321"/>
                <a:gd name="T20" fmla="*/ 1163 w 1268"/>
                <a:gd name="T21" fmla="*/ 64 h 321"/>
                <a:gd name="T22" fmla="*/ 1053 w 1268"/>
                <a:gd name="T23" fmla="*/ 77 h 321"/>
                <a:gd name="T24" fmla="*/ 1029 w 1268"/>
                <a:gd name="T25" fmla="*/ 96 h 321"/>
                <a:gd name="T26" fmla="*/ 999 w 1268"/>
                <a:gd name="T27" fmla="*/ 104 h 321"/>
                <a:gd name="T28" fmla="*/ 942 w 1268"/>
                <a:gd name="T29" fmla="*/ 102 h 321"/>
                <a:gd name="T30" fmla="*/ 930 w 1268"/>
                <a:gd name="T31" fmla="*/ 118 h 321"/>
                <a:gd name="T32" fmla="*/ 747 w 1268"/>
                <a:gd name="T33" fmla="*/ 133 h 321"/>
                <a:gd name="T34" fmla="*/ 666 w 1268"/>
                <a:gd name="T35" fmla="*/ 156 h 321"/>
                <a:gd name="T36" fmla="*/ 635 w 1268"/>
                <a:gd name="T37" fmla="*/ 181 h 321"/>
                <a:gd name="T38" fmla="*/ 591 w 1268"/>
                <a:gd name="T39" fmla="*/ 167 h 321"/>
                <a:gd name="T40" fmla="*/ 570 w 1268"/>
                <a:gd name="T41" fmla="*/ 181 h 321"/>
                <a:gd name="T42" fmla="*/ 590 w 1268"/>
                <a:gd name="T43" fmla="*/ 207 h 321"/>
                <a:gd name="T44" fmla="*/ 545 w 1268"/>
                <a:gd name="T45" fmla="*/ 237 h 321"/>
                <a:gd name="T46" fmla="*/ 483 w 1268"/>
                <a:gd name="T47" fmla="*/ 236 h 321"/>
                <a:gd name="T48" fmla="*/ 404 w 1268"/>
                <a:gd name="T49" fmla="*/ 242 h 321"/>
                <a:gd name="T50" fmla="*/ 405 w 1268"/>
                <a:gd name="T51" fmla="*/ 257 h 321"/>
                <a:gd name="T52" fmla="*/ 392 w 1268"/>
                <a:gd name="T53" fmla="*/ 293 h 321"/>
                <a:gd name="T54" fmla="*/ 333 w 1268"/>
                <a:gd name="T55" fmla="*/ 320 h 321"/>
                <a:gd name="T56" fmla="*/ 290 w 1268"/>
                <a:gd name="T57" fmla="*/ 296 h 321"/>
                <a:gd name="T58" fmla="*/ 253 w 1268"/>
                <a:gd name="T59" fmla="*/ 285 h 321"/>
                <a:gd name="T60" fmla="*/ 96 w 1268"/>
                <a:gd name="T61" fmla="*/ 276 h 321"/>
                <a:gd name="T62" fmla="*/ 0 w 1268"/>
                <a:gd name="T63" fmla="*/ 285 h 321"/>
                <a:gd name="T64" fmla="*/ 10 w 1268"/>
                <a:gd name="T65" fmla="*/ 266 h 321"/>
                <a:gd name="T66" fmla="*/ 56 w 1268"/>
                <a:gd name="T67" fmla="*/ 246 h 321"/>
                <a:gd name="T68" fmla="*/ 143 w 1268"/>
                <a:gd name="T69" fmla="*/ 235 h 321"/>
                <a:gd name="T70" fmla="*/ 170 w 1268"/>
                <a:gd name="T71" fmla="*/ 225 h 321"/>
                <a:gd name="T72" fmla="*/ 190 w 1268"/>
                <a:gd name="T73" fmla="*/ 217 h 321"/>
                <a:gd name="T74" fmla="*/ 219 w 1268"/>
                <a:gd name="T75" fmla="*/ 232 h 321"/>
                <a:gd name="T76" fmla="*/ 247 w 1268"/>
                <a:gd name="T77" fmla="*/ 247 h 321"/>
                <a:gd name="T78" fmla="*/ 208 w 1268"/>
                <a:gd name="T79" fmla="*/ 207 h 321"/>
                <a:gd name="T80" fmla="*/ 193 w 1268"/>
                <a:gd name="T81" fmla="*/ 200 h 321"/>
                <a:gd name="T82" fmla="*/ 197 w 1268"/>
                <a:gd name="T83" fmla="*/ 181 h 321"/>
                <a:gd name="T84" fmla="*/ 246 w 1268"/>
                <a:gd name="T85" fmla="*/ 174 h 321"/>
                <a:gd name="T86" fmla="*/ 365 w 1268"/>
                <a:gd name="T87" fmla="*/ 186 h 321"/>
                <a:gd name="T88" fmla="*/ 418 w 1268"/>
                <a:gd name="T89" fmla="*/ 174 h 321"/>
                <a:gd name="T90" fmla="*/ 322 w 1268"/>
                <a:gd name="T91" fmla="*/ 169 h 321"/>
                <a:gd name="T92" fmla="*/ 299 w 1268"/>
                <a:gd name="T93" fmla="*/ 149 h 321"/>
                <a:gd name="T94" fmla="*/ 378 w 1268"/>
                <a:gd name="T95" fmla="*/ 137 h 321"/>
                <a:gd name="T96" fmla="*/ 438 w 1268"/>
                <a:gd name="T97" fmla="*/ 155 h 321"/>
                <a:gd name="T98" fmla="*/ 478 w 1268"/>
                <a:gd name="T99" fmla="*/ 124 h 321"/>
                <a:gd name="T100" fmla="*/ 664 w 1268"/>
                <a:gd name="T101" fmla="*/ 87 h 321"/>
                <a:gd name="T102" fmla="*/ 589 w 1268"/>
                <a:gd name="T103" fmla="*/ 110 h 321"/>
                <a:gd name="T104" fmla="*/ 449 w 1268"/>
                <a:gd name="T105" fmla="*/ 111 h 321"/>
                <a:gd name="T106" fmla="*/ 312 w 1268"/>
                <a:gd name="T107" fmla="*/ 116 h 321"/>
                <a:gd name="T108" fmla="*/ 253 w 1268"/>
                <a:gd name="T109" fmla="*/ 101 h 321"/>
                <a:gd name="T110" fmla="*/ 219 w 1268"/>
                <a:gd name="T111" fmla="*/ 80 h 321"/>
                <a:gd name="T112" fmla="*/ 253 w 1268"/>
                <a:gd name="T113" fmla="*/ 71 h 321"/>
                <a:gd name="T114" fmla="*/ 446 w 1268"/>
                <a:gd name="T115" fmla="*/ 47 h 321"/>
                <a:gd name="T116" fmla="*/ 618 w 1268"/>
                <a:gd name="T117" fmla="*/ 32 h 321"/>
                <a:gd name="T118" fmla="*/ 674 w 1268"/>
                <a:gd name="T119" fmla="*/ 20 h 321"/>
                <a:gd name="T120" fmla="*/ 757 w 1268"/>
                <a:gd name="T121" fmla="*/ 26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8" name="Freeform 418">
              <a:extLst>
                <a:ext uri="{FF2B5EF4-FFF2-40B4-BE49-F238E27FC236}">
                  <a16:creationId xmlns:a16="http://schemas.microsoft.com/office/drawing/2014/main" id="{DEE6DF01-7683-4591-8CCE-55ED5AB5A619}"/>
                </a:ext>
              </a:extLst>
            </p:cNvPr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1 w 160"/>
                <a:gd name="T3" fmla="*/ 10 h 117"/>
                <a:gd name="T4" fmla="*/ 4 w 160"/>
                <a:gd name="T5" fmla="*/ 19 h 117"/>
                <a:gd name="T6" fmla="*/ 9 w 160"/>
                <a:gd name="T7" fmla="*/ 29 h 117"/>
                <a:gd name="T8" fmla="*/ 15 w 160"/>
                <a:gd name="T9" fmla="*/ 39 h 117"/>
                <a:gd name="T10" fmla="*/ 22 w 160"/>
                <a:gd name="T11" fmla="*/ 48 h 117"/>
                <a:gd name="T12" fmla="*/ 31 w 160"/>
                <a:gd name="T13" fmla="*/ 59 h 117"/>
                <a:gd name="T14" fmla="*/ 41 w 160"/>
                <a:gd name="T15" fmla="*/ 68 h 117"/>
                <a:gd name="T16" fmla="*/ 51 w 160"/>
                <a:gd name="T17" fmla="*/ 77 h 117"/>
                <a:gd name="T18" fmla="*/ 62 w 160"/>
                <a:gd name="T19" fmla="*/ 85 h 117"/>
                <a:gd name="T20" fmla="*/ 73 w 160"/>
                <a:gd name="T21" fmla="*/ 93 h 117"/>
                <a:gd name="T22" fmla="*/ 84 w 160"/>
                <a:gd name="T23" fmla="*/ 99 h 117"/>
                <a:gd name="T24" fmla="*/ 95 w 160"/>
                <a:gd name="T25" fmla="*/ 105 h 117"/>
                <a:gd name="T26" fmla="*/ 106 w 160"/>
                <a:gd name="T27" fmla="*/ 111 h 117"/>
                <a:gd name="T28" fmla="*/ 116 w 160"/>
                <a:gd name="T29" fmla="*/ 114 h 117"/>
                <a:gd name="T30" fmla="*/ 124 w 160"/>
                <a:gd name="T31" fmla="*/ 117 h 117"/>
                <a:gd name="T32" fmla="*/ 133 w 160"/>
                <a:gd name="T33" fmla="*/ 117 h 117"/>
                <a:gd name="T34" fmla="*/ 139 w 160"/>
                <a:gd name="T35" fmla="*/ 116 h 117"/>
                <a:gd name="T36" fmla="*/ 146 w 160"/>
                <a:gd name="T37" fmla="*/ 113 h 117"/>
                <a:gd name="T38" fmla="*/ 153 w 160"/>
                <a:gd name="T39" fmla="*/ 110 h 117"/>
                <a:gd name="T40" fmla="*/ 160 w 160"/>
                <a:gd name="T41" fmla="*/ 104 h 117"/>
                <a:gd name="T42" fmla="*/ 150 w 160"/>
                <a:gd name="T43" fmla="*/ 91 h 117"/>
                <a:gd name="T44" fmla="*/ 141 w 160"/>
                <a:gd name="T45" fmla="*/ 79 h 117"/>
                <a:gd name="T46" fmla="*/ 138 w 160"/>
                <a:gd name="T47" fmla="*/ 73 h 117"/>
                <a:gd name="T48" fmla="*/ 135 w 160"/>
                <a:gd name="T49" fmla="*/ 66 h 117"/>
                <a:gd name="T50" fmla="*/ 133 w 160"/>
                <a:gd name="T51" fmla="*/ 58 h 117"/>
                <a:gd name="T52" fmla="*/ 133 w 160"/>
                <a:gd name="T53" fmla="*/ 49 h 117"/>
                <a:gd name="T54" fmla="*/ 127 w 160"/>
                <a:gd name="T55" fmla="*/ 48 h 117"/>
                <a:gd name="T56" fmla="*/ 118 w 160"/>
                <a:gd name="T57" fmla="*/ 45 h 117"/>
                <a:gd name="T58" fmla="*/ 108 w 160"/>
                <a:gd name="T59" fmla="*/ 40 h 117"/>
                <a:gd name="T60" fmla="*/ 97 w 160"/>
                <a:gd name="T61" fmla="*/ 34 h 117"/>
                <a:gd name="T62" fmla="*/ 87 w 160"/>
                <a:gd name="T63" fmla="*/ 28 h 117"/>
                <a:gd name="T64" fmla="*/ 77 w 160"/>
                <a:gd name="T65" fmla="*/ 21 h 117"/>
                <a:gd name="T66" fmla="*/ 74 w 160"/>
                <a:gd name="T67" fmla="*/ 17 h 117"/>
                <a:gd name="T68" fmla="*/ 71 w 160"/>
                <a:gd name="T69" fmla="*/ 13 h 117"/>
                <a:gd name="T70" fmla="*/ 68 w 160"/>
                <a:gd name="T71" fmla="*/ 10 h 117"/>
                <a:gd name="T72" fmla="*/ 66 w 160"/>
                <a:gd name="T73" fmla="*/ 6 h 117"/>
                <a:gd name="T74" fmla="*/ 60 w 160"/>
                <a:gd name="T75" fmla="*/ 6 h 117"/>
                <a:gd name="T76" fmla="*/ 52 w 160"/>
                <a:gd name="T77" fmla="*/ 6 h 117"/>
                <a:gd name="T78" fmla="*/ 43 w 160"/>
                <a:gd name="T79" fmla="*/ 4 h 117"/>
                <a:gd name="T80" fmla="*/ 33 w 160"/>
                <a:gd name="T81" fmla="*/ 0 h 117"/>
                <a:gd name="T82" fmla="*/ 0 w 160"/>
                <a:gd name="T83" fmla="*/ 0 h 1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79" name="Freeform 419">
              <a:extLst>
                <a:ext uri="{FF2B5EF4-FFF2-40B4-BE49-F238E27FC236}">
                  <a16:creationId xmlns:a16="http://schemas.microsoft.com/office/drawing/2014/main" id="{65F7ACA5-8DFE-4980-91E8-3E8079769A4D}"/>
                </a:ext>
              </a:extLst>
            </p:cNvPr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40 w 80"/>
                <a:gd name="T1" fmla="*/ 123 h 141"/>
                <a:gd name="T2" fmla="*/ 80 w 80"/>
                <a:gd name="T3" fmla="*/ 36 h 141"/>
                <a:gd name="T4" fmla="*/ 80 w 80"/>
                <a:gd name="T5" fmla="*/ 18 h 141"/>
                <a:gd name="T6" fmla="*/ 68 w 80"/>
                <a:gd name="T7" fmla="*/ 17 h 141"/>
                <a:gd name="T8" fmla="*/ 59 w 80"/>
                <a:gd name="T9" fmla="*/ 16 h 141"/>
                <a:gd name="T10" fmla="*/ 53 w 80"/>
                <a:gd name="T11" fmla="*/ 14 h 141"/>
                <a:gd name="T12" fmla="*/ 47 w 80"/>
                <a:gd name="T13" fmla="*/ 11 h 141"/>
                <a:gd name="T14" fmla="*/ 44 w 80"/>
                <a:gd name="T15" fmla="*/ 8 h 141"/>
                <a:gd name="T16" fmla="*/ 42 w 80"/>
                <a:gd name="T17" fmla="*/ 5 h 141"/>
                <a:gd name="T18" fmla="*/ 41 w 80"/>
                <a:gd name="T19" fmla="*/ 2 h 141"/>
                <a:gd name="T20" fmla="*/ 40 w 80"/>
                <a:gd name="T21" fmla="*/ 0 h 141"/>
                <a:gd name="T22" fmla="*/ 0 w 80"/>
                <a:gd name="T23" fmla="*/ 0 h 141"/>
                <a:gd name="T24" fmla="*/ 0 w 80"/>
                <a:gd name="T25" fmla="*/ 23 h 141"/>
                <a:gd name="T26" fmla="*/ 0 w 80"/>
                <a:gd name="T27" fmla="*/ 40 h 141"/>
                <a:gd name="T28" fmla="*/ 0 w 80"/>
                <a:gd name="T29" fmla="*/ 52 h 141"/>
                <a:gd name="T30" fmla="*/ 0 w 80"/>
                <a:gd name="T31" fmla="*/ 61 h 141"/>
                <a:gd name="T32" fmla="*/ 1 w 80"/>
                <a:gd name="T33" fmla="*/ 69 h 141"/>
                <a:gd name="T34" fmla="*/ 3 w 80"/>
                <a:gd name="T35" fmla="*/ 78 h 141"/>
                <a:gd name="T36" fmla="*/ 7 w 80"/>
                <a:gd name="T37" fmla="*/ 88 h 141"/>
                <a:gd name="T38" fmla="*/ 11 w 80"/>
                <a:gd name="T39" fmla="*/ 99 h 141"/>
                <a:gd name="T40" fmla="*/ 20 w 80"/>
                <a:gd name="T41" fmla="*/ 121 h 141"/>
                <a:gd name="T42" fmla="*/ 27 w 80"/>
                <a:gd name="T43" fmla="*/ 141 h 141"/>
                <a:gd name="T44" fmla="*/ 31 w 80"/>
                <a:gd name="T45" fmla="*/ 135 h 141"/>
                <a:gd name="T46" fmla="*/ 33 w 80"/>
                <a:gd name="T47" fmla="*/ 129 h 141"/>
                <a:gd name="T48" fmla="*/ 34 w 80"/>
                <a:gd name="T49" fmla="*/ 127 h 141"/>
                <a:gd name="T50" fmla="*/ 36 w 80"/>
                <a:gd name="T51" fmla="*/ 125 h 141"/>
                <a:gd name="T52" fmla="*/ 38 w 80"/>
                <a:gd name="T53" fmla="*/ 123 h 141"/>
                <a:gd name="T54" fmla="*/ 40 w 80"/>
                <a:gd name="T55" fmla="*/ 12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0" name="Freeform 420">
              <a:extLst>
                <a:ext uri="{FF2B5EF4-FFF2-40B4-BE49-F238E27FC236}">
                  <a16:creationId xmlns:a16="http://schemas.microsoft.com/office/drawing/2014/main" id="{EE9C552E-7D10-44D8-961C-AA77D570A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93 h 124"/>
                <a:gd name="T2" fmla="*/ 0 w 259"/>
                <a:gd name="T3" fmla="*/ 96 h 124"/>
                <a:gd name="T4" fmla="*/ 2 w 259"/>
                <a:gd name="T5" fmla="*/ 100 h 124"/>
                <a:gd name="T6" fmla="*/ 4 w 259"/>
                <a:gd name="T7" fmla="*/ 103 h 124"/>
                <a:gd name="T8" fmla="*/ 6 w 259"/>
                <a:gd name="T9" fmla="*/ 106 h 124"/>
                <a:gd name="T10" fmla="*/ 14 w 259"/>
                <a:gd name="T11" fmla="*/ 111 h 124"/>
                <a:gd name="T12" fmla="*/ 23 w 259"/>
                <a:gd name="T13" fmla="*/ 115 h 124"/>
                <a:gd name="T14" fmla="*/ 31 w 259"/>
                <a:gd name="T15" fmla="*/ 120 h 124"/>
                <a:gd name="T16" fmla="*/ 41 w 259"/>
                <a:gd name="T17" fmla="*/ 122 h 124"/>
                <a:gd name="T18" fmla="*/ 51 w 259"/>
                <a:gd name="T19" fmla="*/ 124 h 124"/>
                <a:gd name="T20" fmla="*/ 60 w 259"/>
                <a:gd name="T21" fmla="*/ 124 h 124"/>
                <a:gd name="T22" fmla="*/ 68 w 259"/>
                <a:gd name="T23" fmla="*/ 124 h 124"/>
                <a:gd name="T24" fmla="*/ 75 w 259"/>
                <a:gd name="T25" fmla="*/ 123 h 124"/>
                <a:gd name="T26" fmla="*/ 81 w 259"/>
                <a:gd name="T27" fmla="*/ 122 h 124"/>
                <a:gd name="T28" fmla="*/ 87 w 259"/>
                <a:gd name="T29" fmla="*/ 120 h 124"/>
                <a:gd name="T30" fmla="*/ 97 w 259"/>
                <a:gd name="T31" fmla="*/ 114 h 124"/>
                <a:gd name="T32" fmla="*/ 106 w 259"/>
                <a:gd name="T33" fmla="*/ 108 h 124"/>
                <a:gd name="T34" fmla="*/ 115 w 259"/>
                <a:gd name="T35" fmla="*/ 103 h 124"/>
                <a:gd name="T36" fmla="*/ 125 w 259"/>
                <a:gd name="T37" fmla="*/ 98 h 124"/>
                <a:gd name="T38" fmla="*/ 130 w 259"/>
                <a:gd name="T39" fmla="*/ 96 h 124"/>
                <a:gd name="T40" fmla="*/ 137 w 259"/>
                <a:gd name="T41" fmla="*/ 94 h 124"/>
                <a:gd name="T42" fmla="*/ 145 w 259"/>
                <a:gd name="T43" fmla="*/ 93 h 124"/>
                <a:gd name="T44" fmla="*/ 152 w 259"/>
                <a:gd name="T45" fmla="*/ 93 h 124"/>
                <a:gd name="T46" fmla="*/ 162 w 259"/>
                <a:gd name="T47" fmla="*/ 94 h 124"/>
                <a:gd name="T48" fmla="*/ 171 w 259"/>
                <a:gd name="T49" fmla="*/ 96 h 124"/>
                <a:gd name="T50" fmla="*/ 180 w 259"/>
                <a:gd name="T51" fmla="*/ 99 h 124"/>
                <a:gd name="T52" fmla="*/ 188 w 259"/>
                <a:gd name="T53" fmla="*/ 103 h 124"/>
                <a:gd name="T54" fmla="*/ 204 w 259"/>
                <a:gd name="T55" fmla="*/ 111 h 124"/>
                <a:gd name="T56" fmla="*/ 219 w 259"/>
                <a:gd name="T57" fmla="*/ 117 h 124"/>
                <a:gd name="T58" fmla="*/ 259 w 259"/>
                <a:gd name="T59" fmla="*/ 117 h 124"/>
                <a:gd name="T60" fmla="*/ 259 w 259"/>
                <a:gd name="T61" fmla="*/ 99 h 124"/>
                <a:gd name="T62" fmla="*/ 252 w 259"/>
                <a:gd name="T63" fmla="*/ 98 h 124"/>
                <a:gd name="T64" fmla="*/ 244 w 259"/>
                <a:gd name="T65" fmla="*/ 96 h 124"/>
                <a:gd name="T66" fmla="*/ 236 w 259"/>
                <a:gd name="T67" fmla="*/ 94 h 124"/>
                <a:gd name="T68" fmla="*/ 226 w 259"/>
                <a:gd name="T69" fmla="*/ 93 h 124"/>
                <a:gd name="T70" fmla="*/ 230 w 259"/>
                <a:gd name="T71" fmla="*/ 85 h 124"/>
                <a:gd name="T72" fmla="*/ 236 w 259"/>
                <a:gd name="T73" fmla="*/ 79 h 124"/>
                <a:gd name="T74" fmla="*/ 240 w 259"/>
                <a:gd name="T75" fmla="*/ 74 h 124"/>
                <a:gd name="T76" fmla="*/ 246 w 259"/>
                <a:gd name="T77" fmla="*/ 69 h 124"/>
                <a:gd name="T78" fmla="*/ 238 w 259"/>
                <a:gd name="T79" fmla="*/ 61 h 124"/>
                <a:gd name="T80" fmla="*/ 230 w 259"/>
                <a:gd name="T81" fmla="*/ 56 h 124"/>
                <a:gd name="T82" fmla="*/ 222 w 259"/>
                <a:gd name="T83" fmla="*/ 50 h 124"/>
                <a:gd name="T84" fmla="*/ 214 w 259"/>
                <a:gd name="T85" fmla="*/ 46 h 124"/>
                <a:gd name="T86" fmla="*/ 197 w 259"/>
                <a:gd name="T87" fmla="*/ 37 h 124"/>
                <a:gd name="T88" fmla="*/ 182 w 259"/>
                <a:gd name="T89" fmla="*/ 30 h 124"/>
                <a:gd name="T90" fmla="*/ 166 w 259"/>
                <a:gd name="T91" fmla="*/ 23 h 124"/>
                <a:gd name="T92" fmla="*/ 153 w 259"/>
                <a:gd name="T93" fmla="*/ 17 h 124"/>
                <a:gd name="T94" fmla="*/ 147 w 259"/>
                <a:gd name="T95" fmla="*/ 13 h 124"/>
                <a:gd name="T96" fmla="*/ 141 w 259"/>
                <a:gd name="T97" fmla="*/ 10 h 124"/>
                <a:gd name="T98" fmla="*/ 137 w 259"/>
                <a:gd name="T99" fmla="*/ 5 h 124"/>
                <a:gd name="T100" fmla="*/ 132 w 259"/>
                <a:gd name="T101" fmla="*/ 0 h 124"/>
                <a:gd name="T102" fmla="*/ 124 w 259"/>
                <a:gd name="T103" fmla="*/ 3 h 124"/>
                <a:gd name="T104" fmla="*/ 114 w 259"/>
                <a:gd name="T105" fmla="*/ 7 h 124"/>
                <a:gd name="T106" fmla="*/ 105 w 259"/>
                <a:gd name="T107" fmla="*/ 12 h 124"/>
                <a:gd name="T108" fmla="*/ 95 w 259"/>
                <a:gd name="T109" fmla="*/ 17 h 124"/>
                <a:gd name="T110" fmla="*/ 75 w 259"/>
                <a:gd name="T111" fmla="*/ 29 h 124"/>
                <a:gd name="T112" fmla="*/ 57 w 259"/>
                <a:gd name="T113" fmla="*/ 42 h 124"/>
                <a:gd name="T114" fmla="*/ 38 w 259"/>
                <a:gd name="T115" fmla="*/ 56 h 124"/>
                <a:gd name="T116" fmla="*/ 23 w 259"/>
                <a:gd name="T117" fmla="*/ 70 h 124"/>
                <a:gd name="T118" fmla="*/ 9 w 259"/>
                <a:gd name="T119" fmla="*/ 83 h 124"/>
                <a:gd name="T120" fmla="*/ 0 w 259"/>
                <a:gd name="T121" fmla="*/ 93 h 1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1" name="Freeform 421">
              <a:extLst>
                <a:ext uri="{FF2B5EF4-FFF2-40B4-BE49-F238E27FC236}">
                  <a16:creationId xmlns:a16="http://schemas.microsoft.com/office/drawing/2014/main" id="{E55EC805-3010-4F7A-BE4B-4D15100E74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32 h 57"/>
                <a:gd name="T2" fmla="*/ 7 w 119"/>
                <a:gd name="T3" fmla="*/ 35 h 57"/>
                <a:gd name="T4" fmla="*/ 14 w 119"/>
                <a:gd name="T5" fmla="*/ 38 h 57"/>
                <a:gd name="T6" fmla="*/ 20 w 119"/>
                <a:gd name="T7" fmla="*/ 42 h 57"/>
                <a:gd name="T8" fmla="*/ 26 w 119"/>
                <a:gd name="T9" fmla="*/ 47 h 57"/>
                <a:gd name="T10" fmla="*/ 32 w 119"/>
                <a:gd name="T11" fmla="*/ 51 h 57"/>
                <a:gd name="T12" fmla="*/ 36 w 119"/>
                <a:gd name="T13" fmla="*/ 54 h 57"/>
                <a:gd name="T14" fmla="*/ 41 w 119"/>
                <a:gd name="T15" fmla="*/ 56 h 57"/>
                <a:gd name="T16" fmla="*/ 47 w 119"/>
                <a:gd name="T17" fmla="*/ 57 h 57"/>
                <a:gd name="T18" fmla="*/ 55 w 119"/>
                <a:gd name="T19" fmla="*/ 57 h 57"/>
                <a:gd name="T20" fmla="*/ 62 w 119"/>
                <a:gd name="T21" fmla="*/ 56 h 57"/>
                <a:gd name="T22" fmla="*/ 70 w 119"/>
                <a:gd name="T23" fmla="*/ 55 h 57"/>
                <a:gd name="T24" fmla="*/ 77 w 119"/>
                <a:gd name="T25" fmla="*/ 53 h 57"/>
                <a:gd name="T26" fmla="*/ 83 w 119"/>
                <a:gd name="T27" fmla="*/ 50 h 57"/>
                <a:gd name="T28" fmla="*/ 89 w 119"/>
                <a:gd name="T29" fmla="*/ 48 h 57"/>
                <a:gd name="T30" fmla="*/ 93 w 119"/>
                <a:gd name="T31" fmla="*/ 44 h 57"/>
                <a:gd name="T32" fmla="*/ 97 w 119"/>
                <a:gd name="T33" fmla="*/ 40 h 57"/>
                <a:gd name="T34" fmla="*/ 106 w 119"/>
                <a:gd name="T35" fmla="*/ 32 h 57"/>
                <a:gd name="T36" fmla="*/ 112 w 119"/>
                <a:gd name="T37" fmla="*/ 23 h 57"/>
                <a:gd name="T38" fmla="*/ 116 w 119"/>
                <a:gd name="T39" fmla="*/ 13 h 57"/>
                <a:gd name="T40" fmla="*/ 119 w 119"/>
                <a:gd name="T41" fmla="*/ 1 h 57"/>
                <a:gd name="T42" fmla="*/ 101 w 119"/>
                <a:gd name="T43" fmla="*/ 0 h 57"/>
                <a:gd name="T44" fmla="*/ 82 w 119"/>
                <a:gd name="T45" fmla="*/ 0 h 57"/>
                <a:gd name="T46" fmla="*/ 63 w 119"/>
                <a:gd name="T47" fmla="*/ 2 h 57"/>
                <a:gd name="T48" fmla="*/ 45 w 119"/>
                <a:gd name="T49" fmla="*/ 5 h 57"/>
                <a:gd name="T50" fmla="*/ 36 w 119"/>
                <a:gd name="T51" fmla="*/ 7 h 57"/>
                <a:gd name="T52" fmla="*/ 28 w 119"/>
                <a:gd name="T53" fmla="*/ 10 h 57"/>
                <a:gd name="T54" fmla="*/ 22 w 119"/>
                <a:gd name="T55" fmla="*/ 13 h 57"/>
                <a:gd name="T56" fmla="*/ 15 w 119"/>
                <a:gd name="T57" fmla="*/ 16 h 57"/>
                <a:gd name="T58" fmla="*/ 10 w 119"/>
                <a:gd name="T59" fmla="*/ 19 h 57"/>
                <a:gd name="T60" fmla="*/ 5 w 119"/>
                <a:gd name="T61" fmla="*/ 23 h 57"/>
                <a:gd name="T62" fmla="*/ 2 w 119"/>
                <a:gd name="T63" fmla="*/ 27 h 57"/>
                <a:gd name="T64" fmla="*/ 0 w 119"/>
                <a:gd name="T65" fmla="*/ 32 h 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2" name="Freeform 422">
              <a:extLst>
                <a:ext uri="{FF2B5EF4-FFF2-40B4-BE49-F238E27FC236}">
                  <a16:creationId xmlns:a16="http://schemas.microsoft.com/office/drawing/2014/main" id="{448C2796-67F5-4AF0-A641-F15428F5D21A}"/>
                </a:ext>
              </a:extLst>
            </p:cNvPr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50 h 52"/>
                <a:gd name="T2" fmla="*/ 6 w 107"/>
                <a:gd name="T3" fmla="*/ 51 h 52"/>
                <a:gd name="T4" fmla="*/ 9 w 107"/>
                <a:gd name="T5" fmla="*/ 52 h 52"/>
                <a:gd name="T6" fmla="*/ 13 w 107"/>
                <a:gd name="T7" fmla="*/ 52 h 52"/>
                <a:gd name="T8" fmla="*/ 17 w 107"/>
                <a:gd name="T9" fmla="*/ 52 h 52"/>
                <a:gd name="T10" fmla="*/ 24 w 107"/>
                <a:gd name="T11" fmla="*/ 50 h 52"/>
                <a:gd name="T12" fmla="*/ 34 w 107"/>
                <a:gd name="T13" fmla="*/ 50 h 52"/>
                <a:gd name="T14" fmla="*/ 43 w 107"/>
                <a:gd name="T15" fmla="*/ 49 h 52"/>
                <a:gd name="T16" fmla="*/ 53 w 107"/>
                <a:gd name="T17" fmla="*/ 48 h 52"/>
                <a:gd name="T18" fmla="*/ 62 w 107"/>
                <a:gd name="T19" fmla="*/ 47 h 52"/>
                <a:gd name="T20" fmla="*/ 70 w 107"/>
                <a:gd name="T21" fmla="*/ 43 h 52"/>
                <a:gd name="T22" fmla="*/ 79 w 107"/>
                <a:gd name="T23" fmla="*/ 40 h 52"/>
                <a:gd name="T24" fmla="*/ 88 w 107"/>
                <a:gd name="T25" fmla="*/ 36 h 52"/>
                <a:gd name="T26" fmla="*/ 97 w 107"/>
                <a:gd name="T27" fmla="*/ 31 h 52"/>
                <a:gd name="T28" fmla="*/ 107 w 107"/>
                <a:gd name="T29" fmla="*/ 24 h 52"/>
                <a:gd name="T30" fmla="*/ 107 w 107"/>
                <a:gd name="T31" fmla="*/ 0 h 52"/>
                <a:gd name="T32" fmla="*/ 98 w 107"/>
                <a:gd name="T33" fmla="*/ 1 h 52"/>
                <a:gd name="T34" fmla="*/ 86 w 107"/>
                <a:gd name="T35" fmla="*/ 3 h 52"/>
                <a:gd name="T36" fmla="*/ 72 w 107"/>
                <a:gd name="T37" fmla="*/ 7 h 52"/>
                <a:gd name="T38" fmla="*/ 56 w 107"/>
                <a:gd name="T39" fmla="*/ 13 h 52"/>
                <a:gd name="T40" fmla="*/ 41 w 107"/>
                <a:gd name="T41" fmla="*/ 20 h 52"/>
                <a:gd name="T42" fmla="*/ 25 w 107"/>
                <a:gd name="T43" fmla="*/ 28 h 52"/>
                <a:gd name="T44" fmla="*/ 19 w 107"/>
                <a:gd name="T45" fmla="*/ 33 h 52"/>
                <a:gd name="T46" fmla="*/ 12 w 107"/>
                <a:gd name="T47" fmla="*/ 38 h 52"/>
                <a:gd name="T48" fmla="*/ 6 w 107"/>
                <a:gd name="T49" fmla="*/ 43 h 52"/>
                <a:gd name="T50" fmla="*/ 0 w 107"/>
                <a:gd name="T51" fmla="*/ 5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3" name="Freeform 423">
              <a:extLst>
                <a:ext uri="{FF2B5EF4-FFF2-40B4-BE49-F238E27FC236}">
                  <a16:creationId xmlns:a16="http://schemas.microsoft.com/office/drawing/2014/main" id="{1D8BEE69-19BE-408D-8B4E-16F83E86CCFF}"/>
                </a:ext>
              </a:extLst>
            </p:cNvPr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27 w 246"/>
                <a:gd name="T1" fmla="*/ 99 h 99"/>
                <a:gd name="T2" fmla="*/ 22 w 246"/>
                <a:gd name="T3" fmla="*/ 97 h 99"/>
                <a:gd name="T4" fmla="*/ 17 w 246"/>
                <a:gd name="T5" fmla="*/ 96 h 99"/>
                <a:gd name="T6" fmla="*/ 12 w 246"/>
                <a:gd name="T7" fmla="*/ 93 h 99"/>
                <a:gd name="T8" fmla="*/ 9 w 246"/>
                <a:gd name="T9" fmla="*/ 90 h 99"/>
                <a:gd name="T10" fmla="*/ 6 w 246"/>
                <a:gd name="T11" fmla="*/ 86 h 99"/>
                <a:gd name="T12" fmla="*/ 2 w 246"/>
                <a:gd name="T13" fmla="*/ 82 h 99"/>
                <a:gd name="T14" fmla="*/ 1 w 246"/>
                <a:gd name="T15" fmla="*/ 78 h 99"/>
                <a:gd name="T16" fmla="*/ 0 w 246"/>
                <a:gd name="T17" fmla="*/ 73 h 99"/>
                <a:gd name="T18" fmla="*/ 0 w 246"/>
                <a:gd name="T19" fmla="*/ 69 h 99"/>
                <a:gd name="T20" fmla="*/ 1 w 246"/>
                <a:gd name="T21" fmla="*/ 65 h 99"/>
                <a:gd name="T22" fmla="*/ 3 w 246"/>
                <a:gd name="T23" fmla="*/ 60 h 99"/>
                <a:gd name="T24" fmla="*/ 5 w 246"/>
                <a:gd name="T25" fmla="*/ 56 h 99"/>
                <a:gd name="T26" fmla="*/ 10 w 246"/>
                <a:gd name="T27" fmla="*/ 49 h 99"/>
                <a:gd name="T28" fmla="*/ 18 w 246"/>
                <a:gd name="T29" fmla="*/ 41 h 99"/>
                <a:gd name="T30" fmla="*/ 25 w 246"/>
                <a:gd name="T31" fmla="*/ 34 h 99"/>
                <a:gd name="T32" fmla="*/ 35 w 246"/>
                <a:gd name="T33" fmla="*/ 28 h 99"/>
                <a:gd name="T34" fmla="*/ 46 w 246"/>
                <a:gd name="T35" fmla="*/ 23 h 99"/>
                <a:gd name="T36" fmla="*/ 57 w 246"/>
                <a:gd name="T37" fmla="*/ 18 h 99"/>
                <a:gd name="T38" fmla="*/ 69 w 246"/>
                <a:gd name="T39" fmla="*/ 14 h 99"/>
                <a:gd name="T40" fmla="*/ 81 w 246"/>
                <a:gd name="T41" fmla="*/ 10 h 99"/>
                <a:gd name="T42" fmla="*/ 92 w 246"/>
                <a:gd name="T43" fmla="*/ 7 h 99"/>
                <a:gd name="T44" fmla="*/ 104 w 246"/>
                <a:gd name="T45" fmla="*/ 4 h 99"/>
                <a:gd name="T46" fmla="*/ 124 w 246"/>
                <a:gd name="T47" fmla="*/ 1 h 99"/>
                <a:gd name="T48" fmla="*/ 140 w 246"/>
                <a:gd name="T49" fmla="*/ 0 h 99"/>
                <a:gd name="T50" fmla="*/ 168 w 246"/>
                <a:gd name="T51" fmla="*/ 0 h 99"/>
                <a:gd name="T52" fmla="*/ 193 w 246"/>
                <a:gd name="T53" fmla="*/ 1 h 99"/>
                <a:gd name="T54" fmla="*/ 219 w 246"/>
                <a:gd name="T55" fmla="*/ 2 h 99"/>
                <a:gd name="T56" fmla="*/ 246 w 246"/>
                <a:gd name="T57" fmla="*/ 6 h 99"/>
                <a:gd name="T58" fmla="*/ 244 w 246"/>
                <a:gd name="T59" fmla="*/ 11 h 99"/>
                <a:gd name="T60" fmla="*/ 241 w 246"/>
                <a:gd name="T61" fmla="*/ 15 h 99"/>
                <a:gd name="T62" fmla="*/ 236 w 246"/>
                <a:gd name="T63" fmla="*/ 20 h 99"/>
                <a:gd name="T64" fmla="*/ 231 w 246"/>
                <a:gd name="T65" fmla="*/ 26 h 99"/>
                <a:gd name="T66" fmla="*/ 215 w 246"/>
                <a:gd name="T67" fmla="*/ 36 h 99"/>
                <a:gd name="T68" fmla="*/ 199 w 246"/>
                <a:gd name="T69" fmla="*/ 46 h 99"/>
                <a:gd name="T70" fmla="*/ 180 w 246"/>
                <a:gd name="T71" fmla="*/ 55 h 99"/>
                <a:gd name="T72" fmla="*/ 162 w 246"/>
                <a:gd name="T73" fmla="*/ 61 h 99"/>
                <a:gd name="T74" fmla="*/ 152 w 246"/>
                <a:gd name="T75" fmla="*/ 64 h 99"/>
                <a:gd name="T76" fmla="*/ 143 w 246"/>
                <a:gd name="T77" fmla="*/ 66 h 99"/>
                <a:gd name="T78" fmla="*/ 134 w 246"/>
                <a:gd name="T79" fmla="*/ 67 h 99"/>
                <a:gd name="T80" fmla="*/ 126 w 246"/>
                <a:gd name="T81" fmla="*/ 67 h 99"/>
                <a:gd name="T82" fmla="*/ 120 w 246"/>
                <a:gd name="T83" fmla="*/ 67 h 99"/>
                <a:gd name="T84" fmla="*/ 110 w 246"/>
                <a:gd name="T85" fmla="*/ 67 h 99"/>
                <a:gd name="T86" fmla="*/ 100 w 246"/>
                <a:gd name="T87" fmla="*/ 67 h 99"/>
                <a:gd name="T88" fmla="*/ 93 w 246"/>
                <a:gd name="T89" fmla="*/ 67 h 99"/>
                <a:gd name="T90" fmla="*/ 88 w 246"/>
                <a:gd name="T91" fmla="*/ 69 h 99"/>
                <a:gd name="T92" fmla="*/ 80 w 246"/>
                <a:gd name="T93" fmla="*/ 72 h 99"/>
                <a:gd name="T94" fmla="*/ 72 w 246"/>
                <a:gd name="T95" fmla="*/ 77 h 99"/>
                <a:gd name="T96" fmla="*/ 63 w 246"/>
                <a:gd name="T97" fmla="*/ 83 h 99"/>
                <a:gd name="T98" fmla="*/ 53 w 246"/>
                <a:gd name="T99" fmla="*/ 88 h 99"/>
                <a:gd name="T100" fmla="*/ 44 w 246"/>
                <a:gd name="T101" fmla="*/ 93 h 99"/>
                <a:gd name="T102" fmla="*/ 35 w 246"/>
                <a:gd name="T103" fmla="*/ 96 h 99"/>
                <a:gd name="T104" fmla="*/ 27 w 246"/>
                <a:gd name="T105" fmla="*/ 99 h 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4" name="Freeform 424">
              <a:extLst>
                <a:ext uri="{FF2B5EF4-FFF2-40B4-BE49-F238E27FC236}">
                  <a16:creationId xmlns:a16="http://schemas.microsoft.com/office/drawing/2014/main" id="{1BCC22BA-D59F-4AEC-90AA-C4DB70D740D0}"/>
                </a:ext>
              </a:extLst>
            </p:cNvPr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33 w 233"/>
                <a:gd name="T1" fmla="*/ 88 h 123"/>
                <a:gd name="T2" fmla="*/ 10 w 233"/>
                <a:gd name="T3" fmla="*/ 78 h 123"/>
                <a:gd name="T4" fmla="*/ 0 w 233"/>
                <a:gd name="T5" fmla="*/ 55 h 123"/>
                <a:gd name="T6" fmla="*/ 20 w 233"/>
                <a:gd name="T7" fmla="*/ 37 h 123"/>
                <a:gd name="T8" fmla="*/ 40 w 233"/>
                <a:gd name="T9" fmla="*/ 37 h 123"/>
                <a:gd name="T10" fmla="*/ 61 w 233"/>
                <a:gd name="T11" fmla="*/ 37 h 123"/>
                <a:gd name="T12" fmla="*/ 72 w 233"/>
                <a:gd name="T13" fmla="*/ 36 h 123"/>
                <a:gd name="T14" fmla="*/ 83 w 233"/>
                <a:gd name="T15" fmla="*/ 33 h 123"/>
                <a:gd name="T16" fmla="*/ 104 w 233"/>
                <a:gd name="T17" fmla="*/ 23 h 123"/>
                <a:gd name="T18" fmla="*/ 123 w 233"/>
                <a:gd name="T19" fmla="*/ 11 h 123"/>
                <a:gd name="T20" fmla="*/ 146 w 233"/>
                <a:gd name="T21" fmla="*/ 0 h 123"/>
                <a:gd name="T22" fmla="*/ 161 w 233"/>
                <a:gd name="T23" fmla="*/ 8 h 123"/>
                <a:gd name="T24" fmla="*/ 181 w 233"/>
                <a:gd name="T25" fmla="*/ 12 h 123"/>
                <a:gd name="T26" fmla="*/ 190 w 233"/>
                <a:gd name="T27" fmla="*/ 10 h 123"/>
                <a:gd name="T28" fmla="*/ 201 w 233"/>
                <a:gd name="T29" fmla="*/ 6 h 123"/>
                <a:gd name="T30" fmla="*/ 213 w 233"/>
                <a:gd name="T31" fmla="*/ 0 h 123"/>
                <a:gd name="T32" fmla="*/ 232 w 233"/>
                <a:gd name="T33" fmla="*/ 6 h 123"/>
                <a:gd name="T34" fmla="*/ 228 w 233"/>
                <a:gd name="T35" fmla="*/ 18 h 123"/>
                <a:gd name="T36" fmla="*/ 219 w 233"/>
                <a:gd name="T37" fmla="*/ 25 h 123"/>
                <a:gd name="T38" fmla="*/ 207 w 233"/>
                <a:gd name="T39" fmla="*/ 30 h 123"/>
                <a:gd name="T40" fmla="*/ 201 w 233"/>
                <a:gd name="T41" fmla="*/ 43 h 123"/>
                <a:gd name="T42" fmla="*/ 206 w 233"/>
                <a:gd name="T43" fmla="*/ 62 h 123"/>
                <a:gd name="T44" fmla="*/ 185 w 233"/>
                <a:gd name="T45" fmla="*/ 85 h 123"/>
                <a:gd name="T46" fmla="*/ 157 w 233"/>
                <a:gd name="T47" fmla="*/ 96 h 123"/>
                <a:gd name="T48" fmla="*/ 139 w 233"/>
                <a:gd name="T49" fmla="*/ 98 h 123"/>
                <a:gd name="T50" fmla="*/ 116 w 233"/>
                <a:gd name="T51" fmla="*/ 100 h 123"/>
                <a:gd name="T52" fmla="*/ 96 w 233"/>
                <a:gd name="T53" fmla="*/ 106 h 123"/>
                <a:gd name="T54" fmla="*/ 82 w 233"/>
                <a:gd name="T55" fmla="*/ 115 h 123"/>
                <a:gd name="T56" fmla="*/ 67 w 233"/>
                <a:gd name="T57" fmla="*/ 122 h 123"/>
                <a:gd name="T58" fmla="*/ 58 w 233"/>
                <a:gd name="T59" fmla="*/ 122 h 123"/>
                <a:gd name="T60" fmla="*/ 53 w 233"/>
                <a:gd name="T61" fmla="*/ 115 h 123"/>
                <a:gd name="T62" fmla="*/ 48 w 233"/>
                <a:gd name="T63" fmla="*/ 100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5" name="Freeform 425">
              <a:extLst>
                <a:ext uri="{FF2B5EF4-FFF2-40B4-BE49-F238E27FC236}">
                  <a16:creationId xmlns:a16="http://schemas.microsoft.com/office/drawing/2014/main" id="{75493BEA-343C-49E9-B859-FD6C89DBC7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147 h 172"/>
                <a:gd name="T2" fmla="*/ 3 w 484"/>
                <a:gd name="T3" fmla="*/ 156 h 172"/>
                <a:gd name="T4" fmla="*/ 9 w 484"/>
                <a:gd name="T5" fmla="*/ 162 h 172"/>
                <a:gd name="T6" fmla="*/ 17 w 484"/>
                <a:gd name="T7" fmla="*/ 167 h 172"/>
                <a:gd name="T8" fmla="*/ 31 w 484"/>
                <a:gd name="T9" fmla="*/ 170 h 172"/>
                <a:gd name="T10" fmla="*/ 51 w 484"/>
                <a:gd name="T11" fmla="*/ 172 h 172"/>
                <a:gd name="T12" fmla="*/ 73 w 484"/>
                <a:gd name="T13" fmla="*/ 172 h 172"/>
                <a:gd name="T14" fmla="*/ 99 w 484"/>
                <a:gd name="T15" fmla="*/ 167 h 172"/>
                <a:gd name="T16" fmla="*/ 139 w 484"/>
                <a:gd name="T17" fmla="*/ 156 h 172"/>
                <a:gd name="T18" fmla="*/ 189 w 484"/>
                <a:gd name="T19" fmla="*/ 135 h 172"/>
                <a:gd name="T20" fmla="*/ 240 w 484"/>
                <a:gd name="T21" fmla="*/ 113 h 172"/>
                <a:gd name="T22" fmla="*/ 287 w 484"/>
                <a:gd name="T23" fmla="*/ 100 h 172"/>
                <a:gd name="T24" fmla="*/ 350 w 484"/>
                <a:gd name="T25" fmla="*/ 87 h 172"/>
                <a:gd name="T26" fmla="*/ 401 w 484"/>
                <a:gd name="T27" fmla="*/ 75 h 172"/>
                <a:gd name="T28" fmla="*/ 434 w 484"/>
                <a:gd name="T29" fmla="*/ 64 h 172"/>
                <a:gd name="T30" fmla="*/ 461 w 484"/>
                <a:gd name="T31" fmla="*/ 52 h 172"/>
                <a:gd name="T32" fmla="*/ 475 w 484"/>
                <a:gd name="T33" fmla="*/ 42 h 172"/>
                <a:gd name="T34" fmla="*/ 482 w 484"/>
                <a:gd name="T35" fmla="*/ 35 h 172"/>
                <a:gd name="T36" fmla="*/ 449 w 484"/>
                <a:gd name="T37" fmla="*/ 26 h 172"/>
                <a:gd name="T38" fmla="*/ 387 w 484"/>
                <a:gd name="T39" fmla="*/ 16 h 172"/>
                <a:gd name="T40" fmla="*/ 331 w 484"/>
                <a:gd name="T41" fmla="*/ 6 h 172"/>
                <a:gd name="T42" fmla="*/ 272 w 484"/>
                <a:gd name="T43" fmla="*/ 0 h 172"/>
                <a:gd name="T44" fmla="*/ 225 w 484"/>
                <a:gd name="T45" fmla="*/ 0 h 172"/>
                <a:gd name="T46" fmla="*/ 203 w 484"/>
                <a:gd name="T47" fmla="*/ 4 h 172"/>
                <a:gd name="T48" fmla="*/ 186 w 484"/>
                <a:gd name="T49" fmla="*/ 8 h 172"/>
                <a:gd name="T50" fmla="*/ 176 w 484"/>
                <a:gd name="T51" fmla="*/ 6 h 172"/>
                <a:gd name="T52" fmla="*/ 169 w 484"/>
                <a:gd name="T53" fmla="*/ 3 h 172"/>
                <a:gd name="T54" fmla="*/ 165 w 484"/>
                <a:gd name="T55" fmla="*/ 8 h 172"/>
                <a:gd name="T56" fmla="*/ 161 w 484"/>
                <a:gd name="T57" fmla="*/ 24 h 172"/>
                <a:gd name="T58" fmla="*/ 154 w 484"/>
                <a:gd name="T59" fmla="*/ 36 h 172"/>
                <a:gd name="T60" fmla="*/ 144 w 484"/>
                <a:gd name="T61" fmla="*/ 46 h 172"/>
                <a:gd name="T62" fmla="*/ 127 w 484"/>
                <a:gd name="T63" fmla="*/ 58 h 172"/>
                <a:gd name="T64" fmla="*/ 97 w 484"/>
                <a:gd name="T65" fmla="*/ 69 h 172"/>
                <a:gd name="T66" fmla="*/ 66 w 484"/>
                <a:gd name="T67" fmla="*/ 78 h 172"/>
                <a:gd name="T68" fmla="*/ 38 w 484"/>
                <a:gd name="T69" fmla="*/ 88 h 172"/>
                <a:gd name="T70" fmla="*/ 19 w 484"/>
                <a:gd name="T71" fmla="*/ 98 h 172"/>
                <a:gd name="T72" fmla="*/ 10 w 484"/>
                <a:gd name="T73" fmla="*/ 107 h 172"/>
                <a:gd name="T74" fmla="*/ 3 w 484"/>
                <a:gd name="T75" fmla="*/ 119 h 172"/>
                <a:gd name="T76" fmla="*/ 0 w 484"/>
                <a:gd name="T77" fmla="*/ 134 h 1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6" name="Freeform 426">
              <a:extLst>
                <a:ext uri="{FF2B5EF4-FFF2-40B4-BE49-F238E27FC236}">
                  <a16:creationId xmlns:a16="http://schemas.microsoft.com/office/drawing/2014/main" id="{9F1D728A-C334-411F-A9E9-A4C64D4A7C05}"/>
                </a:ext>
              </a:extLst>
            </p:cNvPr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317 w 684"/>
                <a:gd name="T1" fmla="*/ 5 h 240"/>
                <a:gd name="T2" fmla="*/ 304 w 684"/>
                <a:gd name="T3" fmla="*/ 27 h 240"/>
                <a:gd name="T4" fmla="*/ 297 w 684"/>
                <a:gd name="T5" fmla="*/ 41 h 240"/>
                <a:gd name="T6" fmla="*/ 299 w 684"/>
                <a:gd name="T7" fmla="*/ 43 h 240"/>
                <a:gd name="T8" fmla="*/ 337 w 684"/>
                <a:gd name="T9" fmla="*/ 39 h 240"/>
                <a:gd name="T10" fmla="*/ 372 w 684"/>
                <a:gd name="T11" fmla="*/ 19 h 240"/>
                <a:gd name="T12" fmla="*/ 379 w 684"/>
                <a:gd name="T13" fmla="*/ 38 h 240"/>
                <a:gd name="T14" fmla="*/ 377 w 684"/>
                <a:gd name="T15" fmla="*/ 55 h 240"/>
                <a:gd name="T16" fmla="*/ 405 w 684"/>
                <a:gd name="T17" fmla="*/ 69 h 240"/>
                <a:gd name="T18" fmla="*/ 511 w 684"/>
                <a:gd name="T19" fmla="*/ 51 h 240"/>
                <a:gd name="T20" fmla="*/ 514 w 684"/>
                <a:gd name="T21" fmla="*/ 70 h 240"/>
                <a:gd name="T22" fmla="*/ 541 w 684"/>
                <a:gd name="T23" fmla="*/ 63 h 240"/>
                <a:gd name="T24" fmla="*/ 557 w 684"/>
                <a:gd name="T25" fmla="*/ 45 h 240"/>
                <a:gd name="T26" fmla="*/ 558 w 684"/>
                <a:gd name="T27" fmla="*/ 19 h 240"/>
                <a:gd name="T28" fmla="*/ 563 w 684"/>
                <a:gd name="T29" fmla="*/ 8 h 240"/>
                <a:gd name="T30" fmla="*/ 579 w 684"/>
                <a:gd name="T31" fmla="*/ 0 h 240"/>
                <a:gd name="T32" fmla="*/ 624 w 684"/>
                <a:gd name="T33" fmla="*/ 3 h 240"/>
                <a:gd name="T34" fmla="*/ 645 w 684"/>
                <a:gd name="T35" fmla="*/ 0 h 240"/>
                <a:gd name="T36" fmla="*/ 657 w 684"/>
                <a:gd name="T37" fmla="*/ 39 h 240"/>
                <a:gd name="T38" fmla="*/ 653 w 684"/>
                <a:gd name="T39" fmla="*/ 70 h 240"/>
                <a:gd name="T40" fmla="*/ 637 w 684"/>
                <a:gd name="T41" fmla="*/ 101 h 240"/>
                <a:gd name="T42" fmla="*/ 618 w 684"/>
                <a:gd name="T43" fmla="*/ 124 h 240"/>
                <a:gd name="T44" fmla="*/ 648 w 684"/>
                <a:gd name="T45" fmla="*/ 137 h 240"/>
                <a:gd name="T46" fmla="*/ 672 w 684"/>
                <a:gd name="T47" fmla="*/ 145 h 240"/>
                <a:gd name="T48" fmla="*/ 684 w 684"/>
                <a:gd name="T49" fmla="*/ 180 h 240"/>
                <a:gd name="T50" fmla="*/ 639 w 684"/>
                <a:gd name="T51" fmla="*/ 185 h 240"/>
                <a:gd name="T52" fmla="*/ 608 w 684"/>
                <a:gd name="T53" fmla="*/ 181 h 240"/>
                <a:gd name="T54" fmla="*/ 574 w 684"/>
                <a:gd name="T55" fmla="*/ 180 h 240"/>
                <a:gd name="T56" fmla="*/ 564 w 684"/>
                <a:gd name="T57" fmla="*/ 184 h 240"/>
                <a:gd name="T58" fmla="*/ 542 w 684"/>
                <a:gd name="T59" fmla="*/ 200 h 240"/>
                <a:gd name="T60" fmla="*/ 524 w 684"/>
                <a:gd name="T61" fmla="*/ 209 h 240"/>
                <a:gd name="T62" fmla="*/ 493 w 684"/>
                <a:gd name="T63" fmla="*/ 209 h 240"/>
                <a:gd name="T64" fmla="*/ 452 w 684"/>
                <a:gd name="T65" fmla="*/ 204 h 240"/>
                <a:gd name="T66" fmla="*/ 422 w 684"/>
                <a:gd name="T67" fmla="*/ 198 h 240"/>
                <a:gd name="T68" fmla="*/ 337 w 684"/>
                <a:gd name="T69" fmla="*/ 211 h 240"/>
                <a:gd name="T70" fmla="*/ 231 w 684"/>
                <a:gd name="T71" fmla="*/ 230 h 240"/>
                <a:gd name="T72" fmla="*/ 169 w 684"/>
                <a:gd name="T73" fmla="*/ 238 h 240"/>
                <a:gd name="T74" fmla="*/ 124 w 684"/>
                <a:gd name="T75" fmla="*/ 238 h 240"/>
                <a:gd name="T76" fmla="*/ 100 w 684"/>
                <a:gd name="T77" fmla="*/ 228 h 240"/>
                <a:gd name="T78" fmla="*/ 67 w 684"/>
                <a:gd name="T79" fmla="*/ 208 h 240"/>
                <a:gd name="T80" fmla="*/ 29 w 684"/>
                <a:gd name="T81" fmla="*/ 196 h 240"/>
                <a:gd name="T82" fmla="*/ 0 w 684"/>
                <a:gd name="T83" fmla="*/ 173 h 240"/>
                <a:gd name="T84" fmla="*/ 64 w 684"/>
                <a:gd name="T85" fmla="*/ 159 h 240"/>
                <a:gd name="T86" fmla="*/ 100 w 684"/>
                <a:gd name="T87" fmla="*/ 154 h 240"/>
                <a:gd name="T88" fmla="*/ 156 w 684"/>
                <a:gd name="T89" fmla="*/ 160 h 240"/>
                <a:gd name="T90" fmla="*/ 201 w 684"/>
                <a:gd name="T91" fmla="*/ 165 h 240"/>
                <a:gd name="T92" fmla="*/ 224 w 684"/>
                <a:gd name="T93" fmla="*/ 162 h 240"/>
                <a:gd name="T94" fmla="*/ 26 w 684"/>
                <a:gd name="T95" fmla="*/ 136 h 240"/>
                <a:gd name="T96" fmla="*/ 52 w 684"/>
                <a:gd name="T97" fmla="*/ 128 h 240"/>
                <a:gd name="T98" fmla="*/ 109 w 684"/>
                <a:gd name="T99" fmla="*/ 117 h 240"/>
                <a:gd name="T100" fmla="*/ 165 w 684"/>
                <a:gd name="T101" fmla="*/ 108 h 240"/>
                <a:gd name="T102" fmla="*/ 187 w 684"/>
                <a:gd name="T103" fmla="*/ 99 h 240"/>
                <a:gd name="T104" fmla="*/ 166 w 684"/>
                <a:gd name="T105" fmla="*/ 93 h 240"/>
                <a:gd name="T106" fmla="*/ 125 w 684"/>
                <a:gd name="T107" fmla="*/ 98 h 240"/>
                <a:gd name="T108" fmla="*/ 71 w 684"/>
                <a:gd name="T109" fmla="*/ 110 h 240"/>
                <a:gd name="T110" fmla="*/ 52 w 684"/>
                <a:gd name="T111" fmla="*/ 106 h 240"/>
                <a:gd name="T112" fmla="*/ 55 w 684"/>
                <a:gd name="T113" fmla="*/ 90 h 240"/>
                <a:gd name="T114" fmla="*/ 54 w 684"/>
                <a:gd name="T115" fmla="*/ 81 h 240"/>
                <a:gd name="T116" fmla="*/ 59 w 684"/>
                <a:gd name="T117" fmla="*/ 78 h 2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7" name="Freeform 427">
              <a:extLst>
                <a:ext uri="{FF2B5EF4-FFF2-40B4-BE49-F238E27FC236}">
                  <a16:creationId xmlns:a16="http://schemas.microsoft.com/office/drawing/2014/main" id="{49927A2A-6FF7-4E3F-8646-E206DC265A10}"/>
                </a:ext>
              </a:extLst>
            </p:cNvPr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180 w 332"/>
                <a:gd name="T1" fmla="*/ 38 h 287"/>
                <a:gd name="T2" fmla="*/ 202 w 332"/>
                <a:gd name="T3" fmla="*/ 24 h 287"/>
                <a:gd name="T4" fmla="*/ 226 w 332"/>
                <a:gd name="T5" fmla="*/ 7 h 287"/>
                <a:gd name="T6" fmla="*/ 240 w 332"/>
                <a:gd name="T7" fmla="*/ 1 h 287"/>
                <a:gd name="T8" fmla="*/ 246 w 332"/>
                <a:gd name="T9" fmla="*/ 1 h 287"/>
                <a:gd name="T10" fmla="*/ 245 w 332"/>
                <a:gd name="T11" fmla="*/ 12 h 287"/>
                <a:gd name="T12" fmla="*/ 234 w 332"/>
                <a:gd name="T13" fmla="*/ 33 h 287"/>
                <a:gd name="T14" fmla="*/ 217 w 332"/>
                <a:gd name="T15" fmla="*/ 55 h 287"/>
                <a:gd name="T16" fmla="*/ 202 w 332"/>
                <a:gd name="T17" fmla="*/ 67 h 287"/>
                <a:gd name="T18" fmla="*/ 191 w 332"/>
                <a:gd name="T19" fmla="*/ 71 h 287"/>
                <a:gd name="T20" fmla="*/ 191 w 332"/>
                <a:gd name="T21" fmla="*/ 73 h 287"/>
                <a:gd name="T22" fmla="*/ 201 w 332"/>
                <a:gd name="T23" fmla="*/ 74 h 287"/>
                <a:gd name="T24" fmla="*/ 216 w 332"/>
                <a:gd name="T25" fmla="*/ 72 h 287"/>
                <a:gd name="T26" fmla="*/ 224 w 332"/>
                <a:gd name="T27" fmla="*/ 77 h 287"/>
                <a:gd name="T28" fmla="*/ 217 w 332"/>
                <a:gd name="T29" fmla="*/ 88 h 287"/>
                <a:gd name="T30" fmla="*/ 214 w 332"/>
                <a:gd name="T31" fmla="*/ 97 h 287"/>
                <a:gd name="T32" fmla="*/ 217 w 332"/>
                <a:gd name="T33" fmla="*/ 105 h 287"/>
                <a:gd name="T34" fmla="*/ 249 w 332"/>
                <a:gd name="T35" fmla="*/ 113 h 287"/>
                <a:gd name="T36" fmla="*/ 308 w 332"/>
                <a:gd name="T37" fmla="*/ 124 h 287"/>
                <a:gd name="T38" fmla="*/ 322 w 332"/>
                <a:gd name="T39" fmla="*/ 131 h 287"/>
                <a:gd name="T40" fmla="*/ 315 w 332"/>
                <a:gd name="T41" fmla="*/ 140 h 287"/>
                <a:gd name="T42" fmla="*/ 303 w 332"/>
                <a:gd name="T43" fmla="*/ 149 h 287"/>
                <a:gd name="T44" fmla="*/ 299 w 332"/>
                <a:gd name="T45" fmla="*/ 154 h 287"/>
                <a:gd name="T46" fmla="*/ 302 w 332"/>
                <a:gd name="T47" fmla="*/ 160 h 287"/>
                <a:gd name="T48" fmla="*/ 308 w 332"/>
                <a:gd name="T49" fmla="*/ 168 h 287"/>
                <a:gd name="T50" fmla="*/ 319 w 332"/>
                <a:gd name="T51" fmla="*/ 176 h 287"/>
                <a:gd name="T52" fmla="*/ 329 w 332"/>
                <a:gd name="T53" fmla="*/ 184 h 287"/>
                <a:gd name="T54" fmla="*/ 290 w 332"/>
                <a:gd name="T55" fmla="*/ 211 h 287"/>
                <a:gd name="T56" fmla="*/ 241 w 332"/>
                <a:gd name="T57" fmla="*/ 241 h 287"/>
                <a:gd name="T58" fmla="*/ 207 w 332"/>
                <a:gd name="T59" fmla="*/ 268 h 287"/>
                <a:gd name="T60" fmla="*/ 173 w 332"/>
                <a:gd name="T61" fmla="*/ 244 h 287"/>
                <a:gd name="T62" fmla="*/ 182 w 332"/>
                <a:gd name="T63" fmla="*/ 243 h 287"/>
                <a:gd name="T64" fmla="*/ 189 w 332"/>
                <a:gd name="T65" fmla="*/ 240 h 287"/>
                <a:gd name="T66" fmla="*/ 200 w 332"/>
                <a:gd name="T67" fmla="*/ 232 h 287"/>
                <a:gd name="T68" fmla="*/ 149 w 332"/>
                <a:gd name="T69" fmla="*/ 232 h 287"/>
                <a:gd name="T70" fmla="*/ 101 w 332"/>
                <a:gd name="T71" fmla="*/ 232 h 287"/>
                <a:gd name="T72" fmla="*/ 58 w 332"/>
                <a:gd name="T73" fmla="*/ 232 h 287"/>
                <a:gd name="T74" fmla="*/ 27 w 332"/>
                <a:gd name="T75" fmla="*/ 232 h 287"/>
                <a:gd name="T76" fmla="*/ 11 w 332"/>
                <a:gd name="T77" fmla="*/ 227 h 287"/>
                <a:gd name="T78" fmla="*/ 3 w 332"/>
                <a:gd name="T79" fmla="*/ 222 h 287"/>
                <a:gd name="T80" fmla="*/ 0 w 332"/>
                <a:gd name="T81" fmla="*/ 213 h 287"/>
                <a:gd name="T82" fmla="*/ 4 w 332"/>
                <a:gd name="T83" fmla="*/ 205 h 287"/>
                <a:gd name="T84" fmla="*/ 13 w 332"/>
                <a:gd name="T85" fmla="*/ 197 h 287"/>
                <a:gd name="T86" fmla="*/ 41 w 332"/>
                <a:gd name="T87" fmla="*/ 179 h 287"/>
                <a:gd name="T88" fmla="*/ 73 w 332"/>
                <a:gd name="T89" fmla="*/ 162 h 287"/>
                <a:gd name="T90" fmla="*/ 85 w 332"/>
                <a:gd name="T91" fmla="*/ 152 h 287"/>
                <a:gd name="T92" fmla="*/ 93 w 332"/>
                <a:gd name="T93" fmla="*/ 145 h 287"/>
                <a:gd name="T94" fmla="*/ 106 w 332"/>
                <a:gd name="T95" fmla="*/ 130 h 287"/>
                <a:gd name="T96" fmla="*/ 116 w 332"/>
                <a:gd name="T97" fmla="*/ 114 h 287"/>
                <a:gd name="T98" fmla="*/ 130 w 332"/>
                <a:gd name="T99" fmla="*/ 79 h 287"/>
                <a:gd name="T100" fmla="*/ 138 w 332"/>
                <a:gd name="T101" fmla="*/ 64 h 287"/>
                <a:gd name="T102" fmla="*/ 147 w 332"/>
                <a:gd name="T103" fmla="*/ 52 h 287"/>
                <a:gd name="T104" fmla="*/ 158 w 332"/>
                <a:gd name="T105" fmla="*/ 43 h 287"/>
                <a:gd name="T106" fmla="*/ 173 w 332"/>
                <a:gd name="T107" fmla="*/ 4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8" name="Freeform 428">
              <a:extLst>
                <a:ext uri="{FF2B5EF4-FFF2-40B4-BE49-F238E27FC236}">
                  <a16:creationId xmlns:a16="http://schemas.microsoft.com/office/drawing/2014/main" id="{1C0E006B-5DCF-451C-AA40-E862CA02F91B}"/>
                </a:ext>
              </a:extLst>
            </p:cNvPr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106 w 345"/>
                <a:gd name="T1" fmla="*/ 86 h 86"/>
                <a:gd name="T2" fmla="*/ 119 w 345"/>
                <a:gd name="T3" fmla="*/ 81 h 86"/>
                <a:gd name="T4" fmla="*/ 133 w 345"/>
                <a:gd name="T5" fmla="*/ 76 h 86"/>
                <a:gd name="T6" fmla="*/ 148 w 345"/>
                <a:gd name="T7" fmla="*/ 72 h 86"/>
                <a:gd name="T8" fmla="*/ 164 w 345"/>
                <a:gd name="T9" fmla="*/ 69 h 86"/>
                <a:gd name="T10" fmla="*/ 197 w 345"/>
                <a:gd name="T11" fmla="*/ 63 h 86"/>
                <a:gd name="T12" fmla="*/ 231 w 345"/>
                <a:gd name="T13" fmla="*/ 57 h 86"/>
                <a:gd name="T14" fmla="*/ 247 w 345"/>
                <a:gd name="T15" fmla="*/ 53 h 86"/>
                <a:gd name="T16" fmla="*/ 264 w 345"/>
                <a:gd name="T17" fmla="*/ 50 h 86"/>
                <a:gd name="T18" fmla="*/ 279 w 345"/>
                <a:gd name="T19" fmla="*/ 46 h 86"/>
                <a:gd name="T20" fmla="*/ 294 w 345"/>
                <a:gd name="T21" fmla="*/ 40 h 86"/>
                <a:gd name="T22" fmla="*/ 309 w 345"/>
                <a:gd name="T23" fmla="*/ 35 h 86"/>
                <a:gd name="T24" fmla="*/ 322 w 345"/>
                <a:gd name="T25" fmla="*/ 28 h 86"/>
                <a:gd name="T26" fmla="*/ 334 w 345"/>
                <a:gd name="T27" fmla="*/ 21 h 86"/>
                <a:gd name="T28" fmla="*/ 345 w 345"/>
                <a:gd name="T29" fmla="*/ 13 h 86"/>
                <a:gd name="T30" fmla="*/ 335 w 345"/>
                <a:gd name="T31" fmla="*/ 12 h 86"/>
                <a:gd name="T32" fmla="*/ 326 w 345"/>
                <a:gd name="T33" fmla="*/ 11 h 86"/>
                <a:gd name="T34" fmla="*/ 317 w 345"/>
                <a:gd name="T35" fmla="*/ 9 h 86"/>
                <a:gd name="T36" fmla="*/ 309 w 345"/>
                <a:gd name="T37" fmla="*/ 6 h 86"/>
                <a:gd name="T38" fmla="*/ 300 w 345"/>
                <a:gd name="T39" fmla="*/ 4 h 86"/>
                <a:gd name="T40" fmla="*/ 291 w 345"/>
                <a:gd name="T41" fmla="*/ 2 h 86"/>
                <a:gd name="T42" fmla="*/ 281 w 345"/>
                <a:gd name="T43" fmla="*/ 1 h 86"/>
                <a:gd name="T44" fmla="*/ 272 w 345"/>
                <a:gd name="T45" fmla="*/ 0 h 86"/>
                <a:gd name="T46" fmla="*/ 259 w 345"/>
                <a:gd name="T47" fmla="*/ 1 h 86"/>
                <a:gd name="T48" fmla="*/ 245 w 345"/>
                <a:gd name="T49" fmla="*/ 3 h 86"/>
                <a:gd name="T50" fmla="*/ 227 w 345"/>
                <a:gd name="T51" fmla="*/ 5 h 86"/>
                <a:gd name="T52" fmla="*/ 209 w 345"/>
                <a:gd name="T53" fmla="*/ 9 h 86"/>
                <a:gd name="T54" fmla="*/ 168 w 345"/>
                <a:gd name="T55" fmla="*/ 18 h 86"/>
                <a:gd name="T56" fmla="*/ 126 w 345"/>
                <a:gd name="T57" fmla="*/ 29 h 86"/>
                <a:gd name="T58" fmla="*/ 104 w 345"/>
                <a:gd name="T59" fmla="*/ 36 h 86"/>
                <a:gd name="T60" fmla="*/ 85 w 345"/>
                <a:gd name="T61" fmla="*/ 42 h 86"/>
                <a:gd name="T62" fmla="*/ 66 w 345"/>
                <a:gd name="T63" fmla="*/ 50 h 86"/>
                <a:gd name="T64" fmla="*/ 47 w 345"/>
                <a:gd name="T65" fmla="*/ 58 h 86"/>
                <a:gd name="T66" fmla="*/ 32 w 345"/>
                <a:gd name="T67" fmla="*/ 65 h 86"/>
                <a:gd name="T68" fmla="*/ 19 w 345"/>
                <a:gd name="T69" fmla="*/ 72 h 86"/>
                <a:gd name="T70" fmla="*/ 8 w 345"/>
                <a:gd name="T71" fmla="*/ 79 h 86"/>
                <a:gd name="T72" fmla="*/ 0 w 345"/>
                <a:gd name="T73" fmla="*/ 86 h 86"/>
                <a:gd name="T74" fmla="*/ 106 w 345"/>
                <a:gd name="T75" fmla="*/ 86 h 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89" name="Freeform 429">
              <a:extLst>
                <a:ext uri="{FF2B5EF4-FFF2-40B4-BE49-F238E27FC236}">
                  <a16:creationId xmlns:a16="http://schemas.microsoft.com/office/drawing/2014/main" id="{0B450F75-1D87-41F9-BAFA-8138D55BF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19 w 464"/>
                <a:gd name="T1" fmla="*/ 86 h 130"/>
                <a:gd name="T2" fmla="*/ 77 w 464"/>
                <a:gd name="T3" fmla="*/ 81 h 130"/>
                <a:gd name="T4" fmla="*/ 103 w 464"/>
                <a:gd name="T5" fmla="*/ 81 h 130"/>
                <a:gd name="T6" fmla="*/ 92 w 464"/>
                <a:gd name="T7" fmla="*/ 89 h 130"/>
                <a:gd name="T8" fmla="*/ 81 w 464"/>
                <a:gd name="T9" fmla="*/ 100 h 130"/>
                <a:gd name="T10" fmla="*/ 73 w 464"/>
                <a:gd name="T11" fmla="*/ 112 h 130"/>
                <a:gd name="T12" fmla="*/ 73 w 464"/>
                <a:gd name="T13" fmla="*/ 119 h 130"/>
                <a:gd name="T14" fmla="*/ 79 w 464"/>
                <a:gd name="T15" fmla="*/ 124 h 130"/>
                <a:gd name="T16" fmla="*/ 92 w 464"/>
                <a:gd name="T17" fmla="*/ 129 h 130"/>
                <a:gd name="T18" fmla="*/ 109 w 464"/>
                <a:gd name="T19" fmla="*/ 129 h 130"/>
                <a:gd name="T20" fmla="*/ 128 w 464"/>
                <a:gd name="T21" fmla="*/ 127 h 130"/>
                <a:gd name="T22" fmla="*/ 157 w 464"/>
                <a:gd name="T23" fmla="*/ 119 h 130"/>
                <a:gd name="T24" fmla="*/ 196 w 464"/>
                <a:gd name="T25" fmla="*/ 108 h 130"/>
                <a:gd name="T26" fmla="*/ 226 w 464"/>
                <a:gd name="T27" fmla="*/ 101 h 130"/>
                <a:gd name="T28" fmla="*/ 248 w 464"/>
                <a:gd name="T29" fmla="*/ 99 h 130"/>
                <a:gd name="T30" fmla="*/ 266 w 464"/>
                <a:gd name="T31" fmla="*/ 99 h 130"/>
                <a:gd name="T32" fmla="*/ 304 w 464"/>
                <a:gd name="T33" fmla="*/ 99 h 130"/>
                <a:gd name="T34" fmla="*/ 333 w 464"/>
                <a:gd name="T35" fmla="*/ 98 h 130"/>
                <a:gd name="T36" fmla="*/ 376 w 464"/>
                <a:gd name="T37" fmla="*/ 93 h 130"/>
                <a:gd name="T38" fmla="*/ 415 w 464"/>
                <a:gd name="T39" fmla="*/ 83 h 130"/>
                <a:gd name="T40" fmla="*/ 449 w 464"/>
                <a:gd name="T41" fmla="*/ 66 h 130"/>
                <a:gd name="T42" fmla="*/ 455 w 464"/>
                <a:gd name="T43" fmla="*/ 51 h 130"/>
                <a:gd name="T44" fmla="*/ 439 w 464"/>
                <a:gd name="T45" fmla="*/ 48 h 130"/>
                <a:gd name="T46" fmla="*/ 413 w 464"/>
                <a:gd name="T47" fmla="*/ 48 h 130"/>
                <a:gd name="T48" fmla="*/ 396 w 464"/>
                <a:gd name="T49" fmla="*/ 46 h 130"/>
                <a:gd name="T50" fmla="*/ 406 w 464"/>
                <a:gd name="T51" fmla="*/ 36 h 130"/>
                <a:gd name="T52" fmla="*/ 413 w 464"/>
                <a:gd name="T53" fmla="*/ 22 h 130"/>
                <a:gd name="T54" fmla="*/ 418 w 464"/>
                <a:gd name="T55" fmla="*/ 7 h 130"/>
                <a:gd name="T56" fmla="*/ 378 w 464"/>
                <a:gd name="T57" fmla="*/ 0 h 130"/>
                <a:gd name="T58" fmla="*/ 360 w 464"/>
                <a:gd name="T59" fmla="*/ 19 h 130"/>
                <a:gd name="T60" fmla="*/ 343 w 464"/>
                <a:gd name="T61" fmla="*/ 41 h 130"/>
                <a:gd name="T62" fmla="*/ 323 w 464"/>
                <a:gd name="T63" fmla="*/ 59 h 130"/>
                <a:gd name="T64" fmla="*/ 312 w 464"/>
                <a:gd name="T65" fmla="*/ 65 h 130"/>
                <a:gd name="T66" fmla="*/ 298 w 464"/>
                <a:gd name="T67" fmla="*/ 68 h 130"/>
                <a:gd name="T68" fmla="*/ 278 w 464"/>
                <a:gd name="T69" fmla="*/ 66 h 130"/>
                <a:gd name="T70" fmla="*/ 262 w 464"/>
                <a:gd name="T71" fmla="*/ 63 h 130"/>
                <a:gd name="T72" fmla="*/ 239 w 464"/>
                <a:gd name="T73" fmla="*/ 54 h 130"/>
                <a:gd name="T74" fmla="*/ 205 w 464"/>
                <a:gd name="T75" fmla="*/ 31 h 130"/>
                <a:gd name="T76" fmla="*/ 180 w 464"/>
                <a:gd name="T77" fmla="*/ 29 h 130"/>
                <a:gd name="T78" fmla="*/ 150 w 464"/>
                <a:gd name="T79" fmla="*/ 31 h 130"/>
                <a:gd name="T80" fmla="*/ 117 w 464"/>
                <a:gd name="T81" fmla="*/ 37 h 130"/>
                <a:gd name="T82" fmla="*/ 85 w 464"/>
                <a:gd name="T83" fmla="*/ 45 h 130"/>
                <a:gd name="T84" fmla="*/ 54 w 464"/>
                <a:gd name="T85" fmla="*/ 54 h 130"/>
                <a:gd name="T86" fmla="*/ 29 w 464"/>
                <a:gd name="T87" fmla="*/ 65 h 130"/>
                <a:gd name="T88" fmla="*/ 9 w 464"/>
                <a:gd name="T89" fmla="*/ 77 h 130"/>
                <a:gd name="T90" fmla="*/ 0 w 464"/>
                <a:gd name="T91" fmla="*/ 86 h 1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0" name="Freeform 430">
              <a:extLst>
                <a:ext uri="{FF2B5EF4-FFF2-40B4-BE49-F238E27FC236}">
                  <a16:creationId xmlns:a16="http://schemas.microsoft.com/office/drawing/2014/main" id="{8F65DA23-F65C-4E73-A8C4-758D679C33D3}"/>
                </a:ext>
              </a:extLst>
            </p:cNvPr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63 w 472"/>
                <a:gd name="T1" fmla="*/ 0 h 92"/>
                <a:gd name="T2" fmla="*/ 44 w 472"/>
                <a:gd name="T3" fmla="*/ 0 h 92"/>
                <a:gd name="T4" fmla="*/ 24 w 472"/>
                <a:gd name="T5" fmla="*/ 0 h 92"/>
                <a:gd name="T6" fmla="*/ 12 w 472"/>
                <a:gd name="T7" fmla="*/ 3 h 92"/>
                <a:gd name="T8" fmla="*/ 7 w 472"/>
                <a:gd name="T9" fmla="*/ 8 h 92"/>
                <a:gd name="T10" fmla="*/ 7 w 472"/>
                <a:gd name="T11" fmla="*/ 16 h 92"/>
                <a:gd name="T12" fmla="*/ 10 w 472"/>
                <a:gd name="T13" fmla="*/ 23 h 92"/>
                <a:gd name="T14" fmla="*/ 15 w 472"/>
                <a:gd name="T15" fmla="*/ 32 h 92"/>
                <a:gd name="T16" fmla="*/ 14 w 472"/>
                <a:gd name="T17" fmla="*/ 41 h 92"/>
                <a:gd name="T18" fmla="*/ 4 w 472"/>
                <a:gd name="T19" fmla="*/ 50 h 92"/>
                <a:gd name="T20" fmla="*/ 1 w 472"/>
                <a:gd name="T21" fmla="*/ 57 h 92"/>
                <a:gd name="T22" fmla="*/ 2 w 472"/>
                <a:gd name="T23" fmla="*/ 64 h 92"/>
                <a:gd name="T24" fmla="*/ 14 w 472"/>
                <a:gd name="T25" fmla="*/ 69 h 92"/>
                <a:gd name="T26" fmla="*/ 48 w 472"/>
                <a:gd name="T27" fmla="*/ 76 h 92"/>
                <a:gd name="T28" fmla="*/ 109 w 472"/>
                <a:gd name="T29" fmla="*/ 85 h 92"/>
                <a:gd name="T30" fmla="*/ 167 w 472"/>
                <a:gd name="T31" fmla="*/ 91 h 92"/>
                <a:gd name="T32" fmla="*/ 365 w 472"/>
                <a:gd name="T33" fmla="*/ 92 h 92"/>
                <a:gd name="T34" fmla="*/ 374 w 472"/>
                <a:gd name="T35" fmla="*/ 81 h 92"/>
                <a:gd name="T36" fmla="*/ 385 w 472"/>
                <a:gd name="T37" fmla="*/ 75 h 92"/>
                <a:gd name="T38" fmla="*/ 397 w 472"/>
                <a:gd name="T39" fmla="*/ 73 h 92"/>
                <a:gd name="T40" fmla="*/ 411 w 472"/>
                <a:gd name="T41" fmla="*/ 73 h 92"/>
                <a:gd name="T42" fmla="*/ 441 w 472"/>
                <a:gd name="T43" fmla="*/ 76 h 92"/>
                <a:gd name="T44" fmla="*/ 456 w 472"/>
                <a:gd name="T45" fmla="*/ 76 h 92"/>
                <a:gd name="T46" fmla="*/ 472 w 472"/>
                <a:gd name="T47" fmla="*/ 73 h 92"/>
                <a:gd name="T48" fmla="*/ 465 w 472"/>
                <a:gd name="T49" fmla="*/ 33 h 92"/>
                <a:gd name="T50" fmla="*/ 453 w 472"/>
                <a:gd name="T51" fmla="*/ 26 h 92"/>
                <a:gd name="T52" fmla="*/ 443 w 472"/>
                <a:gd name="T53" fmla="*/ 18 h 92"/>
                <a:gd name="T54" fmla="*/ 432 w 472"/>
                <a:gd name="T55" fmla="*/ 13 h 92"/>
                <a:gd name="T56" fmla="*/ 416 w 472"/>
                <a:gd name="T57" fmla="*/ 12 h 92"/>
                <a:gd name="T58" fmla="*/ 396 w 472"/>
                <a:gd name="T59" fmla="*/ 15 h 92"/>
                <a:gd name="T60" fmla="*/ 367 w 472"/>
                <a:gd name="T61" fmla="*/ 22 h 92"/>
                <a:gd name="T62" fmla="*/ 328 w 472"/>
                <a:gd name="T63" fmla="*/ 33 h 92"/>
                <a:gd name="T64" fmla="*/ 298 w 472"/>
                <a:gd name="T65" fmla="*/ 39 h 92"/>
                <a:gd name="T66" fmla="*/ 276 w 472"/>
                <a:gd name="T67" fmla="*/ 42 h 92"/>
                <a:gd name="T68" fmla="*/ 236 w 472"/>
                <a:gd name="T69" fmla="*/ 42 h 92"/>
                <a:gd name="T70" fmla="*/ 191 w 472"/>
                <a:gd name="T71" fmla="*/ 42 h 92"/>
                <a:gd name="T72" fmla="*/ 156 w 472"/>
                <a:gd name="T73" fmla="*/ 42 h 92"/>
                <a:gd name="T74" fmla="*/ 120 w 472"/>
                <a:gd name="T75" fmla="*/ 42 h 92"/>
                <a:gd name="T76" fmla="*/ 91 w 472"/>
                <a:gd name="T77" fmla="*/ 41 h 92"/>
                <a:gd name="T78" fmla="*/ 78 w 472"/>
                <a:gd name="T79" fmla="*/ 36 h 92"/>
                <a:gd name="T80" fmla="*/ 70 w 472"/>
                <a:gd name="T81" fmla="*/ 27 h 92"/>
                <a:gd name="T82" fmla="*/ 67 w 472"/>
                <a:gd name="T83" fmla="*/ 17 h 92"/>
                <a:gd name="T84" fmla="*/ 69 w 472"/>
                <a:gd name="T85" fmla="*/ 8 h 92"/>
                <a:gd name="T86" fmla="*/ 74 w 472"/>
                <a:gd name="T87" fmla="*/ 2 h 92"/>
                <a:gd name="T88" fmla="*/ 74 w 472"/>
                <a:gd name="T89" fmla="*/ 0 h 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1" name="Freeform 431">
              <a:extLst>
                <a:ext uri="{FF2B5EF4-FFF2-40B4-BE49-F238E27FC236}">
                  <a16:creationId xmlns:a16="http://schemas.microsoft.com/office/drawing/2014/main" id="{3028D3DB-75BF-497A-AE36-16F71610C4EF}"/>
                </a:ext>
              </a:extLst>
            </p:cNvPr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145 w 326"/>
                <a:gd name="T1" fmla="*/ 107 h 135"/>
                <a:gd name="T2" fmla="*/ 203 w 326"/>
                <a:gd name="T3" fmla="*/ 97 h 135"/>
                <a:gd name="T4" fmla="*/ 262 w 326"/>
                <a:gd name="T5" fmla="*/ 84 h 135"/>
                <a:gd name="T6" fmla="*/ 300 w 326"/>
                <a:gd name="T7" fmla="*/ 74 h 135"/>
                <a:gd name="T8" fmla="*/ 318 w 326"/>
                <a:gd name="T9" fmla="*/ 66 h 135"/>
                <a:gd name="T10" fmla="*/ 322 w 326"/>
                <a:gd name="T11" fmla="*/ 56 h 135"/>
                <a:gd name="T12" fmla="*/ 312 w 326"/>
                <a:gd name="T13" fmla="*/ 48 h 135"/>
                <a:gd name="T14" fmla="*/ 300 w 326"/>
                <a:gd name="T15" fmla="*/ 41 h 135"/>
                <a:gd name="T16" fmla="*/ 286 w 326"/>
                <a:gd name="T17" fmla="*/ 37 h 135"/>
                <a:gd name="T18" fmla="*/ 263 w 326"/>
                <a:gd name="T19" fmla="*/ 32 h 135"/>
                <a:gd name="T20" fmla="*/ 230 w 326"/>
                <a:gd name="T21" fmla="*/ 30 h 135"/>
                <a:gd name="T22" fmla="*/ 209 w 326"/>
                <a:gd name="T23" fmla="*/ 30 h 135"/>
                <a:gd name="T24" fmla="*/ 202 w 326"/>
                <a:gd name="T25" fmla="*/ 24 h 135"/>
                <a:gd name="T26" fmla="*/ 196 w 326"/>
                <a:gd name="T27" fmla="*/ 17 h 135"/>
                <a:gd name="T28" fmla="*/ 191 w 326"/>
                <a:gd name="T29" fmla="*/ 9 h 135"/>
                <a:gd name="T30" fmla="*/ 180 w 326"/>
                <a:gd name="T31" fmla="*/ 5 h 135"/>
                <a:gd name="T32" fmla="*/ 162 w 326"/>
                <a:gd name="T33" fmla="*/ 1 h 135"/>
                <a:gd name="T34" fmla="*/ 135 w 326"/>
                <a:gd name="T35" fmla="*/ 1 h 135"/>
                <a:gd name="T36" fmla="*/ 87 w 326"/>
                <a:gd name="T37" fmla="*/ 8 h 135"/>
                <a:gd name="T38" fmla="*/ 49 w 326"/>
                <a:gd name="T39" fmla="*/ 17 h 135"/>
                <a:gd name="T40" fmla="*/ 27 w 326"/>
                <a:gd name="T41" fmla="*/ 26 h 135"/>
                <a:gd name="T42" fmla="*/ 11 w 326"/>
                <a:gd name="T43" fmla="*/ 37 h 135"/>
                <a:gd name="T44" fmla="*/ 3 w 326"/>
                <a:gd name="T45" fmla="*/ 46 h 135"/>
                <a:gd name="T46" fmla="*/ 1 w 326"/>
                <a:gd name="T47" fmla="*/ 52 h 135"/>
                <a:gd name="T48" fmla="*/ 34 w 326"/>
                <a:gd name="T49" fmla="*/ 74 h 135"/>
                <a:gd name="T50" fmla="*/ 56 w 326"/>
                <a:gd name="T51" fmla="*/ 81 h 135"/>
                <a:gd name="T52" fmla="*/ 41 w 326"/>
                <a:gd name="T53" fmla="*/ 90 h 135"/>
                <a:gd name="T54" fmla="*/ 38 w 326"/>
                <a:gd name="T55" fmla="*/ 99 h 135"/>
                <a:gd name="T56" fmla="*/ 44 w 326"/>
                <a:gd name="T57" fmla="*/ 114 h 135"/>
                <a:gd name="T58" fmla="*/ 48 w 326"/>
                <a:gd name="T59" fmla="*/ 128 h 135"/>
                <a:gd name="T60" fmla="*/ 55 w 326"/>
                <a:gd name="T61" fmla="*/ 134 h 135"/>
                <a:gd name="T62" fmla="*/ 69 w 326"/>
                <a:gd name="T63" fmla="*/ 135 h 135"/>
                <a:gd name="T64" fmla="*/ 86 w 326"/>
                <a:gd name="T65" fmla="*/ 131 h 135"/>
                <a:gd name="T66" fmla="*/ 101 w 326"/>
                <a:gd name="T67" fmla="*/ 127 h 135"/>
                <a:gd name="T68" fmla="*/ 117 w 326"/>
                <a:gd name="T69" fmla="*/ 124 h 135"/>
                <a:gd name="T70" fmla="*/ 120 w 326"/>
                <a:gd name="T71" fmla="*/ 111 h 1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2" name="Freeform 432">
              <a:extLst>
                <a:ext uri="{FF2B5EF4-FFF2-40B4-BE49-F238E27FC236}">
                  <a16:creationId xmlns:a16="http://schemas.microsoft.com/office/drawing/2014/main" id="{B2422B14-2677-4550-A4A7-B8D7E4E8D0A1}"/>
                </a:ext>
              </a:extLst>
            </p:cNvPr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46 w 159"/>
                <a:gd name="T1" fmla="*/ 53 h 56"/>
                <a:gd name="T2" fmla="*/ 40 w 159"/>
                <a:gd name="T3" fmla="*/ 52 h 56"/>
                <a:gd name="T4" fmla="*/ 34 w 159"/>
                <a:gd name="T5" fmla="*/ 49 h 56"/>
                <a:gd name="T6" fmla="*/ 26 w 159"/>
                <a:gd name="T7" fmla="*/ 45 h 56"/>
                <a:gd name="T8" fmla="*/ 18 w 159"/>
                <a:gd name="T9" fmla="*/ 38 h 56"/>
                <a:gd name="T10" fmla="*/ 10 w 159"/>
                <a:gd name="T11" fmla="*/ 31 h 56"/>
                <a:gd name="T12" fmla="*/ 5 w 159"/>
                <a:gd name="T13" fmla="*/ 24 h 56"/>
                <a:gd name="T14" fmla="*/ 3 w 159"/>
                <a:gd name="T15" fmla="*/ 21 h 56"/>
                <a:gd name="T16" fmla="*/ 1 w 159"/>
                <a:gd name="T17" fmla="*/ 17 h 56"/>
                <a:gd name="T18" fmla="*/ 0 w 159"/>
                <a:gd name="T19" fmla="*/ 13 h 56"/>
                <a:gd name="T20" fmla="*/ 0 w 159"/>
                <a:gd name="T21" fmla="*/ 10 h 56"/>
                <a:gd name="T22" fmla="*/ 21 w 159"/>
                <a:gd name="T23" fmla="*/ 10 h 56"/>
                <a:gd name="T24" fmla="*/ 39 w 159"/>
                <a:gd name="T25" fmla="*/ 10 h 56"/>
                <a:gd name="T26" fmla="*/ 52 w 159"/>
                <a:gd name="T27" fmla="*/ 10 h 56"/>
                <a:gd name="T28" fmla="*/ 59 w 159"/>
                <a:gd name="T29" fmla="*/ 10 h 56"/>
                <a:gd name="T30" fmla="*/ 83 w 159"/>
                <a:gd name="T31" fmla="*/ 6 h 56"/>
                <a:gd name="T32" fmla="*/ 117 w 159"/>
                <a:gd name="T33" fmla="*/ 0 h 56"/>
                <a:gd name="T34" fmla="*/ 125 w 159"/>
                <a:gd name="T35" fmla="*/ 0 h 56"/>
                <a:gd name="T36" fmla="*/ 132 w 159"/>
                <a:gd name="T37" fmla="*/ 0 h 56"/>
                <a:gd name="T38" fmla="*/ 140 w 159"/>
                <a:gd name="T39" fmla="*/ 0 h 56"/>
                <a:gd name="T40" fmla="*/ 147 w 159"/>
                <a:gd name="T41" fmla="*/ 2 h 56"/>
                <a:gd name="T42" fmla="*/ 151 w 159"/>
                <a:gd name="T43" fmla="*/ 5 h 56"/>
                <a:gd name="T44" fmla="*/ 155 w 159"/>
                <a:gd name="T45" fmla="*/ 9 h 56"/>
                <a:gd name="T46" fmla="*/ 158 w 159"/>
                <a:gd name="T47" fmla="*/ 15 h 56"/>
                <a:gd name="T48" fmla="*/ 159 w 159"/>
                <a:gd name="T49" fmla="*/ 22 h 56"/>
                <a:gd name="T50" fmla="*/ 158 w 159"/>
                <a:gd name="T51" fmla="*/ 30 h 56"/>
                <a:gd name="T52" fmla="*/ 155 w 159"/>
                <a:gd name="T53" fmla="*/ 37 h 56"/>
                <a:gd name="T54" fmla="*/ 151 w 159"/>
                <a:gd name="T55" fmla="*/ 44 h 56"/>
                <a:gd name="T56" fmla="*/ 146 w 159"/>
                <a:gd name="T57" fmla="*/ 48 h 56"/>
                <a:gd name="T58" fmla="*/ 139 w 159"/>
                <a:gd name="T59" fmla="*/ 52 h 56"/>
                <a:gd name="T60" fmla="*/ 132 w 159"/>
                <a:gd name="T61" fmla="*/ 54 h 56"/>
                <a:gd name="T62" fmla="*/ 124 w 159"/>
                <a:gd name="T63" fmla="*/ 55 h 56"/>
                <a:gd name="T64" fmla="*/ 115 w 159"/>
                <a:gd name="T65" fmla="*/ 56 h 56"/>
                <a:gd name="T66" fmla="*/ 77 w 159"/>
                <a:gd name="T67" fmla="*/ 55 h 56"/>
                <a:gd name="T68" fmla="*/ 46 w 159"/>
                <a:gd name="T69" fmla="*/ 53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593" name="Freeform 433">
              <a:extLst>
                <a:ext uri="{FF2B5EF4-FFF2-40B4-BE49-F238E27FC236}">
                  <a16:creationId xmlns:a16="http://schemas.microsoft.com/office/drawing/2014/main" id="{C6601557-C4DF-42B4-ABE2-FEC65A931DC7}"/>
                </a:ext>
              </a:extLst>
            </p:cNvPr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2931 w 3734"/>
                <a:gd name="T1" fmla="*/ 1362 h 1644"/>
                <a:gd name="T2" fmla="*/ 2556 w 3734"/>
                <a:gd name="T3" fmla="*/ 1522 h 1644"/>
                <a:gd name="T4" fmla="*/ 2312 w 3734"/>
                <a:gd name="T5" fmla="*/ 1592 h 1644"/>
                <a:gd name="T6" fmla="*/ 2294 w 3734"/>
                <a:gd name="T7" fmla="*/ 1634 h 1644"/>
                <a:gd name="T8" fmla="*/ 2177 w 3734"/>
                <a:gd name="T9" fmla="*/ 1607 h 1644"/>
                <a:gd name="T10" fmla="*/ 2279 w 3734"/>
                <a:gd name="T11" fmla="*/ 1512 h 1644"/>
                <a:gd name="T12" fmla="*/ 2166 w 3734"/>
                <a:gd name="T13" fmla="*/ 1416 h 1644"/>
                <a:gd name="T14" fmla="*/ 2094 w 3734"/>
                <a:gd name="T15" fmla="*/ 1295 h 1644"/>
                <a:gd name="T16" fmla="*/ 1947 w 3734"/>
                <a:gd name="T17" fmla="*/ 1317 h 1644"/>
                <a:gd name="T18" fmla="*/ 1771 w 3734"/>
                <a:gd name="T19" fmla="*/ 1281 h 1644"/>
                <a:gd name="T20" fmla="*/ 261 w 3734"/>
                <a:gd name="T21" fmla="*/ 1235 h 1644"/>
                <a:gd name="T22" fmla="*/ 127 w 3734"/>
                <a:gd name="T23" fmla="*/ 1125 h 1644"/>
                <a:gd name="T24" fmla="*/ 151 w 3734"/>
                <a:gd name="T25" fmla="*/ 1040 h 1644"/>
                <a:gd name="T26" fmla="*/ 147 w 3734"/>
                <a:gd name="T27" fmla="*/ 927 h 1644"/>
                <a:gd name="T28" fmla="*/ 259 w 3734"/>
                <a:gd name="T29" fmla="*/ 859 h 1644"/>
                <a:gd name="T30" fmla="*/ 250 w 3734"/>
                <a:gd name="T31" fmla="*/ 747 h 1644"/>
                <a:gd name="T32" fmla="*/ 128 w 3734"/>
                <a:gd name="T33" fmla="*/ 665 h 1644"/>
                <a:gd name="T34" fmla="*/ 602 w 3734"/>
                <a:gd name="T35" fmla="*/ 114 h 1644"/>
                <a:gd name="T36" fmla="*/ 1146 w 3734"/>
                <a:gd name="T37" fmla="*/ 105 h 1644"/>
                <a:gd name="T38" fmla="*/ 1296 w 3734"/>
                <a:gd name="T39" fmla="*/ 117 h 1644"/>
                <a:gd name="T40" fmla="*/ 1641 w 3734"/>
                <a:gd name="T41" fmla="*/ 166 h 1644"/>
                <a:gd name="T42" fmla="*/ 1771 w 3734"/>
                <a:gd name="T43" fmla="*/ 206 h 1644"/>
                <a:gd name="T44" fmla="*/ 2076 w 3734"/>
                <a:gd name="T45" fmla="*/ 193 h 1644"/>
                <a:gd name="T46" fmla="*/ 2286 w 3734"/>
                <a:gd name="T47" fmla="*/ 216 h 1644"/>
                <a:gd name="T48" fmla="*/ 2365 w 3734"/>
                <a:gd name="T49" fmla="*/ 216 h 1644"/>
                <a:gd name="T50" fmla="*/ 2518 w 3734"/>
                <a:gd name="T51" fmla="*/ 123 h 1644"/>
                <a:gd name="T52" fmla="*/ 2587 w 3734"/>
                <a:gd name="T53" fmla="*/ 2 h 1644"/>
                <a:gd name="T54" fmla="*/ 2644 w 3734"/>
                <a:gd name="T55" fmla="*/ 105 h 1644"/>
                <a:gd name="T56" fmla="*/ 2664 w 3734"/>
                <a:gd name="T57" fmla="*/ 166 h 1644"/>
                <a:gd name="T58" fmla="*/ 2716 w 3734"/>
                <a:gd name="T59" fmla="*/ 196 h 1644"/>
                <a:gd name="T60" fmla="*/ 2891 w 3734"/>
                <a:gd name="T61" fmla="*/ 121 h 1644"/>
                <a:gd name="T62" fmla="*/ 3036 w 3734"/>
                <a:gd name="T63" fmla="*/ 135 h 1644"/>
                <a:gd name="T64" fmla="*/ 2883 w 3734"/>
                <a:gd name="T65" fmla="*/ 271 h 1644"/>
                <a:gd name="T66" fmla="*/ 2790 w 3734"/>
                <a:gd name="T67" fmla="*/ 289 h 1644"/>
                <a:gd name="T68" fmla="*/ 2569 w 3734"/>
                <a:gd name="T69" fmla="*/ 304 h 1644"/>
                <a:gd name="T70" fmla="*/ 2501 w 3734"/>
                <a:gd name="T71" fmla="*/ 402 h 1644"/>
                <a:gd name="T72" fmla="*/ 2333 w 3734"/>
                <a:gd name="T73" fmla="*/ 471 h 1644"/>
                <a:gd name="T74" fmla="*/ 2087 w 3734"/>
                <a:gd name="T75" fmla="*/ 625 h 1644"/>
                <a:gd name="T76" fmla="*/ 2106 w 3734"/>
                <a:gd name="T77" fmla="*/ 793 h 1644"/>
                <a:gd name="T78" fmla="*/ 2360 w 3734"/>
                <a:gd name="T79" fmla="*/ 907 h 1644"/>
                <a:gd name="T80" fmla="*/ 2443 w 3734"/>
                <a:gd name="T81" fmla="*/ 1059 h 1644"/>
                <a:gd name="T82" fmla="*/ 2614 w 3734"/>
                <a:gd name="T83" fmla="*/ 987 h 1644"/>
                <a:gd name="T84" fmla="*/ 2848 w 3734"/>
                <a:gd name="T85" fmla="*/ 785 h 1644"/>
                <a:gd name="T86" fmla="*/ 2896 w 3734"/>
                <a:gd name="T87" fmla="*/ 597 h 1644"/>
                <a:gd name="T88" fmla="*/ 3156 w 3734"/>
                <a:gd name="T89" fmla="*/ 500 h 1644"/>
                <a:gd name="T90" fmla="*/ 3276 w 3734"/>
                <a:gd name="T91" fmla="*/ 592 h 1644"/>
                <a:gd name="T92" fmla="*/ 3226 w 3734"/>
                <a:gd name="T93" fmla="*/ 736 h 1644"/>
                <a:gd name="T94" fmla="*/ 3492 w 3734"/>
                <a:gd name="T95" fmla="*/ 613 h 1644"/>
                <a:gd name="T96" fmla="*/ 3545 w 3734"/>
                <a:gd name="T97" fmla="*/ 774 h 1644"/>
                <a:gd name="T98" fmla="*/ 3662 w 3734"/>
                <a:gd name="T99" fmla="*/ 924 h 1644"/>
                <a:gd name="T100" fmla="*/ 3616 w 3734"/>
                <a:gd name="T101" fmla="*/ 961 h 1644"/>
                <a:gd name="T102" fmla="*/ 3694 w 3734"/>
                <a:gd name="T103" fmla="*/ 1028 h 1644"/>
                <a:gd name="T104" fmla="*/ 3556 w 3734"/>
                <a:gd name="T105" fmla="*/ 1108 h 1644"/>
                <a:gd name="T106" fmla="*/ 3151 w 3734"/>
                <a:gd name="T107" fmla="*/ 1168 h 1644"/>
                <a:gd name="T108" fmla="*/ 2853 w 3734"/>
                <a:gd name="T109" fmla="*/ 1335 h 1644"/>
                <a:gd name="T110" fmla="*/ 2905 w 3734"/>
                <a:gd name="T111" fmla="*/ 1337 h 1644"/>
                <a:gd name="T112" fmla="*/ 3216 w 3734"/>
                <a:gd name="T113" fmla="*/ 1256 h 1644"/>
                <a:gd name="T114" fmla="*/ 3066 w 3734"/>
                <a:gd name="T115" fmla="*/ 1298 h 1644"/>
                <a:gd name="T116" fmla="*/ 3138 w 3734"/>
                <a:gd name="T117" fmla="*/ 1391 h 1644"/>
                <a:gd name="T118" fmla="*/ 3248 w 3734"/>
                <a:gd name="T119" fmla="*/ 1473 h 1644"/>
                <a:gd name="T120" fmla="*/ 3018 w 3734"/>
                <a:gd name="T121" fmla="*/ 1564 h 1644"/>
                <a:gd name="T122" fmla="*/ 3189 w 3734"/>
                <a:gd name="T123" fmla="*/ 1466 h 1644"/>
                <a:gd name="T124" fmla="*/ 3016 w 3734"/>
                <a:gd name="T125" fmla="*/ 1484 h 16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3802327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0CF2DAE-E25C-4210-98D7-1B64BE8023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64606"/>
            <a:ext cx="10515600" cy="805834"/>
          </a:xfrm>
        </p:spPr>
        <p:txBody>
          <a:bodyPr/>
          <a:lstStyle/>
          <a:p>
            <a:r>
              <a:rPr lang="en-US" dirty="0"/>
              <a:t>Goals Model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A4B80554-E707-4EE7-B261-522471B68D02}"/>
              </a:ext>
            </a:extLst>
          </p:cNvPr>
          <p:cNvGraphicFramePr>
            <a:graphicFrameLocks noGrp="1"/>
          </p:cNvGraphicFramePr>
          <p:nvPr>
            <p:ph idx="1"/>
            <p:extLst/>
          </p:nvPr>
        </p:nvGraphicFramePr>
        <p:xfrm>
          <a:off x="838200" y="745066"/>
          <a:ext cx="10515600" cy="561128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E798A9D-CBE4-4FAF-AD8B-6A28B85575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F63A3B-78C7-47BE-AE5E-E10140E0464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Diagram 5">
            <a:extLst>
              <a:ext uri="{FF2B5EF4-FFF2-40B4-BE49-F238E27FC236}">
                <a16:creationId xmlns:a16="http://schemas.microsoft.com/office/drawing/2014/main" id="{8C6F47A7-54AE-478A-92D4-4DF2238AFCB5}"/>
              </a:ext>
            </a:extLst>
          </p:cNvPr>
          <p:cNvGraphicFramePr/>
          <p:nvPr>
            <p:extLst/>
          </p:nvPr>
        </p:nvGraphicFramePr>
        <p:xfrm>
          <a:off x="2855934" y="5013325"/>
          <a:ext cx="6373711" cy="1447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grpSp>
        <p:nvGrpSpPr>
          <p:cNvPr id="7" name="Group 6">
            <a:extLst>
              <a:ext uri="{FF2B5EF4-FFF2-40B4-BE49-F238E27FC236}">
                <a16:creationId xmlns:a16="http://schemas.microsoft.com/office/drawing/2014/main" id="{298C02FC-777C-41EF-A527-BD1C9F05A617}"/>
              </a:ext>
            </a:extLst>
          </p:cNvPr>
          <p:cNvGrpSpPr/>
          <p:nvPr/>
        </p:nvGrpSpPr>
        <p:grpSpPr>
          <a:xfrm>
            <a:off x="159075" y="5418971"/>
            <a:ext cx="2456891" cy="993604"/>
            <a:chOff x="25" y="411105"/>
            <a:chExt cx="2456891" cy="993604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82F458ED-2481-4405-9233-C571FE66A3A8}"/>
                </a:ext>
              </a:extLst>
            </p:cNvPr>
            <p:cNvSpPr/>
            <p:nvPr/>
          </p:nvSpPr>
          <p:spPr>
            <a:xfrm>
              <a:off x="25" y="411105"/>
              <a:ext cx="2456891" cy="993604"/>
            </a:xfrm>
            <a:prstGeom prst="rect">
              <a:avLst/>
            </a:prstGeom>
            <a:solidFill>
              <a:schemeClr val="accent3">
                <a:lumMod val="40000"/>
                <a:lumOff val="60000"/>
                <a:alpha val="90000"/>
              </a:scheme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A9AF230-DA44-4CE9-87A1-B20E72850CC3}"/>
                </a:ext>
              </a:extLst>
            </p:cNvPr>
            <p:cNvSpPr/>
            <p:nvPr/>
          </p:nvSpPr>
          <p:spPr>
            <a:xfrm>
              <a:off x="25" y="411105"/>
              <a:ext cx="2456891" cy="9936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113792" bIns="128016" numCol="1" spcCol="1270" anchor="t" anchorCtr="0">
              <a:noAutofit/>
            </a:bodyPr>
            <a:lstStyle/>
            <a:p>
              <a:pPr marL="171450" marR="0" lvl="1" indent="-171450" algn="l" defTabSz="711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licy / regulations</a:t>
              </a:r>
            </a:p>
            <a:p>
              <a:pPr marL="171450" marR="0" lvl="1" indent="-171450" algn="l" defTabSz="711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trategic direction</a:t>
              </a:r>
            </a:p>
            <a:p>
              <a:pPr marL="171450" marR="0" lvl="1" indent="-171450" algn="l" defTabSz="711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•"/>
                <a:tabLst/>
                <a:defRPr/>
              </a:pPr>
              <a:r>
                <a: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hueOff val="0"/>
                      <a:satOff val="0"/>
                      <a:lumOff val="0"/>
                      <a:alphaOff val="0"/>
                    </a:prstClr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unding</a:t>
              </a:r>
            </a:p>
          </p:txBody>
        </p:sp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4C9C0DA4-E77E-4468-A7ED-5924FDEFF180}"/>
              </a:ext>
            </a:extLst>
          </p:cNvPr>
          <p:cNvGrpSpPr/>
          <p:nvPr/>
        </p:nvGrpSpPr>
        <p:grpSpPr>
          <a:xfrm>
            <a:off x="159075" y="5050955"/>
            <a:ext cx="2456891" cy="368016"/>
            <a:chOff x="25" y="43089"/>
            <a:chExt cx="2456891" cy="368016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414A8C6F-327C-4E51-9F24-3F4BA9155ED3}"/>
                </a:ext>
              </a:extLst>
            </p:cNvPr>
            <p:cNvSpPr/>
            <p:nvPr/>
          </p:nvSpPr>
          <p:spPr>
            <a:xfrm>
              <a:off x="25" y="43089"/>
              <a:ext cx="2456891" cy="368016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7A97B023-8333-4899-8225-FA0EB0F3E263}"/>
                </a:ext>
              </a:extLst>
            </p:cNvPr>
            <p:cNvSpPr/>
            <p:nvPr/>
          </p:nvSpPr>
          <p:spPr>
            <a:xfrm>
              <a:off x="25" y="43089"/>
              <a:ext cx="2456891" cy="36801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568" tIns="56896" rIns="99568" bIns="56896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al HIV/AIDS Programs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D81D683-7999-405F-8007-B3B30957B306}"/>
              </a:ext>
            </a:extLst>
          </p:cNvPr>
          <p:cNvGrpSpPr/>
          <p:nvPr/>
        </p:nvGrpSpPr>
        <p:grpSpPr>
          <a:xfrm>
            <a:off x="9576034" y="5244146"/>
            <a:ext cx="2456891" cy="1228555"/>
            <a:chOff x="25" y="411105"/>
            <a:chExt cx="2456891" cy="993604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3814D82B-BC2B-4FEA-AFDA-B6744CBE175D}"/>
                </a:ext>
              </a:extLst>
            </p:cNvPr>
            <p:cNvSpPr/>
            <p:nvPr/>
          </p:nvSpPr>
          <p:spPr>
            <a:xfrm>
              <a:off x="25" y="411105"/>
              <a:ext cx="2456891" cy="993604"/>
            </a:xfrm>
            <a:prstGeom prst="rect">
              <a:avLst/>
            </a:prstGeom>
            <a:solidFill>
              <a:schemeClr val="accent3">
                <a:lumMod val="40000"/>
                <a:lumOff val="60000"/>
                <a:alpha val="90000"/>
              </a:schemeClr>
            </a:solidFill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4357324-67AD-435E-B837-C55CF820B06D}"/>
                </a:ext>
              </a:extLst>
            </p:cNvPr>
            <p:cNvSpPr/>
            <p:nvPr/>
          </p:nvSpPr>
          <p:spPr>
            <a:xfrm>
              <a:off x="25" y="411105"/>
              <a:ext cx="2456891" cy="99360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85344" tIns="85344" rIns="113792" bIns="128016" numCol="1" spcCol="1270" anchor="t" anchorCtr="0">
              <a:noAutofit/>
            </a:bodyPr>
            <a:lstStyle/>
            <a:p>
              <a:pPr marL="171450" marR="0" lvl="1" indent="-171450" algn="l" defTabSz="7112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15000"/>
                </a:spcAft>
                <a:buClrTx/>
                <a:buSzTx/>
                <a:buFontTx/>
                <a:buChar char="••"/>
                <a:tabLst/>
                <a:defRPr/>
              </a:pPr>
              <a:endPara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hueOff val="0"/>
                    <a:satOff val="0"/>
                    <a:lumOff val="0"/>
                    <a:alphaOff val="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551BE64-51FC-4DA2-9092-0C6874D9C1A4}"/>
              </a:ext>
            </a:extLst>
          </p:cNvPr>
          <p:cNvGrpSpPr/>
          <p:nvPr/>
        </p:nvGrpSpPr>
        <p:grpSpPr>
          <a:xfrm>
            <a:off x="9576034" y="4840751"/>
            <a:ext cx="2456891" cy="368016"/>
            <a:chOff x="25" y="43089"/>
            <a:chExt cx="2456891" cy="368016"/>
          </a:xfrm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92553436-6EC3-4B60-888F-88041DAC7B13}"/>
                </a:ext>
              </a:extLst>
            </p:cNvPr>
            <p:cNvSpPr/>
            <p:nvPr/>
          </p:nvSpPr>
          <p:spPr>
            <a:xfrm>
              <a:off x="25" y="43089"/>
              <a:ext cx="2456891" cy="368016"/>
            </a:xfrm>
            <a:prstGeom prst="rect">
              <a:avLst/>
            </a:prstGeom>
            <a:solidFill>
              <a:schemeClr val="tx2">
                <a:lumMod val="60000"/>
                <a:lumOff val="40000"/>
              </a:schemeClr>
            </a:solidFill>
          </p:spPr>
          <p:style>
            <a:lnRef idx="2">
              <a:schemeClr val="accen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2F1A0943-C4AE-47D6-A631-D03CD637516F}"/>
                </a:ext>
              </a:extLst>
            </p:cNvPr>
            <p:cNvSpPr/>
            <p:nvPr/>
          </p:nvSpPr>
          <p:spPr>
            <a:xfrm>
              <a:off x="25" y="43089"/>
              <a:ext cx="2456891" cy="368016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99568" tIns="56896" rIns="99568" bIns="56896" numCol="1" spcCol="1270" anchor="ctr" anchorCtr="0">
              <a:noAutofit/>
            </a:bodyPr>
            <a:lstStyle/>
            <a:p>
              <a:pPr marL="0" marR="0" lvl="0" indent="0" algn="ctr" defTabSz="6223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rogram Enablers</a:t>
              </a: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9" name="TextBox 18">
            <a:extLst>
              <a:ext uri="{FF2B5EF4-FFF2-40B4-BE49-F238E27FC236}">
                <a16:creationId xmlns:a16="http://schemas.microsoft.com/office/drawing/2014/main" id="{053EFFC9-56F1-4AAB-A07E-A2999577BB9D}"/>
              </a:ext>
            </a:extLst>
          </p:cNvPr>
          <p:cNvSpPr txBox="1"/>
          <p:nvPr/>
        </p:nvSpPr>
        <p:spPr>
          <a:xfrm>
            <a:off x="7611486" y="5244146"/>
            <a:ext cx="113948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2713" marR="0" lvl="0" indent="-1127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P</a:t>
            </a:r>
          </a:p>
          <a:p>
            <a:pPr marL="112713" marR="0" lvl="0" indent="-112713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accines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D68AD0BF-2021-4253-B00C-EBE8ECCCFB1D}"/>
              </a:ext>
            </a:extLst>
          </p:cNvPr>
          <p:cNvSpPr txBox="1"/>
          <p:nvPr/>
        </p:nvSpPr>
        <p:spPr>
          <a:xfrm>
            <a:off x="9660273" y="5244147"/>
            <a:ext cx="2039915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munications</a:t>
            </a:r>
          </a:p>
          <a:p>
            <a:pPr marL="2857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anagement</a:t>
            </a:r>
          </a:p>
          <a:p>
            <a:pPr marL="2857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ocurement</a:t>
            </a:r>
          </a:p>
          <a:p>
            <a:pPr marL="285750" marR="0" lvl="1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search, M&amp;E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5" name="Up Arrow 7">
            <a:extLst>
              <a:ext uri="{FF2B5EF4-FFF2-40B4-BE49-F238E27FC236}">
                <a16:creationId xmlns:a16="http://schemas.microsoft.com/office/drawing/2014/main" id="{CDBFEDB9-F464-4463-840D-38BF23F0FDF4}"/>
              </a:ext>
            </a:extLst>
          </p:cNvPr>
          <p:cNvSpPr/>
          <p:nvPr/>
        </p:nvSpPr>
        <p:spPr bwMode="auto">
          <a:xfrm>
            <a:off x="3917373" y="4644735"/>
            <a:ext cx="233962" cy="292389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charset="0"/>
              <a:ea typeface="+mn-ea"/>
              <a:cs typeface="+mn-cs"/>
            </a:endParaRPr>
          </a:p>
        </p:txBody>
      </p:sp>
      <p:sp>
        <p:nvSpPr>
          <p:cNvPr id="36" name="Up Arrow 7">
            <a:extLst>
              <a:ext uri="{FF2B5EF4-FFF2-40B4-BE49-F238E27FC236}">
                <a16:creationId xmlns:a16="http://schemas.microsoft.com/office/drawing/2014/main" id="{FD49EA8F-6566-421D-BD7E-32BC4003EEC8}"/>
              </a:ext>
            </a:extLst>
          </p:cNvPr>
          <p:cNvSpPr/>
          <p:nvPr/>
        </p:nvSpPr>
        <p:spPr bwMode="auto">
          <a:xfrm>
            <a:off x="7923686" y="4632079"/>
            <a:ext cx="233962" cy="292389"/>
          </a:xfrm>
          <a:prstGeom prst="up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ahoma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1467502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D82A0C-B5EF-4570-81E7-863184E63B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63907"/>
          </a:xfrm>
        </p:spPr>
        <p:txBody>
          <a:bodyPr/>
          <a:lstStyle/>
          <a:p>
            <a:r>
              <a:rPr lang="en-US" dirty="0"/>
              <a:t>Interventions Studied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7CDBF22-57A7-4DDA-BFAE-D2CF57AFF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229032"/>
            <a:ext cx="10515600" cy="4947931"/>
          </a:xfrm>
        </p:spPr>
        <p:txBody>
          <a:bodyPr>
            <a:normAutofit lnSpcReduction="10000"/>
          </a:bodyPr>
          <a:lstStyle/>
          <a:p>
            <a:r>
              <a:rPr lang="en-US" dirty="0"/>
              <a:t>ART = antiretroviral therapy</a:t>
            </a:r>
          </a:p>
          <a:p>
            <a:r>
              <a:rPr lang="en-US" dirty="0"/>
              <a:t>BCC = behavior change communication</a:t>
            </a:r>
          </a:p>
          <a:p>
            <a:r>
              <a:rPr lang="en-US" dirty="0"/>
              <a:t>Con = condoms</a:t>
            </a:r>
          </a:p>
          <a:p>
            <a:r>
              <a:rPr lang="en-US" dirty="0"/>
              <a:t>MSM = outreach to MSM</a:t>
            </a:r>
          </a:p>
          <a:p>
            <a:r>
              <a:rPr lang="en-US" dirty="0"/>
              <a:t>OST = opioid substitution therapy</a:t>
            </a:r>
          </a:p>
          <a:p>
            <a:r>
              <a:rPr lang="en-US" dirty="0"/>
              <a:t>PrEP = pre-exposure prophylaxis for SW, MSM, PWID, adolescents</a:t>
            </a:r>
          </a:p>
          <a:p>
            <a:r>
              <a:rPr lang="en-US" dirty="0"/>
              <a:t>PWID = outreach to PWID</a:t>
            </a:r>
          </a:p>
          <a:p>
            <a:r>
              <a:rPr lang="en-US" dirty="0"/>
              <a:t>OST = opioid substitution therapy</a:t>
            </a:r>
          </a:p>
          <a:p>
            <a:r>
              <a:rPr lang="en-US" dirty="0"/>
              <a:t>SW = outreach to sex workers</a:t>
            </a:r>
          </a:p>
          <a:p>
            <a:r>
              <a:rPr lang="en-US" dirty="0"/>
              <a:t>VMMC = voluntary medical male circumcision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F6EC6C0-6811-4CA3-BE0C-2A812486E0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F63A3B-78C7-47BE-AE5E-E10140E04643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9018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FC80C4-F6C7-42AD-8D22-496585DDF2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9842" y="286604"/>
            <a:ext cx="10612074" cy="468406"/>
          </a:xfrm>
        </p:spPr>
        <p:txBody>
          <a:bodyPr>
            <a:noAutofit/>
          </a:bodyPr>
          <a:lstStyle/>
          <a:p>
            <a:r>
              <a:rPr lang="en-US" sz="3600" dirty="0"/>
              <a:t>Cost per Infection Averted by Intervention and Regio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1F496B-1032-4B8B-8C07-341D824D81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22F896-40B5-4ADD-8801-0D06FADFA095}" type="slidenum">
              <a:rPr lang="en-US" smtClean="0"/>
              <a:t>9</a:t>
            </a:fld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B5BD6C2-5E71-4D5A-B438-9130DFC35D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9842" y="755010"/>
            <a:ext cx="10754236" cy="531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73477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11594</TotalTime>
  <Words>517</Words>
  <Application>Microsoft Office PowerPoint</Application>
  <PresentationFormat>Widescreen</PresentationFormat>
  <Paragraphs>120</Paragraphs>
  <Slides>1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16</vt:i4>
      </vt:variant>
    </vt:vector>
  </HeadingPairs>
  <TitlesOfParts>
    <vt:vector size="23" baseType="lpstr">
      <vt:lpstr>Arial</vt:lpstr>
      <vt:lpstr>Calibri</vt:lpstr>
      <vt:lpstr>Calibri Light</vt:lpstr>
      <vt:lpstr>Tahoma</vt:lpstr>
      <vt:lpstr>Wingdings</vt:lpstr>
      <vt:lpstr>Office Theme</vt:lpstr>
      <vt:lpstr>1_Office Theme</vt:lpstr>
      <vt:lpstr>Global Optimization of the Response to HIV</vt:lpstr>
      <vt:lpstr>PowerPoint Presentation</vt:lpstr>
      <vt:lpstr>Factors Affecting Cost-Effectiveness </vt:lpstr>
      <vt:lpstr>Implementation Efficiency: Unit Cost</vt:lpstr>
      <vt:lpstr>Income Levels Alone do not Explain Differences in Unit Costs</vt:lpstr>
      <vt:lpstr>Analysis Approach to Allocative Efficiency</vt:lpstr>
      <vt:lpstr>Goals Model</vt:lpstr>
      <vt:lpstr>Interventions Studied</vt:lpstr>
      <vt:lpstr>Cost per Infection Averted by Intervention and Region</vt:lpstr>
      <vt:lpstr>Cost per Infection Averted by Intervention and Region</vt:lpstr>
      <vt:lpstr>Cost of Most Cost-Effective Prevention Interventions</vt:lpstr>
      <vt:lpstr>Allocation of Most Cost-Effective Prevention Interventions</vt:lpstr>
      <vt:lpstr>Allocation of Most Cost-Effective Prevention Interventions</vt:lpstr>
      <vt:lpstr>Allocation of Most Cost-Effective Prevention Interventions</vt:lpstr>
      <vt:lpstr>Allocation of Most Cost-Effective Prevention Interventions by Region</vt:lpstr>
      <vt:lpstr>Key Result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odeling the impact of PrEP</dc:title>
  <dc:creator>John Stover</dc:creator>
  <cp:lastModifiedBy>John Stover</cp:lastModifiedBy>
  <cp:revision>83</cp:revision>
  <dcterms:created xsi:type="dcterms:W3CDTF">2018-06-02T18:56:46Z</dcterms:created>
  <dcterms:modified xsi:type="dcterms:W3CDTF">2018-07-23T14:11:32Z</dcterms:modified>
</cp:coreProperties>
</file>